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38.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76.xml" ContentType="application/vnd.openxmlformats-officedocument.presentationml.tags+xml"/>
  <Override PartName="/ppt/notesSlides/notesSlide1.xml" ContentType="application/vnd.openxmlformats-officedocument.presentationml.notesSlide+xml"/>
  <Override PartName="/ppt/tags/tag7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8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2.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83.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5" r:id="rId5"/>
    <p:sldMasterId id="2147484035" r:id="rId6"/>
    <p:sldMasterId id="2147484049" r:id="rId7"/>
  </p:sldMasterIdLst>
  <p:notesMasterIdLst>
    <p:notesMasterId r:id="rId50"/>
  </p:notesMasterIdLst>
  <p:handoutMasterIdLst>
    <p:handoutMasterId r:id="rId51"/>
  </p:handoutMasterIdLst>
  <p:sldIdLst>
    <p:sldId id="2147471143" r:id="rId8"/>
    <p:sldId id="752" r:id="rId9"/>
    <p:sldId id="2147471796" r:id="rId10"/>
    <p:sldId id="2147471961" r:id="rId11"/>
    <p:sldId id="2147471482" r:id="rId12"/>
    <p:sldId id="2147471917" r:id="rId13"/>
    <p:sldId id="2147471320" r:id="rId14"/>
    <p:sldId id="2147471914" r:id="rId15"/>
    <p:sldId id="2147471915" r:id="rId16"/>
    <p:sldId id="2147471918" r:id="rId17"/>
    <p:sldId id="2147471485" r:id="rId18"/>
    <p:sldId id="2147471954" r:id="rId19"/>
    <p:sldId id="2147471921" r:id="rId20"/>
    <p:sldId id="2147471322" r:id="rId21"/>
    <p:sldId id="2147471922" r:id="rId22"/>
    <p:sldId id="2147471951" r:id="rId23"/>
    <p:sldId id="2147471953" r:id="rId24"/>
    <p:sldId id="2147471925" r:id="rId25"/>
    <p:sldId id="2147471920" r:id="rId26"/>
    <p:sldId id="2147471927" r:id="rId27"/>
    <p:sldId id="2147471930" r:id="rId28"/>
    <p:sldId id="2147471931" r:id="rId29"/>
    <p:sldId id="2147471932" r:id="rId30"/>
    <p:sldId id="2147471955" r:id="rId31"/>
    <p:sldId id="2147471959" r:id="rId32"/>
    <p:sldId id="2147471958" r:id="rId33"/>
    <p:sldId id="2147471956" r:id="rId34"/>
    <p:sldId id="2147471957" r:id="rId35"/>
    <p:sldId id="2147471960" r:id="rId36"/>
    <p:sldId id="2147471483" r:id="rId37"/>
    <p:sldId id="2147471942" r:id="rId38"/>
    <p:sldId id="2147471321" r:id="rId39"/>
    <p:sldId id="2147471939" r:id="rId40"/>
    <p:sldId id="2147471754" r:id="rId41"/>
    <p:sldId id="2147471766" r:id="rId42"/>
    <p:sldId id="2147471943" r:id="rId43"/>
    <p:sldId id="2147471486" r:id="rId44"/>
    <p:sldId id="2147471948" r:id="rId45"/>
    <p:sldId id="2147471323" r:id="rId46"/>
    <p:sldId id="2147471945" r:id="rId47"/>
    <p:sldId id="2147471946" r:id="rId48"/>
    <p:sldId id="2147471949" r:id="rId49"/>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32" userDrawn="1">
          <p15:clr>
            <a:srgbClr val="A4A3A4"/>
          </p15:clr>
        </p15:guide>
        <p15:guide id="2" pos="386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John Paserba" initials="JP" lastIdx="1" clrIdx="6">
    <p:extLst>
      <p:ext uri="{19B8F6BF-5375-455C-9EA6-DF929625EA0E}">
        <p15:presenceInfo xmlns:p15="http://schemas.microsoft.com/office/powerpoint/2012/main" userId="S::jpaserba@southernstatesllc.com::77bd6c8a-d0c1-4fea-8705-0169f65d0c0e" providerId="AD"/>
      </p:ext>
    </p:extLst>
  </p:cmAuthor>
  <p:cmAuthor id="1" name="Hampton, Bruce" initials="HB" lastIdx="1" clrIdx="0">
    <p:extLst>
      <p:ext uri="{19B8F6BF-5375-455C-9EA6-DF929625EA0E}">
        <p15:presenceInfo xmlns:p15="http://schemas.microsoft.com/office/powerpoint/2012/main" userId="S-1-5-21-739709823-1826386836-903097961-1180" providerId="AD"/>
      </p:ext>
    </p:extLst>
  </p:cmAuthor>
  <p:cmAuthor id="2" name="Fowler, John" initials="FJ" lastIdx="2" clrIdx="1">
    <p:extLst>
      <p:ext uri="{19B8F6BF-5375-455C-9EA6-DF929625EA0E}">
        <p15:presenceInfo xmlns:p15="http://schemas.microsoft.com/office/powerpoint/2012/main" userId="S-1-5-21-739709823-1826386836-903097961-1202" providerId="AD"/>
      </p:ext>
    </p:extLst>
  </p:cmAuthor>
  <p:cmAuthor id="3" name="Riemer, Melanie" initials="RM" lastIdx="1" clrIdx="2">
    <p:extLst>
      <p:ext uri="{19B8F6BF-5375-455C-9EA6-DF929625EA0E}">
        <p15:presenceInfo xmlns:p15="http://schemas.microsoft.com/office/powerpoint/2012/main" userId="S-1-5-21-739709823-1826386836-903097961-2817" providerId="AD"/>
      </p:ext>
    </p:extLst>
  </p:cmAuthor>
  <p:cmAuthor id="4" name="Dave Lombardo" initials="DL" lastIdx="1" clrIdx="3">
    <p:extLst>
      <p:ext uri="{19B8F6BF-5375-455C-9EA6-DF929625EA0E}">
        <p15:presenceInfo xmlns:p15="http://schemas.microsoft.com/office/powerpoint/2012/main" userId="S::dlombardo@southernstatesllc.com::d36180af-d656-4fe6-a462-6bbe06e2a9f6" providerId="AD"/>
      </p:ext>
    </p:extLst>
  </p:cmAuthor>
  <p:cmAuthor id="5" name="Jeff Galimore" initials="JG" lastIdx="1" clrIdx="4">
    <p:extLst>
      <p:ext uri="{19B8F6BF-5375-455C-9EA6-DF929625EA0E}">
        <p15:presenceInfo xmlns:p15="http://schemas.microsoft.com/office/powerpoint/2012/main" userId="S::jgalimore@southernstatesllc.com::c38c0772-415f-4405-bd63-1827f5f1e18f" providerId="AD"/>
      </p:ext>
    </p:extLst>
  </p:cmAuthor>
  <p:cmAuthor id="6" name="Tanya L. Arrington" initials="TLA" lastIdx="1" clrIdx="5">
    <p:extLst>
      <p:ext uri="{19B8F6BF-5375-455C-9EA6-DF929625EA0E}">
        <p15:presenceInfo xmlns:p15="http://schemas.microsoft.com/office/powerpoint/2012/main" userId="S::tarrington@southernstatesllc.com::606d64c8-84d3-4d53-9e07-cc649120293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0070C0"/>
    <a:srgbClr val="3333FF"/>
    <a:srgbClr val="DEA900"/>
    <a:srgbClr val="F79443"/>
    <a:srgbClr val="FF9933"/>
    <a:srgbClr val="003399"/>
    <a:srgbClr val="A20000"/>
    <a:srgbClr val="FFFF99"/>
    <a:srgbClr val="F7FD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3C05D9-2A5E-41E1-B223-45D233C5AA32}" v="86" dt="2025-12-01T05:39:18.3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825" autoAdjust="0"/>
    <p:restoredTop sz="93690" autoAdjust="0"/>
  </p:normalViewPr>
  <p:slideViewPr>
    <p:cSldViewPr snapToGrid="0">
      <p:cViewPr varScale="1">
        <p:scale>
          <a:sx n="61" d="100"/>
          <a:sy n="61" d="100"/>
        </p:scale>
        <p:origin x="63" y="318"/>
      </p:cViewPr>
      <p:guideLst>
        <p:guide orient="horz" pos="2232"/>
        <p:guide pos="3864"/>
      </p:guideLst>
    </p:cSldViewPr>
  </p:slideViewPr>
  <p:notesTextViewPr>
    <p:cViewPr>
      <p:scale>
        <a:sx n="1" d="1"/>
        <a:sy n="1" d="1"/>
      </p:scale>
      <p:origin x="0" y="0"/>
    </p:cViewPr>
  </p:notesTextViewPr>
  <p:sorterViewPr>
    <p:cViewPr varScale="1">
      <p:scale>
        <a:sx n="100" d="100"/>
        <a:sy n="100" d="100"/>
      </p:scale>
      <p:origin x="0" y="-7887"/>
    </p:cViewPr>
  </p:sorterViewPr>
  <p:notesViewPr>
    <p:cSldViewPr snapToGrid="0">
      <p:cViewPr varScale="1">
        <p:scale>
          <a:sx n="82" d="100"/>
          <a:sy n="82" d="100"/>
        </p:scale>
        <p:origin x="2976"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Paserba" userId="77bd6c8a-d0c1-4fea-8705-0169f65d0c0e" providerId="ADAL" clId="{8D3E5ACD-1D35-4511-83B4-DAB9EA8CD604}"/>
    <pc:docChg chg="modSld modNotesMaster modHandout">
      <pc:chgData name="John Paserba" userId="77bd6c8a-d0c1-4fea-8705-0169f65d0c0e" providerId="ADAL" clId="{8D3E5ACD-1D35-4511-83B4-DAB9EA8CD604}" dt="2025-10-13T13:01:42.209" v="0"/>
      <pc:docMkLst>
        <pc:docMk/>
      </pc:docMkLst>
      <pc:sldChg chg="modNotes">
        <pc:chgData name="John Paserba" userId="77bd6c8a-d0c1-4fea-8705-0169f65d0c0e" providerId="ADAL" clId="{8D3E5ACD-1D35-4511-83B4-DAB9EA8CD604}" dt="2025-10-13T13:01:42.209" v="0"/>
        <pc:sldMkLst>
          <pc:docMk/>
          <pc:sldMk cId="1276255128" sldId="2147471078"/>
        </pc:sldMkLst>
      </pc:sldChg>
      <pc:sldChg chg="modNotes">
        <pc:chgData name="John Paserba" userId="77bd6c8a-d0c1-4fea-8705-0169f65d0c0e" providerId="ADAL" clId="{8D3E5ACD-1D35-4511-83B4-DAB9EA8CD604}" dt="2025-10-13T13:01:42.209" v="0"/>
        <pc:sldMkLst>
          <pc:docMk/>
          <pc:sldMk cId="1030336954" sldId="2147471252"/>
        </pc:sldMkLst>
      </pc:sldChg>
      <pc:sldChg chg="modNotes">
        <pc:chgData name="John Paserba" userId="77bd6c8a-d0c1-4fea-8705-0169f65d0c0e" providerId="ADAL" clId="{8D3E5ACD-1D35-4511-83B4-DAB9EA8CD604}" dt="2025-10-13T13:01:42.209" v="0"/>
        <pc:sldMkLst>
          <pc:docMk/>
          <pc:sldMk cId="3319730970" sldId="2147471354"/>
        </pc:sldMkLst>
      </pc:sldChg>
      <pc:sldChg chg="modNotes">
        <pc:chgData name="John Paserba" userId="77bd6c8a-d0c1-4fea-8705-0169f65d0c0e" providerId="ADAL" clId="{8D3E5ACD-1D35-4511-83B4-DAB9EA8CD604}" dt="2025-10-13T13:01:42.209" v="0"/>
        <pc:sldMkLst>
          <pc:docMk/>
          <pc:sldMk cId="3308952887" sldId="2147471355"/>
        </pc:sldMkLst>
      </pc:sldChg>
      <pc:sldChg chg="modNotes">
        <pc:chgData name="John Paserba" userId="77bd6c8a-d0c1-4fea-8705-0169f65d0c0e" providerId="ADAL" clId="{8D3E5ACD-1D35-4511-83B4-DAB9EA8CD604}" dt="2025-10-13T13:01:42.209" v="0"/>
        <pc:sldMkLst>
          <pc:docMk/>
          <pc:sldMk cId="2268790818" sldId="2147471356"/>
        </pc:sldMkLst>
      </pc:sldChg>
      <pc:sldChg chg="modNotes">
        <pc:chgData name="John Paserba" userId="77bd6c8a-d0c1-4fea-8705-0169f65d0c0e" providerId="ADAL" clId="{8D3E5ACD-1D35-4511-83B4-DAB9EA8CD604}" dt="2025-10-13T13:01:42.209" v="0"/>
        <pc:sldMkLst>
          <pc:docMk/>
          <pc:sldMk cId="2330762423" sldId="2147471357"/>
        </pc:sldMkLst>
      </pc:sldChg>
      <pc:sldChg chg="modNotes">
        <pc:chgData name="John Paserba" userId="77bd6c8a-d0c1-4fea-8705-0169f65d0c0e" providerId="ADAL" clId="{8D3E5ACD-1D35-4511-83B4-DAB9EA8CD604}" dt="2025-10-13T13:01:42.209" v="0"/>
        <pc:sldMkLst>
          <pc:docMk/>
          <pc:sldMk cId="685293483" sldId="2147471390"/>
        </pc:sldMkLst>
      </pc:sldChg>
      <pc:sldChg chg="modNotes">
        <pc:chgData name="John Paserba" userId="77bd6c8a-d0c1-4fea-8705-0169f65d0c0e" providerId="ADAL" clId="{8D3E5ACD-1D35-4511-83B4-DAB9EA8CD604}" dt="2025-10-13T13:01:42.209" v="0"/>
        <pc:sldMkLst>
          <pc:docMk/>
          <pc:sldMk cId="4193241168" sldId="2147471391"/>
        </pc:sldMkLst>
      </pc:sldChg>
      <pc:sldChg chg="modNotes">
        <pc:chgData name="John Paserba" userId="77bd6c8a-d0c1-4fea-8705-0169f65d0c0e" providerId="ADAL" clId="{8D3E5ACD-1D35-4511-83B4-DAB9EA8CD604}" dt="2025-10-13T13:01:42.209" v="0"/>
        <pc:sldMkLst>
          <pc:docMk/>
          <pc:sldMk cId="2607991234" sldId="2147471394"/>
        </pc:sldMkLst>
      </pc:sldChg>
      <pc:sldChg chg="modNotes">
        <pc:chgData name="John Paserba" userId="77bd6c8a-d0c1-4fea-8705-0169f65d0c0e" providerId="ADAL" clId="{8D3E5ACD-1D35-4511-83B4-DAB9EA8CD604}" dt="2025-10-13T13:01:42.209" v="0"/>
        <pc:sldMkLst>
          <pc:docMk/>
          <pc:sldMk cId="2990581354" sldId="2147471395"/>
        </pc:sldMkLst>
      </pc:sldChg>
      <pc:sldChg chg="modNotes">
        <pc:chgData name="John Paserba" userId="77bd6c8a-d0c1-4fea-8705-0169f65d0c0e" providerId="ADAL" clId="{8D3E5ACD-1D35-4511-83B4-DAB9EA8CD604}" dt="2025-10-13T13:01:42.209" v="0"/>
        <pc:sldMkLst>
          <pc:docMk/>
          <pc:sldMk cId="319735379" sldId="2147471396"/>
        </pc:sldMkLst>
      </pc:sldChg>
      <pc:sldChg chg="modNotes">
        <pc:chgData name="John Paserba" userId="77bd6c8a-d0c1-4fea-8705-0169f65d0c0e" providerId="ADAL" clId="{8D3E5ACD-1D35-4511-83B4-DAB9EA8CD604}" dt="2025-10-13T13:01:42.209" v="0"/>
        <pc:sldMkLst>
          <pc:docMk/>
          <pc:sldMk cId="38863386" sldId="2147471397"/>
        </pc:sldMkLst>
      </pc:sldChg>
      <pc:sldChg chg="modNotes">
        <pc:chgData name="John Paserba" userId="77bd6c8a-d0c1-4fea-8705-0169f65d0c0e" providerId="ADAL" clId="{8D3E5ACD-1D35-4511-83B4-DAB9EA8CD604}" dt="2025-10-13T13:01:42.209" v="0"/>
        <pc:sldMkLst>
          <pc:docMk/>
          <pc:sldMk cId="1373961495" sldId="2147471399"/>
        </pc:sldMkLst>
      </pc:sldChg>
      <pc:sldChg chg="modNotes">
        <pc:chgData name="John Paserba" userId="77bd6c8a-d0c1-4fea-8705-0169f65d0c0e" providerId="ADAL" clId="{8D3E5ACD-1D35-4511-83B4-DAB9EA8CD604}" dt="2025-10-13T13:01:42.209" v="0"/>
        <pc:sldMkLst>
          <pc:docMk/>
          <pc:sldMk cId="612862457" sldId="2147471401"/>
        </pc:sldMkLst>
      </pc:sldChg>
      <pc:sldChg chg="modNotes">
        <pc:chgData name="John Paserba" userId="77bd6c8a-d0c1-4fea-8705-0169f65d0c0e" providerId="ADAL" clId="{8D3E5ACD-1D35-4511-83B4-DAB9EA8CD604}" dt="2025-10-13T13:01:42.209" v="0"/>
        <pc:sldMkLst>
          <pc:docMk/>
          <pc:sldMk cId="2996227156" sldId="2147471402"/>
        </pc:sldMkLst>
      </pc:sldChg>
      <pc:sldChg chg="modNotes">
        <pc:chgData name="John Paserba" userId="77bd6c8a-d0c1-4fea-8705-0169f65d0c0e" providerId="ADAL" clId="{8D3E5ACD-1D35-4511-83B4-DAB9EA8CD604}" dt="2025-10-13T13:01:42.209" v="0"/>
        <pc:sldMkLst>
          <pc:docMk/>
          <pc:sldMk cId="3510514369" sldId="2147471403"/>
        </pc:sldMkLst>
      </pc:sldChg>
      <pc:sldChg chg="modNotes">
        <pc:chgData name="John Paserba" userId="77bd6c8a-d0c1-4fea-8705-0169f65d0c0e" providerId="ADAL" clId="{8D3E5ACD-1D35-4511-83B4-DAB9EA8CD604}" dt="2025-10-13T13:01:42.209" v="0"/>
        <pc:sldMkLst>
          <pc:docMk/>
          <pc:sldMk cId="3178934198" sldId="2147471409"/>
        </pc:sldMkLst>
      </pc:sldChg>
      <pc:sldChg chg="modNotes">
        <pc:chgData name="John Paserba" userId="77bd6c8a-d0c1-4fea-8705-0169f65d0c0e" providerId="ADAL" clId="{8D3E5ACD-1D35-4511-83B4-DAB9EA8CD604}" dt="2025-10-13T13:01:42.209" v="0"/>
        <pc:sldMkLst>
          <pc:docMk/>
          <pc:sldMk cId="2283781631" sldId="2147471418"/>
        </pc:sldMkLst>
      </pc:sldChg>
      <pc:sldChg chg="modNotes">
        <pc:chgData name="John Paserba" userId="77bd6c8a-d0c1-4fea-8705-0169f65d0c0e" providerId="ADAL" clId="{8D3E5ACD-1D35-4511-83B4-DAB9EA8CD604}" dt="2025-10-13T13:01:42.209" v="0"/>
        <pc:sldMkLst>
          <pc:docMk/>
          <pc:sldMk cId="920816538" sldId="2147471419"/>
        </pc:sldMkLst>
      </pc:sldChg>
      <pc:sldChg chg="modNotes">
        <pc:chgData name="John Paserba" userId="77bd6c8a-d0c1-4fea-8705-0169f65d0c0e" providerId="ADAL" clId="{8D3E5ACD-1D35-4511-83B4-DAB9EA8CD604}" dt="2025-10-13T13:01:42.209" v="0"/>
        <pc:sldMkLst>
          <pc:docMk/>
          <pc:sldMk cId="1441617278" sldId="2147471424"/>
        </pc:sldMkLst>
      </pc:sldChg>
      <pc:sldChg chg="modNotes">
        <pc:chgData name="John Paserba" userId="77bd6c8a-d0c1-4fea-8705-0169f65d0c0e" providerId="ADAL" clId="{8D3E5ACD-1D35-4511-83B4-DAB9EA8CD604}" dt="2025-10-13T13:01:42.209" v="0"/>
        <pc:sldMkLst>
          <pc:docMk/>
          <pc:sldMk cId="1509309180" sldId="2147471499"/>
        </pc:sldMkLst>
      </pc:sldChg>
      <pc:sldChg chg="modNotes">
        <pc:chgData name="John Paserba" userId="77bd6c8a-d0c1-4fea-8705-0169f65d0c0e" providerId="ADAL" clId="{8D3E5ACD-1D35-4511-83B4-DAB9EA8CD604}" dt="2025-10-13T13:01:42.209" v="0"/>
        <pc:sldMkLst>
          <pc:docMk/>
          <pc:sldMk cId="3911101945" sldId="2147471500"/>
        </pc:sldMkLst>
      </pc:sldChg>
      <pc:sldChg chg="modNotes">
        <pc:chgData name="John Paserba" userId="77bd6c8a-d0c1-4fea-8705-0169f65d0c0e" providerId="ADAL" clId="{8D3E5ACD-1D35-4511-83B4-DAB9EA8CD604}" dt="2025-10-13T13:01:42.209" v="0"/>
        <pc:sldMkLst>
          <pc:docMk/>
          <pc:sldMk cId="2193624052" sldId="2147471501"/>
        </pc:sldMkLst>
      </pc:sldChg>
      <pc:sldChg chg="modNotes">
        <pc:chgData name="John Paserba" userId="77bd6c8a-d0c1-4fea-8705-0169f65d0c0e" providerId="ADAL" clId="{8D3E5ACD-1D35-4511-83B4-DAB9EA8CD604}" dt="2025-10-13T13:01:42.209" v="0"/>
        <pc:sldMkLst>
          <pc:docMk/>
          <pc:sldMk cId="3293842999" sldId="2147471502"/>
        </pc:sldMkLst>
      </pc:sldChg>
      <pc:sldChg chg="modNotes">
        <pc:chgData name="John Paserba" userId="77bd6c8a-d0c1-4fea-8705-0169f65d0c0e" providerId="ADAL" clId="{8D3E5ACD-1D35-4511-83B4-DAB9EA8CD604}" dt="2025-10-13T13:01:42.209" v="0"/>
        <pc:sldMkLst>
          <pc:docMk/>
          <pc:sldMk cId="1750250529" sldId="2147471504"/>
        </pc:sldMkLst>
      </pc:sldChg>
      <pc:sldChg chg="modNotes">
        <pc:chgData name="John Paserba" userId="77bd6c8a-d0c1-4fea-8705-0169f65d0c0e" providerId="ADAL" clId="{8D3E5ACD-1D35-4511-83B4-DAB9EA8CD604}" dt="2025-10-13T13:01:42.209" v="0"/>
        <pc:sldMkLst>
          <pc:docMk/>
          <pc:sldMk cId="2231163395" sldId="2147471510"/>
        </pc:sldMkLst>
      </pc:sldChg>
      <pc:sldChg chg="modNotes">
        <pc:chgData name="John Paserba" userId="77bd6c8a-d0c1-4fea-8705-0169f65d0c0e" providerId="ADAL" clId="{8D3E5ACD-1D35-4511-83B4-DAB9EA8CD604}" dt="2025-10-13T13:01:42.209" v="0"/>
        <pc:sldMkLst>
          <pc:docMk/>
          <pc:sldMk cId="3820929825" sldId="2147471516"/>
        </pc:sldMkLst>
      </pc:sldChg>
      <pc:sldChg chg="modNotes">
        <pc:chgData name="John Paserba" userId="77bd6c8a-d0c1-4fea-8705-0169f65d0c0e" providerId="ADAL" clId="{8D3E5ACD-1D35-4511-83B4-DAB9EA8CD604}" dt="2025-10-13T13:01:42.209" v="0"/>
        <pc:sldMkLst>
          <pc:docMk/>
          <pc:sldMk cId="1528537165" sldId="2147471545"/>
        </pc:sldMkLst>
      </pc:sldChg>
      <pc:sldChg chg="modNotes">
        <pc:chgData name="John Paserba" userId="77bd6c8a-d0c1-4fea-8705-0169f65d0c0e" providerId="ADAL" clId="{8D3E5ACD-1D35-4511-83B4-DAB9EA8CD604}" dt="2025-10-13T13:01:42.209" v="0"/>
        <pc:sldMkLst>
          <pc:docMk/>
          <pc:sldMk cId="3823917263" sldId="2147471561"/>
        </pc:sldMkLst>
      </pc:sldChg>
      <pc:sldChg chg="modNotes">
        <pc:chgData name="John Paserba" userId="77bd6c8a-d0c1-4fea-8705-0169f65d0c0e" providerId="ADAL" clId="{8D3E5ACD-1D35-4511-83B4-DAB9EA8CD604}" dt="2025-10-13T13:01:42.209" v="0"/>
        <pc:sldMkLst>
          <pc:docMk/>
          <pc:sldMk cId="1930684240" sldId="2147471563"/>
        </pc:sldMkLst>
      </pc:sldChg>
      <pc:sldChg chg="modNotes">
        <pc:chgData name="John Paserba" userId="77bd6c8a-d0c1-4fea-8705-0169f65d0c0e" providerId="ADAL" clId="{8D3E5ACD-1D35-4511-83B4-DAB9EA8CD604}" dt="2025-10-13T13:01:42.209" v="0"/>
        <pc:sldMkLst>
          <pc:docMk/>
          <pc:sldMk cId="649508728" sldId="2147471574"/>
        </pc:sldMkLst>
      </pc:sldChg>
      <pc:sldChg chg="modNotes">
        <pc:chgData name="John Paserba" userId="77bd6c8a-d0c1-4fea-8705-0169f65d0c0e" providerId="ADAL" clId="{8D3E5ACD-1D35-4511-83B4-DAB9EA8CD604}" dt="2025-10-13T13:01:42.209" v="0"/>
        <pc:sldMkLst>
          <pc:docMk/>
          <pc:sldMk cId="2068436623" sldId="2147471665"/>
        </pc:sldMkLst>
      </pc:sldChg>
      <pc:sldChg chg="modNotes">
        <pc:chgData name="John Paserba" userId="77bd6c8a-d0c1-4fea-8705-0169f65d0c0e" providerId="ADAL" clId="{8D3E5ACD-1D35-4511-83B4-DAB9EA8CD604}" dt="2025-10-13T13:01:42.209" v="0"/>
        <pc:sldMkLst>
          <pc:docMk/>
          <pc:sldMk cId="2660546268" sldId="2147471669"/>
        </pc:sldMkLst>
      </pc:sldChg>
      <pc:sldChg chg="modNotes">
        <pc:chgData name="John Paserba" userId="77bd6c8a-d0c1-4fea-8705-0169f65d0c0e" providerId="ADAL" clId="{8D3E5ACD-1D35-4511-83B4-DAB9EA8CD604}" dt="2025-10-13T13:01:42.209" v="0"/>
        <pc:sldMkLst>
          <pc:docMk/>
          <pc:sldMk cId="1079165612" sldId="2147471688"/>
        </pc:sldMkLst>
      </pc:sldChg>
      <pc:sldChg chg="modNotes">
        <pc:chgData name="John Paserba" userId="77bd6c8a-d0c1-4fea-8705-0169f65d0c0e" providerId="ADAL" clId="{8D3E5ACD-1D35-4511-83B4-DAB9EA8CD604}" dt="2025-10-13T13:01:42.209" v="0"/>
        <pc:sldMkLst>
          <pc:docMk/>
          <pc:sldMk cId="2725648120" sldId="2147471696"/>
        </pc:sldMkLst>
      </pc:sldChg>
      <pc:sldChg chg="modNotes">
        <pc:chgData name="John Paserba" userId="77bd6c8a-d0c1-4fea-8705-0169f65d0c0e" providerId="ADAL" clId="{8D3E5ACD-1D35-4511-83B4-DAB9EA8CD604}" dt="2025-10-13T13:01:42.209" v="0"/>
        <pc:sldMkLst>
          <pc:docMk/>
          <pc:sldMk cId="73387506" sldId="2147471703"/>
        </pc:sldMkLst>
      </pc:sldChg>
      <pc:sldChg chg="modNotes">
        <pc:chgData name="John Paserba" userId="77bd6c8a-d0c1-4fea-8705-0169f65d0c0e" providerId="ADAL" clId="{8D3E5ACD-1D35-4511-83B4-DAB9EA8CD604}" dt="2025-10-13T13:01:42.209" v="0"/>
        <pc:sldMkLst>
          <pc:docMk/>
          <pc:sldMk cId="3558142149" sldId="2147471710"/>
        </pc:sldMkLst>
      </pc:sldChg>
      <pc:sldChg chg="modNotes">
        <pc:chgData name="John Paserba" userId="77bd6c8a-d0c1-4fea-8705-0169f65d0c0e" providerId="ADAL" clId="{8D3E5ACD-1D35-4511-83B4-DAB9EA8CD604}" dt="2025-10-13T13:01:42.209" v="0"/>
        <pc:sldMkLst>
          <pc:docMk/>
          <pc:sldMk cId="1676387962" sldId="2147471712"/>
        </pc:sldMkLst>
      </pc:sldChg>
      <pc:sldChg chg="modNotes">
        <pc:chgData name="John Paserba" userId="77bd6c8a-d0c1-4fea-8705-0169f65d0c0e" providerId="ADAL" clId="{8D3E5ACD-1D35-4511-83B4-DAB9EA8CD604}" dt="2025-10-13T13:01:42.209" v="0"/>
        <pc:sldMkLst>
          <pc:docMk/>
          <pc:sldMk cId="237403609" sldId="2147471713"/>
        </pc:sldMkLst>
      </pc:sldChg>
      <pc:sldChg chg="modNotes">
        <pc:chgData name="John Paserba" userId="77bd6c8a-d0c1-4fea-8705-0169f65d0c0e" providerId="ADAL" clId="{8D3E5ACD-1D35-4511-83B4-DAB9EA8CD604}" dt="2025-10-13T13:01:42.209" v="0"/>
        <pc:sldMkLst>
          <pc:docMk/>
          <pc:sldMk cId="1444063717" sldId="2147471714"/>
        </pc:sldMkLst>
      </pc:sldChg>
      <pc:sldChg chg="modNotes">
        <pc:chgData name="John Paserba" userId="77bd6c8a-d0c1-4fea-8705-0169f65d0c0e" providerId="ADAL" clId="{8D3E5ACD-1D35-4511-83B4-DAB9EA8CD604}" dt="2025-10-13T13:01:42.209" v="0"/>
        <pc:sldMkLst>
          <pc:docMk/>
          <pc:sldMk cId="402333902" sldId="2147471715"/>
        </pc:sldMkLst>
      </pc:sldChg>
      <pc:sldChg chg="modNotes">
        <pc:chgData name="John Paserba" userId="77bd6c8a-d0c1-4fea-8705-0169f65d0c0e" providerId="ADAL" clId="{8D3E5ACD-1D35-4511-83B4-DAB9EA8CD604}" dt="2025-10-13T13:01:42.209" v="0"/>
        <pc:sldMkLst>
          <pc:docMk/>
          <pc:sldMk cId="1807381905" sldId="2147471722"/>
        </pc:sldMkLst>
      </pc:sldChg>
      <pc:sldChg chg="modNotes">
        <pc:chgData name="John Paserba" userId="77bd6c8a-d0c1-4fea-8705-0169f65d0c0e" providerId="ADAL" clId="{8D3E5ACD-1D35-4511-83B4-DAB9EA8CD604}" dt="2025-10-13T13:01:42.209" v="0"/>
        <pc:sldMkLst>
          <pc:docMk/>
          <pc:sldMk cId="1020101525" sldId="2147471724"/>
        </pc:sldMkLst>
      </pc:sldChg>
      <pc:sldChg chg="modNotes">
        <pc:chgData name="John Paserba" userId="77bd6c8a-d0c1-4fea-8705-0169f65d0c0e" providerId="ADAL" clId="{8D3E5ACD-1D35-4511-83B4-DAB9EA8CD604}" dt="2025-10-13T13:01:42.209" v="0"/>
        <pc:sldMkLst>
          <pc:docMk/>
          <pc:sldMk cId="2339610385" sldId="2147471725"/>
        </pc:sldMkLst>
      </pc:sldChg>
      <pc:sldChg chg="modNotes">
        <pc:chgData name="John Paserba" userId="77bd6c8a-d0c1-4fea-8705-0169f65d0c0e" providerId="ADAL" clId="{8D3E5ACD-1D35-4511-83B4-DAB9EA8CD604}" dt="2025-10-13T13:01:42.209" v="0"/>
        <pc:sldMkLst>
          <pc:docMk/>
          <pc:sldMk cId="717567624" sldId="2147471726"/>
        </pc:sldMkLst>
      </pc:sldChg>
      <pc:sldChg chg="modNotes">
        <pc:chgData name="John Paserba" userId="77bd6c8a-d0c1-4fea-8705-0169f65d0c0e" providerId="ADAL" clId="{8D3E5ACD-1D35-4511-83B4-DAB9EA8CD604}" dt="2025-10-13T13:01:42.209" v="0"/>
        <pc:sldMkLst>
          <pc:docMk/>
          <pc:sldMk cId="115478721" sldId="2147471727"/>
        </pc:sldMkLst>
      </pc:sldChg>
      <pc:sldChg chg="modNotes">
        <pc:chgData name="John Paserba" userId="77bd6c8a-d0c1-4fea-8705-0169f65d0c0e" providerId="ADAL" clId="{8D3E5ACD-1D35-4511-83B4-DAB9EA8CD604}" dt="2025-10-13T13:01:42.209" v="0"/>
        <pc:sldMkLst>
          <pc:docMk/>
          <pc:sldMk cId="1154339187" sldId="2147471728"/>
        </pc:sldMkLst>
      </pc:sldChg>
      <pc:sldChg chg="modNotes">
        <pc:chgData name="John Paserba" userId="77bd6c8a-d0c1-4fea-8705-0169f65d0c0e" providerId="ADAL" clId="{8D3E5ACD-1D35-4511-83B4-DAB9EA8CD604}" dt="2025-10-13T13:01:42.209" v="0"/>
        <pc:sldMkLst>
          <pc:docMk/>
          <pc:sldMk cId="3331998248" sldId="2147471752"/>
        </pc:sldMkLst>
      </pc:sldChg>
      <pc:sldChg chg="modNotes">
        <pc:chgData name="John Paserba" userId="77bd6c8a-d0c1-4fea-8705-0169f65d0c0e" providerId="ADAL" clId="{8D3E5ACD-1D35-4511-83B4-DAB9EA8CD604}" dt="2025-10-13T13:01:42.209" v="0"/>
        <pc:sldMkLst>
          <pc:docMk/>
          <pc:sldMk cId="3576317580" sldId="2147471753"/>
        </pc:sldMkLst>
      </pc:sldChg>
      <pc:sldChg chg="modNotes">
        <pc:chgData name="John Paserba" userId="77bd6c8a-d0c1-4fea-8705-0169f65d0c0e" providerId="ADAL" clId="{8D3E5ACD-1D35-4511-83B4-DAB9EA8CD604}" dt="2025-10-13T13:01:42.209" v="0"/>
        <pc:sldMkLst>
          <pc:docMk/>
          <pc:sldMk cId="1605903753" sldId="2147471761"/>
        </pc:sldMkLst>
      </pc:sldChg>
      <pc:sldChg chg="modNotes">
        <pc:chgData name="John Paserba" userId="77bd6c8a-d0c1-4fea-8705-0169f65d0c0e" providerId="ADAL" clId="{8D3E5ACD-1D35-4511-83B4-DAB9EA8CD604}" dt="2025-10-13T13:01:42.209" v="0"/>
        <pc:sldMkLst>
          <pc:docMk/>
          <pc:sldMk cId="2366930432" sldId="2147471762"/>
        </pc:sldMkLst>
      </pc:sldChg>
      <pc:sldChg chg="modNotes">
        <pc:chgData name="John Paserba" userId="77bd6c8a-d0c1-4fea-8705-0169f65d0c0e" providerId="ADAL" clId="{8D3E5ACD-1D35-4511-83B4-DAB9EA8CD604}" dt="2025-10-13T13:01:42.209" v="0"/>
        <pc:sldMkLst>
          <pc:docMk/>
          <pc:sldMk cId="519710030" sldId="2147471768"/>
        </pc:sldMkLst>
      </pc:sldChg>
      <pc:sldChg chg="modNotes">
        <pc:chgData name="John Paserba" userId="77bd6c8a-d0c1-4fea-8705-0169f65d0c0e" providerId="ADAL" clId="{8D3E5ACD-1D35-4511-83B4-DAB9EA8CD604}" dt="2025-10-13T13:01:42.209" v="0"/>
        <pc:sldMkLst>
          <pc:docMk/>
          <pc:sldMk cId="1363215793" sldId="2147471770"/>
        </pc:sldMkLst>
      </pc:sldChg>
      <pc:sldChg chg="modNotes">
        <pc:chgData name="John Paserba" userId="77bd6c8a-d0c1-4fea-8705-0169f65d0c0e" providerId="ADAL" clId="{8D3E5ACD-1D35-4511-83B4-DAB9EA8CD604}" dt="2025-10-13T13:01:42.209" v="0"/>
        <pc:sldMkLst>
          <pc:docMk/>
          <pc:sldMk cId="3980057186" sldId="2147471772"/>
        </pc:sldMkLst>
      </pc:sldChg>
      <pc:sldChg chg="modNotes">
        <pc:chgData name="John Paserba" userId="77bd6c8a-d0c1-4fea-8705-0169f65d0c0e" providerId="ADAL" clId="{8D3E5ACD-1D35-4511-83B4-DAB9EA8CD604}" dt="2025-10-13T13:01:42.209" v="0"/>
        <pc:sldMkLst>
          <pc:docMk/>
          <pc:sldMk cId="706584097" sldId="2147471774"/>
        </pc:sldMkLst>
      </pc:sldChg>
      <pc:sldChg chg="modNotes">
        <pc:chgData name="John Paserba" userId="77bd6c8a-d0c1-4fea-8705-0169f65d0c0e" providerId="ADAL" clId="{8D3E5ACD-1D35-4511-83B4-DAB9EA8CD604}" dt="2025-10-13T13:01:42.209" v="0"/>
        <pc:sldMkLst>
          <pc:docMk/>
          <pc:sldMk cId="1947367769" sldId="2147471775"/>
        </pc:sldMkLst>
      </pc:sldChg>
      <pc:sldChg chg="modNotes">
        <pc:chgData name="John Paserba" userId="77bd6c8a-d0c1-4fea-8705-0169f65d0c0e" providerId="ADAL" clId="{8D3E5ACD-1D35-4511-83B4-DAB9EA8CD604}" dt="2025-10-13T13:01:42.209" v="0"/>
        <pc:sldMkLst>
          <pc:docMk/>
          <pc:sldMk cId="3818620073" sldId="2147471776"/>
        </pc:sldMkLst>
      </pc:sldChg>
      <pc:sldChg chg="modNotes">
        <pc:chgData name="John Paserba" userId="77bd6c8a-d0c1-4fea-8705-0169f65d0c0e" providerId="ADAL" clId="{8D3E5ACD-1D35-4511-83B4-DAB9EA8CD604}" dt="2025-10-13T13:01:42.209" v="0"/>
        <pc:sldMkLst>
          <pc:docMk/>
          <pc:sldMk cId="1403970950" sldId="2147471779"/>
        </pc:sldMkLst>
      </pc:sldChg>
      <pc:sldChg chg="modNotes">
        <pc:chgData name="John Paserba" userId="77bd6c8a-d0c1-4fea-8705-0169f65d0c0e" providerId="ADAL" clId="{8D3E5ACD-1D35-4511-83B4-DAB9EA8CD604}" dt="2025-10-13T13:01:42.209" v="0"/>
        <pc:sldMkLst>
          <pc:docMk/>
          <pc:sldMk cId="1858141502" sldId="2147471781"/>
        </pc:sldMkLst>
      </pc:sldChg>
      <pc:sldChg chg="modNotes">
        <pc:chgData name="John Paserba" userId="77bd6c8a-d0c1-4fea-8705-0169f65d0c0e" providerId="ADAL" clId="{8D3E5ACD-1D35-4511-83B4-DAB9EA8CD604}" dt="2025-10-13T13:01:42.209" v="0"/>
        <pc:sldMkLst>
          <pc:docMk/>
          <pc:sldMk cId="3517840741" sldId="2147471782"/>
        </pc:sldMkLst>
      </pc:sldChg>
      <pc:sldChg chg="modNotes">
        <pc:chgData name="John Paserba" userId="77bd6c8a-d0c1-4fea-8705-0169f65d0c0e" providerId="ADAL" clId="{8D3E5ACD-1D35-4511-83B4-DAB9EA8CD604}" dt="2025-10-13T13:01:42.209" v="0"/>
        <pc:sldMkLst>
          <pc:docMk/>
          <pc:sldMk cId="1615138601" sldId="2147471783"/>
        </pc:sldMkLst>
      </pc:sldChg>
      <pc:sldChg chg="modNotes">
        <pc:chgData name="John Paserba" userId="77bd6c8a-d0c1-4fea-8705-0169f65d0c0e" providerId="ADAL" clId="{8D3E5ACD-1D35-4511-83B4-DAB9EA8CD604}" dt="2025-10-13T13:01:42.209" v="0"/>
        <pc:sldMkLst>
          <pc:docMk/>
          <pc:sldMk cId="3602354048" sldId="2147471784"/>
        </pc:sldMkLst>
      </pc:sldChg>
      <pc:sldChg chg="modNotes">
        <pc:chgData name="John Paserba" userId="77bd6c8a-d0c1-4fea-8705-0169f65d0c0e" providerId="ADAL" clId="{8D3E5ACD-1D35-4511-83B4-DAB9EA8CD604}" dt="2025-10-13T13:01:42.209" v="0"/>
        <pc:sldMkLst>
          <pc:docMk/>
          <pc:sldMk cId="223166733" sldId="2147471785"/>
        </pc:sldMkLst>
      </pc:sldChg>
      <pc:sldChg chg="modNotes">
        <pc:chgData name="John Paserba" userId="77bd6c8a-d0c1-4fea-8705-0169f65d0c0e" providerId="ADAL" clId="{8D3E5ACD-1D35-4511-83B4-DAB9EA8CD604}" dt="2025-10-13T13:01:42.209" v="0"/>
        <pc:sldMkLst>
          <pc:docMk/>
          <pc:sldMk cId="2920915659" sldId="2147471786"/>
        </pc:sldMkLst>
      </pc:sldChg>
      <pc:sldChg chg="modNotes">
        <pc:chgData name="John Paserba" userId="77bd6c8a-d0c1-4fea-8705-0169f65d0c0e" providerId="ADAL" clId="{8D3E5ACD-1D35-4511-83B4-DAB9EA8CD604}" dt="2025-10-13T13:01:42.209" v="0"/>
        <pc:sldMkLst>
          <pc:docMk/>
          <pc:sldMk cId="506027128" sldId="2147471787"/>
        </pc:sldMkLst>
      </pc:sldChg>
      <pc:sldChg chg="modNotes">
        <pc:chgData name="John Paserba" userId="77bd6c8a-d0c1-4fea-8705-0169f65d0c0e" providerId="ADAL" clId="{8D3E5ACD-1D35-4511-83B4-DAB9EA8CD604}" dt="2025-10-13T13:01:42.209" v="0"/>
        <pc:sldMkLst>
          <pc:docMk/>
          <pc:sldMk cId="1731357715" sldId="2147471788"/>
        </pc:sldMkLst>
      </pc:sldChg>
      <pc:sldChg chg="modNotes">
        <pc:chgData name="John Paserba" userId="77bd6c8a-d0c1-4fea-8705-0169f65d0c0e" providerId="ADAL" clId="{8D3E5ACD-1D35-4511-83B4-DAB9EA8CD604}" dt="2025-10-13T13:01:42.209" v="0"/>
        <pc:sldMkLst>
          <pc:docMk/>
          <pc:sldMk cId="977263133" sldId="2147471789"/>
        </pc:sldMkLst>
      </pc:sldChg>
      <pc:sldChg chg="modNotes">
        <pc:chgData name="John Paserba" userId="77bd6c8a-d0c1-4fea-8705-0169f65d0c0e" providerId="ADAL" clId="{8D3E5ACD-1D35-4511-83B4-DAB9EA8CD604}" dt="2025-10-13T13:01:42.209" v="0"/>
        <pc:sldMkLst>
          <pc:docMk/>
          <pc:sldMk cId="1601958658" sldId="2147471792"/>
        </pc:sldMkLst>
      </pc:sldChg>
      <pc:sldChg chg="modNotes">
        <pc:chgData name="John Paserba" userId="77bd6c8a-d0c1-4fea-8705-0169f65d0c0e" providerId="ADAL" clId="{8D3E5ACD-1D35-4511-83B4-DAB9EA8CD604}" dt="2025-10-13T13:01:42.209" v="0"/>
        <pc:sldMkLst>
          <pc:docMk/>
          <pc:sldMk cId="1264038387" sldId="2147471793"/>
        </pc:sldMkLst>
      </pc:sldChg>
      <pc:sldChg chg="modNotes">
        <pc:chgData name="John Paserba" userId="77bd6c8a-d0c1-4fea-8705-0169f65d0c0e" providerId="ADAL" clId="{8D3E5ACD-1D35-4511-83B4-DAB9EA8CD604}" dt="2025-10-13T13:01:42.209" v="0"/>
        <pc:sldMkLst>
          <pc:docMk/>
          <pc:sldMk cId="4011912219" sldId="2147471796"/>
        </pc:sldMkLst>
      </pc:sldChg>
      <pc:sldChg chg="modNotes">
        <pc:chgData name="John Paserba" userId="77bd6c8a-d0c1-4fea-8705-0169f65d0c0e" providerId="ADAL" clId="{8D3E5ACD-1D35-4511-83B4-DAB9EA8CD604}" dt="2025-10-13T13:01:42.209" v="0"/>
        <pc:sldMkLst>
          <pc:docMk/>
          <pc:sldMk cId="1045465934" sldId="2147471797"/>
        </pc:sldMkLst>
      </pc:sldChg>
      <pc:sldChg chg="modNotes">
        <pc:chgData name="John Paserba" userId="77bd6c8a-d0c1-4fea-8705-0169f65d0c0e" providerId="ADAL" clId="{8D3E5ACD-1D35-4511-83B4-DAB9EA8CD604}" dt="2025-10-13T13:01:42.209" v="0"/>
        <pc:sldMkLst>
          <pc:docMk/>
          <pc:sldMk cId="813813943" sldId="2147471798"/>
        </pc:sldMkLst>
      </pc:sldChg>
      <pc:sldChg chg="modNotes">
        <pc:chgData name="John Paserba" userId="77bd6c8a-d0c1-4fea-8705-0169f65d0c0e" providerId="ADAL" clId="{8D3E5ACD-1D35-4511-83B4-DAB9EA8CD604}" dt="2025-10-13T13:01:42.209" v="0"/>
        <pc:sldMkLst>
          <pc:docMk/>
          <pc:sldMk cId="2303751043" sldId="2147471799"/>
        </pc:sldMkLst>
      </pc:sldChg>
      <pc:sldChg chg="modNotes">
        <pc:chgData name="John Paserba" userId="77bd6c8a-d0c1-4fea-8705-0169f65d0c0e" providerId="ADAL" clId="{8D3E5ACD-1D35-4511-83B4-DAB9EA8CD604}" dt="2025-10-13T13:01:42.209" v="0"/>
        <pc:sldMkLst>
          <pc:docMk/>
          <pc:sldMk cId="55366222" sldId="2147471800"/>
        </pc:sldMkLst>
      </pc:sldChg>
      <pc:sldChg chg="modNotes">
        <pc:chgData name="John Paserba" userId="77bd6c8a-d0c1-4fea-8705-0169f65d0c0e" providerId="ADAL" clId="{8D3E5ACD-1D35-4511-83B4-DAB9EA8CD604}" dt="2025-10-13T13:01:42.209" v="0"/>
        <pc:sldMkLst>
          <pc:docMk/>
          <pc:sldMk cId="1100047433" sldId="2147471802"/>
        </pc:sldMkLst>
      </pc:sldChg>
      <pc:sldChg chg="modNotes">
        <pc:chgData name="John Paserba" userId="77bd6c8a-d0c1-4fea-8705-0169f65d0c0e" providerId="ADAL" clId="{8D3E5ACD-1D35-4511-83B4-DAB9EA8CD604}" dt="2025-10-13T13:01:42.209" v="0"/>
        <pc:sldMkLst>
          <pc:docMk/>
          <pc:sldMk cId="3043239507" sldId="2147471803"/>
        </pc:sldMkLst>
      </pc:sldChg>
      <pc:sldChg chg="modNotes">
        <pc:chgData name="John Paserba" userId="77bd6c8a-d0c1-4fea-8705-0169f65d0c0e" providerId="ADAL" clId="{8D3E5ACD-1D35-4511-83B4-DAB9EA8CD604}" dt="2025-10-13T13:01:42.209" v="0"/>
        <pc:sldMkLst>
          <pc:docMk/>
          <pc:sldMk cId="3891239705" sldId="2147471804"/>
        </pc:sldMkLst>
      </pc:sldChg>
      <pc:sldChg chg="modNotes">
        <pc:chgData name="John Paserba" userId="77bd6c8a-d0c1-4fea-8705-0169f65d0c0e" providerId="ADAL" clId="{8D3E5ACD-1D35-4511-83B4-DAB9EA8CD604}" dt="2025-10-13T13:01:42.209" v="0"/>
        <pc:sldMkLst>
          <pc:docMk/>
          <pc:sldMk cId="4089811063" sldId="2147471805"/>
        </pc:sldMkLst>
      </pc:sldChg>
      <pc:sldChg chg="modNotes">
        <pc:chgData name="John Paserba" userId="77bd6c8a-d0c1-4fea-8705-0169f65d0c0e" providerId="ADAL" clId="{8D3E5ACD-1D35-4511-83B4-DAB9EA8CD604}" dt="2025-10-13T13:01:42.209" v="0"/>
        <pc:sldMkLst>
          <pc:docMk/>
          <pc:sldMk cId="761989599" sldId="2147471811"/>
        </pc:sldMkLst>
      </pc:sldChg>
      <pc:sldChg chg="modNotes">
        <pc:chgData name="John Paserba" userId="77bd6c8a-d0c1-4fea-8705-0169f65d0c0e" providerId="ADAL" clId="{8D3E5ACD-1D35-4511-83B4-DAB9EA8CD604}" dt="2025-10-13T13:01:42.209" v="0"/>
        <pc:sldMkLst>
          <pc:docMk/>
          <pc:sldMk cId="3355548159" sldId="2147471814"/>
        </pc:sldMkLst>
      </pc:sldChg>
      <pc:sldChg chg="modNotes">
        <pc:chgData name="John Paserba" userId="77bd6c8a-d0c1-4fea-8705-0169f65d0c0e" providerId="ADAL" clId="{8D3E5ACD-1D35-4511-83B4-DAB9EA8CD604}" dt="2025-10-13T13:01:42.209" v="0"/>
        <pc:sldMkLst>
          <pc:docMk/>
          <pc:sldMk cId="1601724199" sldId="2147471815"/>
        </pc:sldMkLst>
      </pc:sldChg>
      <pc:sldChg chg="modNotes">
        <pc:chgData name="John Paserba" userId="77bd6c8a-d0c1-4fea-8705-0169f65d0c0e" providerId="ADAL" clId="{8D3E5ACD-1D35-4511-83B4-DAB9EA8CD604}" dt="2025-10-13T13:01:42.209" v="0"/>
        <pc:sldMkLst>
          <pc:docMk/>
          <pc:sldMk cId="2611446155" sldId="2147471816"/>
        </pc:sldMkLst>
      </pc:sldChg>
      <pc:sldChg chg="modNotes">
        <pc:chgData name="John Paserba" userId="77bd6c8a-d0c1-4fea-8705-0169f65d0c0e" providerId="ADAL" clId="{8D3E5ACD-1D35-4511-83B4-DAB9EA8CD604}" dt="2025-10-13T13:01:42.209" v="0"/>
        <pc:sldMkLst>
          <pc:docMk/>
          <pc:sldMk cId="2218686594" sldId="2147471818"/>
        </pc:sldMkLst>
      </pc:sldChg>
      <pc:sldChg chg="modNotes">
        <pc:chgData name="John Paserba" userId="77bd6c8a-d0c1-4fea-8705-0169f65d0c0e" providerId="ADAL" clId="{8D3E5ACD-1D35-4511-83B4-DAB9EA8CD604}" dt="2025-10-13T13:01:42.209" v="0"/>
        <pc:sldMkLst>
          <pc:docMk/>
          <pc:sldMk cId="3105101276" sldId="2147471822"/>
        </pc:sldMkLst>
      </pc:sldChg>
      <pc:sldChg chg="modNotes">
        <pc:chgData name="John Paserba" userId="77bd6c8a-d0c1-4fea-8705-0169f65d0c0e" providerId="ADAL" clId="{8D3E5ACD-1D35-4511-83B4-DAB9EA8CD604}" dt="2025-10-13T13:01:42.209" v="0"/>
        <pc:sldMkLst>
          <pc:docMk/>
          <pc:sldMk cId="1848293232" sldId="2147471823"/>
        </pc:sldMkLst>
      </pc:sldChg>
      <pc:sldChg chg="modNotes">
        <pc:chgData name="John Paserba" userId="77bd6c8a-d0c1-4fea-8705-0169f65d0c0e" providerId="ADAL" clId="{8D3E5ACD-1D35-4511-83B4-DAB9EA8CD604}" dt="2025-10-13T13:01:42.209" v="0"/>
        <pc:sldMkLst>
          <pc:docMk/>
          <pc:sldMk cId="3891908509" sldId="2147471824"/>
        </pc:sldMkLst>
      </pc:sldChg>
      <pc:sldChg chg="modNotes">
        <pc:chgData name="John Paserba" userId="77bd6c8a-d0c1-4fea-8705-0169f65d0c0e" providerId="ADAL" clId="{8D3E5ACD-1D35-4511-83B4-DAB9EA8CD604}" dt="2025-10-13T13:01:42.209" v="0"/>
        <pc:sldMkLst>
          <pc:docMk/>
          <pc:sldMk cId="3521576497" sldId="2147471825"/>
        </pc:sldMkLst>
      </pc:sldChg>
      <pc:sldChg chg="modNotes">
        <pc:chgData name="John Paserba" userId="77bd6c8a-d0c1-4fea-8705-0169f65d0c0e" providerId="ADAL" clId="{8D3E5ACD-1D35-4511-83B4-DAB9EA8CD604}" dt="2025-10-13T13:01:42.209" v="0"/>
        <pc:sldMkLst>
          <pc:docMk/>
          <pc:sldMk cId="3060494149" sldId="2147471826"/>
        </pc:sldMkLst>
      </pc:sldChg>
      <pc:sldChg chg="modNotes">
        <pc:chgData name="John Paserba" userId="77bd6c8a-d0c1-4fea-8705-0169f65d0c0e" providerId="ADAL" clId="{8D3E5ACD-1D35-4511-83B4-DAB9EA8CD604}" dt="2025-10-13T13:01:42.209" v="0"/>
        <pc:sldMkLst>
          <pc:docMk/>
          <pc:sldMk cId="1518505039" sldId="2147471827"/>
        </pc:sldMkLst>
      </pc:sldChg>
      <pc:sldChg chg="modNotes">
        <pc:chgData name="John Paserba" userId="77bd6c8a-d0c1-4fea-8705-0169f65d0c0e" providerId="ADAL" clId="{8D3E5ACD-1D35-4511-83B4-DAB9EA8CD604}" dt="2025-10-13T13:01:42.209" v="0"/>
        <pc:sldMkLst>
          <pc:docMk/>
          <pc:sldMk cId="2934761795" sldId="2147471828"/>
        </pc:sldMkLst>
      </pc:sldChg>
      <pc:sldChg chg="modNotes">
        <pc:chgData name="John Paserba" userId="77bd6c8a-d0c1-4fea-8705-0169f65d0c0e" providerId="ADAL" clId="{8D3E5ACD-1D35-4511-83B4-DAB9EA8CD604}" dt="2025-10-13T13:01:42.209" v="0"/>
        <pc:sldMkLst>
          <pc:docMk/>
          <pc:sldMk cId="846043046" sldId="2147471834"/>
        </pc:sldMkLst>
      </pc:sldChg>
    </pc:docChg>
  </pc:docChgLst>
  <pc:docChgLst>
    <pc:chgData name="John Paserba" userId="77bd6c8a-d0c1-4fea-8705-0169f65d0c0e" providerId="ADAL" clId="{756F7B95-58D5-45C1-9E21-B0E68508464E}"/>
    <pc:docChg chg="undo custSel addSld delSld modSld delMainMaster">
      <pc:chgData name="John Paserba" userId="77bd6c8a-d0c1-4fea-8705-0169f65d0c0e" providerId="ADAL" clId="{756F7B95-58D5-45C1-9E21-B0E68508464E}" dt="2025-07-17T22:33:09.037" v="1961"/>
      <pc:docMkLst>
        <pc:docMk/>
      </pc:docMkLst>
      <pc:sldChg chg="addSp delSp modSp mod">
        <pc:chgData name="John Paserba" userId="77bd6c8a-d0c1-4fea-8705-0169f65d0c0e" providerId="ADAL" clId="{756F7B95-58D5-45C1-9E21-B0E68508464E}" dt="2025-07-17T18:29:52.011" v="467"/>
        <pc:sldMkLst>
          <pc:docMk/>
          <pc:sldMk cId="2521621173" sldId="2147471011"/>
        </pc:sldMkLst>
        <pc:spChg chg="del">
          <ac:chgData name="John Paserba" userId="77bd6c8a-d0c1-4fea-8705-0169f65d0c0e" providerId="ADAL" clId="{756F7B95-58D5-45C1-9E21-B0E68508464E}" dt="2025-07-17T18:29:51.203" v="466" actId="478"/>
          <ac:spMkLst>
            <pc:docMk/>
            <pc:sldMk cId="2521621173" sldId="2147471011"/>
            <ac:spMk id="15" creationId="{68357059-883B-4FC2-9507-D7F27FA4804E}"/>
          </ac:spMkLst>
        </pc:spChg>
        <pc:spChg chg="del">
          <ac:chgData name="John Paserba" userId="77bd6c8a-d0c1-4fea-8705-0169f65d0c0e" providerId="ADAL" clId="{756F7B95-58D5-45C1-9E21-B0E68508464E}" dt="2025-07-17T18:29:48.308" v="465" actId="478"/>
          <ac:spMkLst>
            <pc:docMk/>
            <pc:sldMk cId="2521621173" sldId="2147471011"/>
            <ac:spMk id="16" creationId="{350FDDB9-0B3C-49B9-8021-18FED52471C8}"/>
          </ac:spMkLst>
        </pc:spChg>
        <pc:spChg chg="add mod">
          <ac:chgData name="John Paserba" userId="77bd6c8a-d0c1-4fea-8705-0169f65d0c0e" providerId="ADAL" clId="{756F7B95-58D5-45C1-9E21-B0E68508464E}" dt="2025-07-17T18:29:52.011" v="467"/>
          <ac:spMkLst>
            <pc:docMk/>
            <pc:sldMk cId="2521621173" sldId="2147471011"/>
            <ac:spMk id="17" creationId="{89027ADE-30CB-4907-8B5B-AAF6E6A2A610}"/>
          </ac:spMkLst>
        </pc:spChg>
      </pc:sldChg>
      <pc:sldChg chg="del">
        <pc:chgData name="John Paserba" userId="77bd6c8a-d0c1-4fea-8705-0169f65d0c0e" providerId="ADAL" clId="{756F7B95-58D5-45C1-9E21-B0E68508464E}" dt="2025-07-17T14:35:09.945" v="0" actId="47"/>
        <pc:sldMkLst>
          <pc:docMk/>
          <pc:sldMk cId="3260108025" sldId="2147471143"/>
        </pc:sldMkLst>
      </pc:sldChg>
      <pc:sldChg chg="addSp delSp modSp mod">
        <pc:chgData name="John Paserba" userId="77bd6c8a-d0c1-4fea-8705-0169f65d0c0e" providerId="ADAL" clId="{756F7B95-58D5-45C1-9E21-B0E68508464E}" dt="2025-07-17T22:03:01.328" v="1282" actId="1076"/>
        <pc:sldMkLst>
          <pc:docMk/>
          <pc:sldMk cId="3973842841" sldId="2147471233"/>
        </pc:sldMkLst>
        <pc:spChg chg="add mod">
          <ac:chgData name="John Paserba" userId="77bd6c8a-d0c1-4fea-8705-0169f65d0c0e" providerId="ADAL" clId="{756F7B95-58D5-45C1-9E21-B0E68508464E}" dt="2025-07-17T19:25:16.493" v="1202" actId="14100"/>
          <ac:spMkLst>
            <pc:docMk/>
            <pc:sldMk cId="3973842841" sldId="2147471233"/>
            <ac:spMk id="15" creationId="{E4F8C892-F183-4546-82B8-6AE07845B31C}"/>
          </ac:spMkLst>
        </pc:spChg>
        <pc:graphicFrameChg chg="add del mod">
          <ac:chgData name="John Paserba" userId="77bd6c8a-d0c1-4fea-8705-0169f65d0c0e" providerId="ADAL" clId="{756F7B95-58D5-45C1-9E21-B0E68508464E}" dt="2025-07-17T22:01:10.931" v="1265"/>
          <ac:graphicFrameMkLst>
            <pc:docMk/>
            <pc:sldMk cId="3973842841" sldId="2147471233"/>
            <ac:graphicFrameMk id="3" creationId="{2E2A5B8C-EA8F-4759-AF04-6E8804E84557}"/>
          </ac:graphicFrameMkLst>
        </pc:graphicFrameChg>
        <pc:graphicFrameChg chg="add mod">
          <ac:chgData name="John Paserba" userId="77bd6c8a-d0c1-4fea-8705-0169f65d0c0e" providerId="ADAL" clId="{756F7B95-58D5-45C1-9E21-B0E68508464E}" dt="2025-07-17T22:01:17.949" v="1267" actId="1076"/>
          <ac:graphicFrameMkLst>
            <pc:docMk/>
            <pc:sldMk cId="3973842841" sldId="2147471233"/>
            <ac:graphicFrameMk id="6" creationId="{C54996C0-37B9-4A76-B13F-EDD670723D1C}"/>
          </ac:graphicFrameMkLst>
        </pc:graphicFrameChg>
        <pc:picChg chg="mod">
          <ac:chgData name="John Paserba" userId="77bd6c8a-d0c1-4fea-8705-0169f65d0c0e" providerId="ADAL" clId="{756F7B95-58D5-45C1-9E21-B0E68508464E}" dt="2025-07-17T22:03:01.328" v="1282" actId="1076"/>
          <ac:picMkLst>
            <pc:docMk/>
            <pc:sldMk cId="3973842841" sldId="2147471233"/>
            <ac:picMk id="8" creationId="{DB331DF5-5BAF-4F6B-9228-99723BA2F9A0}"/>
          </ac:picMkLst>
        </pc:picChg>
      </pc:sldChg>
      <pc:sldChg chg="addSp delSp modSp mod">
        <pc:chgData name="John Paserba" userId="77bd6c8a-d0c1-4fea-8705-0169f65d0c0e" providerId="ADAL" clId="{756F7B95-58D5-45C1-9E21-B0E68508464E}" dt="2025-07-17T16:34:43.723" v="440" actId="255"/>
        <pc:sldMkLst>
          <pc:docMk/>
          <pc:sldMk cId="3482163997" sldId="2147471283"/>
        </pc:sldMkLst>
        <pc:spChg chg="del mod">
          <ac:chgData name="John Paserba" userId="77bd6c8a-d0c1-4fea-8705-0169f65d0c0e" providerId="ADAL" clId="{756F7B95-58D5-45C1-9E21-B0E68508464E}" dt="2025-07-17T16:20:05.510" v="56" actId="478"/>
          <ac:spMkLst>
            <pc:docMk/>
            <pc:sldMk cId="3482163997" sldId="2147471283"/>
            <ac:spMk id="7" creationId="{7E6BA211-85E0-4FD1-A704-D273CCA657E2}"/>
          </ac:spMkLst>
        </pc:spChg>
        <pc:spChg chg="add mod">
          <ac:chgData name="John Paserba" userId="77bd6c8a-d0c1-4fea-8705-0169f65d0c0e" providerId="ADAL" clId="{756F7B95-58D5-45C1-9E21-B0E68508464E}" dt="2025-07-17T16:20:24.244" v="69" actId="1076"/>
          <ac:spMkLst>
            <pc:docMk/>
            <pc:sldMk cId="3482163997" sldId="2147471283"/>
            <ac:spMk id="8" creationId="{5CDDFDB1-AED0-4B64-8B82-63C7C11ED802}"/>
          </ac:spMkLst>
        </pc:spChg>
        <pc:spChg chg="mod">
          <ac:chgData name="John Paserba" userId="77bd6c8a-d0c1-4fea-8705-0169f65d0c0e" providerId="ADAL" clId="{756F7B95-58D5-45C1-9E21-B0E68508464E}" dt="2025-07-17T16:34:43.723" v="440" actId="255"/>
          <ac:spMkLst>
            <pc:docMk/>
            <pc:sldMk cId="3482163997" sldId="2147471283"/>
            <ac:spMk id="11" creationId="{FB3B9CB6-79E9-4448-AE52-A81A1F9D3770}"/>
          </ac:spMkLst>
        </pc:spChg>
      </pc:sldChg>
      <pc:sldChg chg="del">
        <pc:chgData name="John Paserba" userId="77bd6c8a-d0c1-4fea-8705-0169f65d0c0e" providerId="ADAL" clId="{756F7B95-58D5-45C1-9E21-B0E68508464E}" dt="2025-07-17T14:35:23.352" v="1" actId="47"/>
        <pc:sldMkLst>
          <pc:docMk/>
          <pc:sldMk cId="1798689786" sldId="2147471316"/>
        </pc:sldMkLst>
      </pc:sldChg>
      <pc:sldChg chg="del">
        <pc:chgData name="John Paserba" userId="77bd6c8a-d0c1-4fea-8705-0169f65d0c0e" providerId="ADAL" clId="{756F7B95-58D5-45C1-9E21-B0E68508464E}" dt="2025-07-17T14:35:23.352" v="1" actId="47"/>
        <pc:sldMkLst>
          <pc:docMk/>
          <pc:sldMk cId="4018940102" sldId="2147471332"/>
        </pc:sldMkLst>
      </pc:sldChg>
      <pc:sldChg chg="addSp modSp mod">
        <pc:chgData name="John Paserba" userId="77bd6c8a-d0c1-4fea-8705-0169f65d0c0e" providerId="ADAL" clId="{756F7B95-58D5-45C1-9E21-B0E68508464E}" dt="2025-07-17T22:01:38.025" v="1269" actId="1076"/>
        <pc:sldMkLst>
          <pc:docMk/>
          <pc:sldMk cId="3626863204" sldId="2147471336"/>
        </pc:sldMkLst>
        <pc:spChg chg="add mod">
          <ac:chgData name="John Paserba" userId="77bd6c8a-d0c1-4fea-8705-0169f65d0c0e" providerId="ADAL" clId="{756F7B95-58D5-45C1-9E21-B0E68508464E}" dt="2025-07-17T19:25:21.447" v="1203"/>
          <ac:spMkLst>
            <pc:docMk/>
            <pc:sldMk cId="3626863204" sldId="2147471336"/>
            <ac:spMk id="13" creationId="{8F21F8EC-D021-4E9A-A511-499C46654CFA}"/>
          </ac:spMkLst>
        </pc:spChg>
        <pc:graphicFrameChg chg="add mod">
          <ac:chgData name="John Paserba" userId="77bd6c8a-d0c1-4fea-8705-0169f65d0c0e" providerId="ADAL" clId="{756F7B95-58D5-45C1-9E21-B0E68508464E}" dt="2025-07-17T22:01:34.831" v="1268"/>
          <ac:graphicFrameMkLst>
            <pc:docMk/>
            <pc:sldMk cId="3626863204" sldId="2147471336"/>
            <ac:graphicFrameMk id="14" creationId="{21BD7CF3-4B7C-4E02-81B8-AF85FA03C9E1}"/>
          </ac:graphicFrameMkLst>
        </pc:graphicFrameChg>
        <pc:picChg chg="mod">
          <ac:chgData name="John Paserba" userId="77bd6c8a-d0c1-4fea-8705-0169f65d0c0e" providerId="ADAL" clId="{756F7B95-58D5-45C1-9E21-B0E68508464E}" dt="2025-07-17T22:01:38.025" v="1269" actId="1076"/>
          <ac:picMkLst>
            <pc:docMk/>
            <pc:sldMk cId="3626863204" sldId="2147471336"/>
            <ac:picMk id="6" creationId="{F4161654-DDA7-4C8D-82F1-72A7308A2FD8}"/>
          </ac:picMkLst>
        </pc:picChg>
      </pc:sldChg>
      <pc:sldChg chg="addSp modSp mod">
        <pc:chgData name="John Paserba" userId="77bd6c8a-d0c1-4fea-8705-0169f65d0c0e" providerId="ADAL" clId="{756F7B95-58D5-45C1-9E21-B0E68508464E}" dt="2025-07-17T22:01:50.481" v="1273" actId="14100"/>
        <pc:sldMkLst>
          <pc:docMk/>
          <pc:sldMk cId="382756534" sldId="2147471337"/>
        </pc:sldMkLst>
        <pc:spChg chg="add mod">
          <ac:chgData name="John Paserba" userId="77bd6c8a-d0c1-4fea-8705-0169f65d0c0e" providerId="ADAL" clId="{756F7B95-58D5-45C1-9E21-B0E68508464E}" dt="2025-07-17T19:25:22.618" v="1204"/>
          <ac:spMkLst>
            <pc:docMk/>
            <pc:sldMk cId="382756534" sldId="2147471337"/>
            <ac:spMk id="13" creationId="{77FFC24C-4301-4907-8B9C-4986A4C2E987}"/>
          </ac:spMkLst>
        </pc:spChg>
        <pc:graphicFrameChg chg="add mod">
          <ac:chgData name="John Paserba" userId="77bd6c8a-d0c1-4fea-8705-0169f65d0c0e" providerId="ADAL" clId="{756F7B95-58D5-45C1-9E21-B0E68508464E}" dt="2025-07-17T22:01:43.100" v="1271"/>
          <ac:graphicFrameMkLst>
            <pc:docMk/>
            <pc:sldMk cId="382756534" sldId="2147471337"/>
            <ac:graphicFrameMk id="14" creationId="{1F1655B5-152F-4514-8CAD-24978BA60A25}"/>
          </ac:graphicFrameMkLst>
        </pc:graphicFrameChg>
        <pc:picChg chg="mod">
          <ac:chgData name="John Paserba" userId="77bd6c8a-d0c1-4fea-8705-0169f65d0c0e" providerId="ADAL" clId="{756F7B95-58D5-45C1-9E21-B0E68508464E}" dt="2025-07-17T22:01:50.481" v="1273" actId="14100"/>
          <ac:picMkLst>
            <pc:docMk/>
            <pc:sldMk cId="382756534" sldId="2147471337"/>
            <ac:picMk id="6" creationId="{A8ABB2E0-F2B3-4971-899C-76C91D6D0795}"/>
          </ac:picMkLst>
        </pc:picChg>
      </pc:sldChg>
      <pc:sldChg chg="addSp modSp mod">
        <pc:chgData name="John Paserba" userId="77bd6c8a-d0c1-4fea-8705-0169f65d0c0e" providerId="ADAL" clId="{756F7B95-58D5-45C1-9E21-B0E68508464E}" dt="2025-07-17T22:02:30.174" v="1277" actId="14100"/>
        <pc:sldMkLst>
          <pc:docMk/>
          <pc:sldMk cId="3079251302" sldId="2147471338"/>
        </pc:sldMkLst>
        <pc:spChg chg="add mod">
          <ac:chgData name="John Paserba" userId="77bd6c8a-d0c1-4fea-8705-0169f65d0c0e" providerId="ADAL" clId="{756F7B95-58D5-45C1-9E21-B0E68508464E}" dt="2025-07-17T19:25:23.917" v="1205"/>
          <ac:spMkLst>
            <pc:docMk/>
            <pc:sldMk cId="3079251302" sldId="2147471338"/>
            <ac:spMk id="13" creationId="{F01C172E-93C2-4E53-ACEB-CA2BAA7F0DC6}"/>
          </ac:spMkLst>
        </pc:spChg>
        <pc:graphicFrameChg chg="add mod">
          <ac:chgData name="John Paserba" userId="77bd6c8a-d0c1-4fea-8705-0169f65d0c0e" providerId="ADAL" clId="{756F7B95-58D5-45C1-9E21-B0E68508464E}" dt="2025-07-17T22:02:26.722" v="1276"/>
          <ac:graphicFrameMkLst>
            <pc:docMk/>
            <pc:sldMk cId="3079251302" sldId="2147471338"/>
            <ac:graphicFrameMk id="14" creationId="{3B70B663-46CF-4F30-96EF-FBF82F4E87A0}"/>
          </ac:graphicFrameMkLst>
        </pc:graphicFrameChg>
        <pc:picChg chg="mod">
          <ac:chgData name="John Paserba" userId="77bd6c8a-d0c1-4fea-8705-0169f65d0c0e" providerId="ADAL" clId="{756F7B95-58D5-45C1-9E21-B0E68508464E}" dt="2025-07-17T22:02:30.174" v="1277" actId="14100"/>
          <ac:picMkLst>
            <pc:docMk/>
            <pc:sldMk cId="3079251302" sldId="2147471338"/>
            <ac:picMk id="6" creationId="{97ADD99D-5CC4-4A36-81CF-C761144A2027}"/>
          </ac:picMkLst>
        </pc:picChg>
      </pc:sldChg>
      <pc:sldChg chg="addSp modSp mod">
        <pc:chgData name="John Paserba" userId="77bd6c8a-d0c1-4fea-8705-0169f65d0c0e" providerId="ADAL" clId="{756F7B95-58D5-45C1-9E21-B0E68508464E}" dt="2025-07-17T22:07:19.731" v="1308" actId="255"/>
        <pc:sldMkLst>
          <pc:docMk/>
          <pc:sldMk cId="231882232" sldId="2147471339"/>
        </pc:sldMkLst>
        <pc:spChg chg="add mod">
          <ac:chgData name="John Paserba" userId="77bd6c8a-d0c1-4fea-8705-0169f65d0c0e" providerId="ADAL" clId="{756F7B95-58D5-45C1-9E21-B0E68508464E}" dt="2025-07-17T19:25:27.706" v="1206"/>
          <ac:spMkLst>
            <pc:docMk/>
            <pc:sldMk cId="231882232" sldId="2147471339"/>
            <ac:spMk id="14" creationId="{36517D48-7762-42F2-A3E4-5C268C882D84}"/>
          </ac:spMkLst>
        </pc:spChg>
        <pc:spChg chg="mod">
          <ac:chgData name="John Paserba" userId="77bd6c8a-d0c1-4fea-8705-0169f65d0c0e" providerId="ADAL" clId="{756F7B95-58D5-45C1-9E21-B0E68508464E}" dt="2025-07-17T22:07:19.731" v="1308" actId="255"/>
          <ac:spMkLst>
            <pc:docMk/>
            <pc:sldMk cId="231882232" sldId="2147471339"/>
            <ac:spMk id="3328002" creationId="{00000000-0000-0000-0000-000000000000}"/>
          </ac:spMkLst>
        </pc:spChg>
        <pc:graphicFrameChg chg="add mod">
          <ac:chgData name="John Paserba" userId="77bd6c8a-d0c1-4fea-8705-0169f65d0c0e" providerId="ADAL" clId="{756F7B95-58D5-45C1-9E21-B0E68508464E}" dt="2025-07-17T22:02:42.279" v="1280"/>
          <ac:graphicFrameMkLst>
            <pc:docMk/>
            <pc:sldMk cId="231882232" sldId="2147471339"/>
            <ac:graphicFrameMk id="15" creationId="{4E1AA683-25BB-42A3-B2C7-C8F66409742C}"/>
          </ac:graphicFrameMkLst>
        </pc:graphicFrameChg>
        <pc:picChg chg="mod">
          <ac:chgData name="John Paserba" userId="77bd6c8a-d0c1-4fea-8705-0169f65d0c0e" providerId="ADAL" clId="{756F7B95-58D5-45C1-9E21-B0E68508464E}" dt="2025-07-17T22:02:41.338" v="1279" actId="14100"/>
          <ac:picMkLst>
            <pc:docMk/>
            <pc:sldMk cId="231882232" sldId="2147471339"/>
            <ac:picMk id="7" creationId="{DA7E7AB5-8C72-4FEC-A5FC-92834F15D39B}"/>
          </ac:picMkLst>
        </pc:picChg>
      </pc:sldChg>
      <pc:sldChg chg="addSp modSp mod">
        <pc:chgData name="John Paserba" userId="77bd6c8a-d0c1-4fea-8705-0169f65d0c0e" providerId="ADAL" clId="{756F7B95-58D5-45C1-9E21-B0E68508464E}" dt="2025-07-17T16:31:28.679" v="389" actId="14100"/>
        <pc:sldMkLst>
          <pc:docMk/>
          <pc:sldMk cId="4270083759" sldId="2147471342"/>
        </pc:sldMkLst>
        <pc:spChg chg="add mod">
          <ac:chgData name="John Paserba" userId="77bd6c8a-d0c1-4fea-8705-0169f65d0c0e" providerId="ADAL" clId="{756F7B95-58D5-45C1-9E21-B0E68508464E}" dt="2025-07-17T16:31:28.679" v="389" actId="14100"/>
          <ac:spMkLst>
            <pc:docMk/>
            <pc:sldMk cId="4270083759" sldId="2147471342"/>
            <ac:spMk id="15" creationId="{B470785F-3FE8-49C8-B90F-751FDCB9BB20}"/>
          </ac:spMkLst>
        </pc:spChg>
      </pc:sldChg>
      <pc:sldChg chg="addSp modSp mod">
        <pc:chgData name="John Paserba" userId="77bd6c8a-d0c1-4fea-8705-0169f65d0c0e" providerId="ADAL" clId="{756F7B95-58D5-45C1-9E21-B0E68508464E}" dt="2025-07-17T16:35:19.036" v="446" actId="255"/>
        <pc:sldMkLst>
          <pc:docMk/>
          <pc:sldMk cId="158777242" sldId="2147471343"/>
        </pc:sldMkLst>
        <pc:spChg chg="add mod">
          <ac:chgData name="John Paserba" userId="77bd6c8a-d0c1-4fea-8705-0169f65d0c0e" providerId="ADAL" clId="{756F7B95-58D5-45C1-9E21-B0E68508464E}" dt="2025-07-17T16:31:38.127" v="392" actId="14100"/>
          <ac:spMkLst>
            <pc:docMk/>
            <pc:sldMk cId="158777242" sldId="2147471343"/>
            <ac:spMk id="15" creationId="{EC4F1D34-0EB9-4EE2-B5DC-01B37F5D95F8}"/>
          </ac:spMkLst>
        </pc:spChg>
        <pc:spChg chg="mod">
          <ac:chgData name="John Paserba" userId="77bd6c8a-d0c1-4fea-8705-0169f65d0c0e" providerId="ADAL" clId="{756F7B95-58D5-45C1-9E21-B0E68508464E}" dt="2025-07-17T16:35:19.036" v="446" actId="255"/>
          <ac:spMkLst>
            <pc:docMk/>
            <pc:sldMk cId="158777242" sldId="2147471343"/>
            <ac:spMk id="3328002" creationId="{00000000-0000-0000-0000-000000000000}"/>
          </ac:spMkLst>
        </pc:spChg>
      </pc:sldChg>
      <pc:sldChg chg="addSp modSp mod">
        <pc:chgData name="John Paserba" userId="77bd6c8a-d0c1-4fea-8705-0169f65d0c0e" providerId="ADAL" clId="{756F7B95-58D5-45C1-9E21-B0E68508464E}" dt="2025-07-17T16:35:23.582" v="447" actId="255"/>
        <pc:sldMkLst>
          <pc:docMk/>
          <pc:sldMk cId="828907581" sldId="2147471344"/>
        </pc:sldMkLst>
        <pc:spChg chg="add mod">
          <ac:chgData name="John Paserba" userId="77bd6c8a-d0c1-4fea-8705-0169f65d0c0e" providerId="ADAL" clId="{756F7B95-58D5-45C1-9E21-B0E68508464E}" dt="2025-07-17T16:31:45.063" v="395" actId="14100"/>
          <ac:spMkLst>
            <pc:docMk/>
            <pc:sldMk cId="828907581" sldId="2147471344"/>
            <ac:spMk id="15" creationId="{F78109ED-9001-442F-9518-080664EE5A18}"/>
          </ac:spMkLst>
        </pc:spChg>
        <pc:spChg chg="mod">
          <ac:chgData name="John Paserba" userId="77bd6c8a-d0c1-4fea-8705-0169f65d0c0e" providerId="ADAL" clId="{756F7B95-58D5-45C1-9E21-B0E68508464E}" dt="2025-07-17T16:35:23.582" v="447" actId="255"/>
          <ac:spMkLst>
            <pc:docMk/>
            <pc:sldMk cId="828907581" sldId="2147471344"/>
            <ac:spMk id="3328002" creationId="{00000000-0000-0000-0000-000000000000}"/>
          </ac:spMkLst>
        </pc:spChg>
      </pc:sldChg>
      <pc:sldChg chg="del">
        <pc:chgData name="John Paserba" userId="77bd6c8a-d0c1-4fea-8705-0169f65d0c0e" providerId="ADAL" clId="{756F7B95-58D5-45C1-9E21-B0E68508464E}" dt="2025-07-17T14:35:23.352" v="1" actId="47"/>
        <pc:sldMkLst>
          <pc:docMk/>
          <pc:sldMk cId="3051881803" sldId="2147471368"/>
        </pc:sldMkLst>
      </pc:sldChg>
      <pc:sldChg chg="addSp delSp modSp mod">
        <pc:chgData name="John Paserba" userId="77bd6c8a-d0c1-4fea-8705-0169f65d0c0e" providerId="ADAL" clId="{756F7B95-58D5-45C1-9E21-B0E68508464E}" dt="2025-07-17T18:24:56.941" v="452"/>
        <pc:sldMkLst>
          <pc:docMk/>
          <pc:sldMk cId="3498029312" sldId="2147471414"/>
        </pc:sldMkLst>
        <pc:spChg chg="del">
          <ac:chgData name="John Paserba" userId="77bd6c8a-d0c1-4fea-8705-0169f65d0c0e" providerId="ADAL" clId="{756F7B95-58D5-45C1-9E21-B0E68508464E}" dt="2025-07-17T16:20:28.926" v="70" actId="478"/>
          <ac:spMkLst>
            <pc:docMk/>
            <pc:sldMk cId="3498029312" sldId="2147471414"/>
            <ac:spMk id="13" creationId="{CF1DC5D1-4F60-4B7B-BF95-DD4D75ABF66D}"/>
          </ac:spMkLst>
        </pc:spChg>
        <pc:spChg chg="add mod">
          <ac:chgData name="John Paserba" userId="77bd6c8a-d0c1-4fea-8705-0169f65d0c0e" providerId="ADAL" clId="{756F7B95-58D5-45C1-9E21-B0E68508464E}" dt="2025-07-17T18:24:56.941" v="452"/>
          <ac:spMkLst>
            <pc:docMk/>
            <pc:sldMk cId="3498029312" sldId="2147471414"/>
            <ac:spMk id="14" creationId="{10A16B51-145A-4CBD-8A82-6F764B6F9830}"/>
          </ac:spMkLst>
        </pc:spChg>
        <pc:spChg chg="del">
          <ac:chgData name="John Paserba" userId="77bd6c8a-d0c1-4fea-8705-0169f65d0c0e" providerId="ADAL" clId="{756F7B95-58D5-45C1-9E21-B0E68508464E}" dt="2025-07-17T16:20:39.658" v="71" actId="478"/>
          <ac:spMkLst>
            <pc:docMk/>
            <pc:sldMk cId="3498029312" sldId="2147471414"/>
            <ac:spMk id="14" creationId="{FEB2C545-2752-43E9-9012-0F0CD90440B0}"/>
          </ac:spMkLst>
        </pc:spChg>
        <pc:spChg chg="add mod">
          <ac:chgData name="John Paserba" userId="77bd6c8a-d0c1-4fea-8705-0169f65d0c0e" providerId="ADAL" clId="{756F7B95-58D5-45C1-9E21-B0E68508464E}" dt="2025-07-17T16:28:03.749" v="226" actId="1036"/>
          <ac:spMkLst>
            <pc:docMk/>
            <pc:sldMk cId="3498029312" sldId="2147471414"/>
            <ac:spMk id="16" creationId="{24326541-F3AF-4047-8ED0-30F0936DEE25}"/>
          </ac:spMkLst>
        </pc:spChg>
        <pc:spChg chg="mod">
          <ac:chgData name="John Paserba" userId="77bd6c8a-d0c1-4fea-8705-0169f65d0c0e" providerId="ADAL" clId="{756F7B95-58D5-45C1-9E21-B0E68508464E}" dt="2025-07-17T16:34:52.445" v="443"/>
          <ac:spMkLst>
            <pc:docMk/>
            <pc:sldMk cId="3498029312" sldId="2147471414"/>
            <ac:spMk id="19" creationId="{00000000-0000-0000-0000-000000000000}"/>
          </ac:spMkLst>
        </pc:spChg>
        <pc:graphicFrameChg chg="modGraphic">
          <ac:chgData name="John Paserba" userId="77bd6c8a-d0c1-4fea-8705-0169f65d0c0e" providerId="ADAL" clId="{756F7B95-58D5-45C1-9E21-B0E68508464E}" dt="2025-07-17T16:20:50.098" v="75" actId="20577"/>
          <ac:graphicFrameMkLst>
            <pc:docMk/>
            <pc:sldMk cId="3498029312" sldId="2147471414"/>
            <ac:graphicFrameMk id="11" creationId="{F3DED44F-C0EF-4935-A06B-3FC910885FD8}"/>
          </ac:graphicFrameMkLst>
        </pc:graphicFrameChg>
        <pc:picChg chg="add mod modCrop">
          <ac:chgData name="John Paserba" userId="77bd6c8a-d0c1-4fea-8705-0169f65d0c0e" providerId="ADAL" clId="{756F7B95-58D5-45C1-9E21-B0E68508464E}" dt="2025-07-17T16:28:21.532" v="231" actId="1036"/>
          <ac:picMkLst>
            <pc:docMk/>
            <pc:sldMk cId="3498029312" sldId="2147471414"/>
            <ac:picMk id="2" creationId="{9D5A65FD-CF1B-4488-8C42-A26C79BDEE38}"/>
          </ac:picMkLst>
        </pc:picChg>
      </pc:sldChg>
      <pc:sldChg chg="addSp delSp modSp mod">
        <pc:chgData name="John Paserba" userId="77bd6c8a-d0c1-4fea-8705-0169f65d0c0e" providerId="ADAL" clId="{756F7B95-58D5-45C1-9E21-B0E68508464E}" dt="2025-07-17T22:08:22.761" v="1309" actId="255"/>
        <pc:sldMkLst>
          <pc:docMk/>
          <pc:sldMk cId="609624571" sldId="2147471423"/>
        </pc:sldMkLst>
        <pc:spChg chg="del">
          <ac:chgData name="John Paserba" userId="77bd6c8a-d0c1-4fea-8705-0169f65d0c0e" providerId="ADAL" clId="{756F7B95-58D5-45C1-9E21-B0E68508464E}" dt="2025-07-17T19:16:44.922" v="1140" actId="478"/>
          <ac:spMkLst>
            <pc:docMk/>
            <pc:sldMk cId="609624571" sldId="2147471423"/>
            <ac:spMk id="2" creationId="{E6B7ECD8-8A1A-4315-939A-A18B128F8379}"/>
          </ac:spMkLst>
        </pc:spChg>
        <pc:spChg chg="del">
          <ac:chgData name="John Paserba" userId="77bd6c8a-d0c1-4fea-8705-0169f65d0c0e" providerId="ADAL" clId="{756F7B95-58D5-45C1-9E21-B0E68508464E}" dt="2025-07-17T19:18:16.893" v="1169" actId="478"/>
          <ac:spMkLst>
            <pc:docMk/>
            <pc:sldMk cId="609624571" sldId="2147471423"/>
            <ac:spMk id="10" creationId="{EABB58CD-8FAF-448F-B4AF-2243F1D1EAAA}"/>
          </ac:spMkLst>
        </pc:spChg>
        <pc:spChg chg="add mod">
          <ac:chgData name="John Paserba" userId="77bd6c8a-d0c1-4fea-8705-0169f65d0c0e" providerId="ADAL" clId="{756F7B95-58D5-45C1-9E21-B0E68508464E}" dt="2025-07-17T19:19:16.023" v="1174"/>
          <ac:spMkLst>
            <pc:docMk/>
            <pc:sldMk cId="609624571" sldId="2147471423"/>
            <ac:spMk id="12" creationId="{AF2F24A7-E8A1-43A2-8340-297E7B39B8C0}"/>
          </ac:spMkLst>
        </pc:spChg>
        <pc:spChg chg="add mod">
          <ac:chgData name="John Paserba" userId="77bd6c8a-d0c1-4fea-8705-0169f65d0c0e" providerId="ADAL" clId="{756F7B95-58D5-45C1-9E21-B0E68508464E}" dt="2025-07-17T19:32:39.008" v="1263"/>
          <ac:spMkLst>
            <pc:docMk/>
            <pc:sldMk cId="609624571" sldId="2147471423"/>
            <ac:spMk id="14" creationId="{CCE01A7C-F595-4E50-BB04-9749B91695FB}"/>
          </ac:spMkLst>
        </pc:spChg>
        <pc:spChg chg="mod">
          <ac:chgData name="John Paserba" userId="77bd6c8a-d0c1-4fea-8705-0169f65d0c0e" providerId="ADAL" clId="{756F7B95-58D5-45C1-9E21-B0E68508464E}" dt="2025-07-17T22:08:22.761" v="1309" actId="255"/>
          <ac:spMkLst>
            <pc:docMk/>
            <pc:sldMk cId="609624571" sldId="2147471423"/>
            <ac:spMk id="19" creationId="{00000000-0000-0000-0000-000000000000}"/>
          </ac:spMkLst>
        </pc:spChg>
        <pc:graphicFrameChg chg="modGraphic">
          <ac:chgData name="John Paserba" userId="77bd6c8a-d0c1-4fea-8705-0169f65d0c0e" providerId="ADAL" clId="{756F7B95-58D5-45C1-9E21-B0E68508464E}" dt="2025-07-17T19:20:21.655" v="1187" actId="20577"/>
          <ac:graphicFrameMkLst>
            <pc:docMk/>
            <pc:sldMk cId="609624571" sldId="2147471423"/>
            <ac:graphicFrameMk id="11" creationId="{F3DED44F-C0EF-4935-A06B-3FC910885FD8}"/>
          </ac:graphicFrameMkLst>
        </pc:graphicFrameChg>
        <pc:graphicFrameChg chg="modGraphic">
          <ac:chgData name="John Paserba" userId="77bd6c8a-d0c1-4fea-8705-0169f65d0c0e" providerId="ADAL" clId="{756F7B95-58D5-45C1-9E21-B0E68508464E}" dt="2025-07-17T19:19:33.782" v="1181" actId="20577"/>
          <ac:graphicFrameMkLst>
            <pc:docMk/>
            <pc:sldMk cId="609624571" sldId="2147471423"/>
            <ac:graphicFrameMk id="23" creationId="{246D33A1-F41E-43A4-AAF9-44CABDCD04C2}"/>
          </ac:graphicFrameMkLst>
        </pc:graphicFrameChg>
        <pc:graphicFrameChg chg="mod">
          <ac:chgData name="John Paserba" userId="77bd6c8a-d0c1-4fea-8705-0169f65d0c0e" providerId="ADAL" clId="{756F7B95-58D5-45C1-9E21-B0E68508464E}" dt="2025-07-17T19:18:37.987" v="1173"/>
          <ac:graphicFrameMkLst>
            <pc:docMk/>
            <pc:sldMk cId="609624571" sldId="2147471423"/>
            <ac:graphicFrameMk id="24" creationId="{15813888-BDE7-483A-B111-3A6C5F25E35B}"/>
          </ac:graphicFrameMkLst>
        </pc:graphicFrameChg>
        <pc:picChg chg="add mod modCrop">
          <ac:chgData name="John Paserba" userId="77bd6c8a-d0c1-4fea-8705-0169f65d0c0e" providerId="ADAL" clId="{756F7B95-58D5-45C1-9E21-B0E68508464E}" dt="2025-07-17T19:24:37.955" v="1200" actId="1076"/>
          <ac:picMkLst>
            <pc:docMk/>
            <pc:sldMk cId="609624571" sldId="2147471423"/>
            <ac:picMk id="3" creationId="{80E35701-4FDE-4482-9A1F-1D462E93DA02}"/>
          </ac:picMkLst>
        </pc:picChg>
        <pc:picChg chg="add del mod">
          <ac:chgData name="John Paserba" userId="77bd6c8a-d0c1-4fea-8705-0169f65d0c0e" providerId="ADAL" clId="{756F7B95-58D5-45C1-9E21-B0E68508464E}" dt="2025-07-17T19:19:22.865" v="1175" actId="478"/>
          <ac:picMkLst>
            <pc:docMk/>
            <pc:sldMk cId="609624571" sldId="2147471423"/>
            <ac:picMk id="13" creationId="{DF85D527-8CD8-4672-ACDD-0DCDC0AEAD96}"/>
          </ac:picMkLst>
        </pc:picChg>
      </pc:sldChg>
      <pc:sldChg chg="del">
        <pc:chgData name="John Paserba" userId="77bd6c8a-d0c1-4fea-8705-0169f65d0c0e" providerId="ADAL" clId="{756F7B95-58D5-45C1-9E21-B0E68508464E}" dt="2025-07-17T14:35:23.352" v="1" actId="47"/>
        <pc:sldMkLst>
          <pc:docMk/>
          <pc:sldMk cId="591490453" sldId="2147471424"/>
        </pc:sldMkLst>
      </pc:sldChg>
      <pc:sldChg chg="del">
        <pc:chgData name="John Paserba" userId="77bd6c8a-d0c1-4fea-8705-0169f65d0c0e" providerId="ADAL" clId="{756F7B95-58D5-45C1-9E21-B0E68508464E}" dt="2025-07-17T14:35:09.945" v="0" actId="47"/>
        <pc:sldMkLst>
          <pc:docMk/>
          <pc:sldMk cId="4140170611" sldId="2147471425"/>
        </pc:sldMkLst>
      </pc:sldChg>
      <pc:sldChg chg="del">
        <pc:chgData name="John Paserba" userId="77bd6c8a-d0c1-4fea-8705-0169f65d0c0e" providerId="ADAL" clId="{756F7B95-58D5-45C1-9E21-B0E68508464E}" dt="2025-07-17T14:35:09.945" v="0" actId="47"/>
        <pc:sldMkLst>
          <pc:docMk/>
          <pc:sldMk cId="1427769353" sldId="2147471426"/>
        </pc:sldMkLst>
      </pc:sldChg>
      <pc:sldChg chg="del">
        <pc:chgData name="John Paserba" userId="77bd6c8a-d0c1-4fea-8705-0169f65d0c0e" providerId="ADAL" clId="{756F7B95-58D5-45C1-9E21-B0E68508464E}" dt="2025-07-17T14:35:09.945" v="0" actId="47"/>
        <pc:sldMkLst>
          <pc:docMk/>
          <pc:sldMk cId="2994458618" sldId="2147471429"/>
        </pc:sldMkLst>
      </pc:sldChg>
      <pc:sldChg chg="del">
        <pc:chgData name="John Paserba" userId="77bd6c8a-d0c1-4fea-8705-0169f65d0c0e" providerId="ADAL" clId="{756F7B95-58D5-45C1-9E21-B0E68508464E}" dt="2025-07-17T14:35:23.352" v="1" actId="47"/>
        <pc:sldMkLst>
          <pc:docMk/>
          <pc:sldMk cId="2682349257" sldId="2147471431"/>
        </pc:sldMkLst>
      </pc:sldChg>
      <pc:sldChg chg="del">
        <pc:chgData name="John Paserba" userId="77bd6c8a-d0c1-4fea-8705-0169f65d0c0e" providerId="ADAL" clId="{756F7B95-58D5-45C1-9E21-B0E68508464E}" dt="2025-07-17T14:35:23.352" v="1" actId="47"/>
        <pc:sldMkLst>
          <pc:docMk/>
          <pc:sldMk cId="2055567960" sldId="2147471432"/>
        </pc:sldMkLst>
      </pc:sldChg>
      <pc:sldChg chg="del">
        <pc:chgData name="John Paserba" userId="77bd6c8a-d0c1-4fea-8705-0169f65d0c0e" providerId="ADAL" clId="{756F7B95-58D5-45C1-9E21-B0E68508464E}" dt="2025-07-17T14:35:23.352" v="1" actId="47"/>
        <pc:sldMkLst>
          <pc:docMk/>
          <pc:sldMk cId="3744353635" sldId="2147471433"/>
        </pc:sldMkLst>
      </pc:sldChg>
      <pc:sldChg chg="del">
        <pc:chgData name="John Paserba" userId="77bd6c8a-d0c1-4fea-8705-0169f65d0c0e" providerId="ADAL" clId="{756F7B95-58D5-45C1-9E21-B0E68508464E}" dt="2025-07-17T14:35:09.945" v="0" actId="47"/>
        <pc:sldMkLst>
          <pc:docMk/>
          <pc:sldMk cId="3520118656" sldId="2147471467"/>
        </pc:sldMkLst>
      </pc:sldChg>
      <pc:sldChg chg="modSp mod">
        <pc:chgData name="John Paserba" userId="77bd6c8a-d0c1-4fea-8705-0169f65d0c0e" providerId="ADAL" clId="{756F7B95-58D5-45C1-9E21-B0E68508464E}" dt="2025-07-17T18:59:45.905" v="474" actId="207"/>
        <pc:sldMkLst>
          <pc:docMk/>
          <pc:sldMk cId="2579604733" sldId="2147471482"/>
        </pc:sldMkLst>
        <pc:spChg chg="mod">
          <ac:chgData name="John Paserba" userId="77bd6c8a-d0c1-4fea-8705-0169f65d0c0e" providerId="ADAL" clId="{756F7B95-58D5-45C1-9E21-B0E68508464E}" dt="2025-07-17T18:59:45.905" v="474" actId="207"/>
          <ac:spMkLst>
            <pc:docMk/>
            <pc:sldMk cId="2579604733" sldId="2147471482"/>
            <ac:spMk id="2" creationId="{24EFA49A-D6F0-94EB-2E4A-46AC510574DD}"/>
          </ac:spMkLst>
        </pc:spChg>
      </pc:sldChg>
      <pc:sldChg chg="modSp mod">
        <pc:chgData name="John Paserba" userId="77bd6c8a-d0c1-4fea-8705-0169f65d0c0e" providerId="ADAL" clId="{756F7B95-58D5-45C1-9E21-B0E68508464E}" dt="2025-07-17T18:28:45.787" v="458" actId="207"/>
        <pc:sldMkLst>
          <pc:docMk/>
          <pc:sldMk cId="738952954" sldId="2147471483"/>
        </pc:sldMkLst>
        <pc:spChg chg="mod">
          <ac:chgData name="John Paserba" userId="77bd6c8a-d0c1-4fea-8705-0169f65d0c0e" providerId="ADAL" clId="{756F7B95-58D5-45C1-9E21-B0E68508464E}" dt="2025-07-17T18:28:45.787" v="458" actId="207"/>
          <ac:spMkLst>
            <pc:docMk/>
            <pc:sldMk cId="738952954" sldId="2147471483"/>
            <ac:spMk id="2" creationId="{24EFA49A-D6F0-94EB-2E4A-46AC510574DD}"/>
          </ac:spMkLst>
        </pc:spChg>
      </pc:sldChg>
      <pc:sldChg chg="addSp delSp modSp mod">
        <pc:chgData name="John Paserba" userId="77bd6c8a-d0c1-4fea-8705-0169f65d0c0e" providerId="ADAL" clId="{756F7B95-58D5-45C1-9E21-B0E68508464E}" dt="2025-07-17T18:29:39.588" v="462" actId="478"/>
        <pc:sldMkLst>
          <pc:docMk/>
          <pc:sldMk cId="1243136271" sldId="2147471486"/>
        </pc:sldMkLst>
        <pc:spChg chg="del">
          <ac:chgData name="John Paserba" userId="77bd6c8a-d0c1-4fea-8705-0169f65d0c0e" providerId="ADAL" clId="{756F7B95-58D5-45C1-9E21-B0E68508464E}" dt="2025-07-17T18:29:39.588" v="462" actId="478"/>
          <ac:spMkLst>
            <pc:docMk/>
            <pc:sldMk cId="1243136271" sldId="2147471486"/>
            <ac:spMk id="7" creationId="{1B58256B-F867-49D5-A751-FB7D45CBB924}"/>
          </ac:spMkLst>
        </pc:spChg>
        <pc:spChg chg="add mod">
          <ac:chgData name="John Paserba" userId="77bd6c8a-d0c1-4fea-8705-0169f65d0c0e" providerId="ADAL" clId="{756F7B95-58D5-45C1-9E21-B0E68508464E}" dt="2025-07-17T18:29:36.944" v="461"/>
          <ac:spMkLst>
            <pc:docMk/>
            <pc:sldMk cId="1243136271" sldId="2147471486"/>
            <ac:spMk id="8" creationId="{AD52B5A8-7FCF-42B4-BA69-D46D5F502043}"/>
          </ac:spMkLst>
        </pc:spChg>
      </pc:sldChg>
      <pc:sldChg chg="del">
        <pc:chgData name="John Paserba" userId="77bd6c8a-d0c1-4fea-8705-0169f65d0c0e" providerId="ADAL" clId="{756F7B95-58D5-45C1-9E21-B0E68508464E}" dt="2025-07-17T14:35:09.945" v="0" actId="47"/>
        <pc:sldMkLst>
          <pc:docMk/>
          <pc:sldMk cId="777246713" sldId="2147471488"/>
        </pc:sldMkLst>
      </pc:sldChg>
      <pc:sldChg chg="del">
        <pc:chgData name="John Paserba" userId="77bd6c8a-d0c1-4fea-8705-0169f65d0c0e" providerId="ADAL" clId="{756F7B95-58D5-45C1-9E21-B0E68508464E}" dt="2025-07-17T14:35:09.945" v="0" actId="47"/>
        <pc:sldMkLst>
          <pc:docMk/>
          <pc:sldMk cId="190898153" sldId="2147471496"/>
        </pc:sldMkLst>
      </pc:sldChg>
      <pc:sldChg chg="modSp mod">
        <pc:chgData name="John Paserba" userId="77bd6c8a-d0c1-4fea-8705-0169f65d0c0e" providerId="ADAL" clId="{756F7B95-58D5-45C1-9E21-B0E68508464E}" dt="2025-07-17T18:28:46.921" v="460" actId="207"/>
        <pc:sldMkLst>
          <pc:docMk/>
          <pc:sldMk cId="626359095" sldId="2147471497"/>
        </pc:sldMkLst>
        <pc:spChg chg="mod">
          <ac:chgData name="John Paserba" userId="77bd6c8a-d0c1-4fea-8705-0169f65d0c0e" providerId="ADAL" clId="{756F7B95-58D5-45C1-9E21-B0E68508464E}" dt="2025-07-17T18:28:46.921" v="460" actId="207"/>
          <ac:spMkLst>
            <pc:docMk/>
            <pc:sldMk cId="626359095" sldId="2147471497"/>
            <ac:spMk id="2" creationId="{24EFA49A-D6F0-94EB-2E4A-46AC510574DD}"/>
          </ac:spMkLst>
        </pc:spChg>
      </pc:sldChg>
      <pc:sldChg chg="addSp modSp mod">
        <pc:chgData name="John Paserba" userId="77bd6c8a-d0c1-4fea-8705-0169f65d0c0e" providerId="ADAL" clId="{756F7B95-58D5-45C1-9E21-B0E68508464E}" dt="2025-07-17T16:29:07.667" v="248" actId="14100"/>
        <pc:sldMkLst>
          <pc:docMk/>
          <pc:sldMk cId="1348948237" sldId="2147471498"/>
        </pc:sldMkLst>
        <pc:spChg chg="add mod">
          <ac:chgData name="John Paserba" userId="77bd6c8a-d0c1-4fea-8705-0169f65d0c0e" providerId="ADAL" clId="{756F7B95-58D5-45C1-9E21-B0E68508464E}" dt="2025-07-17T16:29:07.667" v="248" actId="14100"/>
          <ac:spMkLst>
            <pc:docMk/>
            <pc:sldMk cId="1348948237" sldId="2147471498"/>
            <ac:spMk id="9" creationId="{746841E0-C9E4-42D6-A487-C9455441919E}"/>
          </ac:spMkLst>
        </pc:spChg>
      </pc:sldChg>
      <pc:sldChg chg="addSp modSp mod">
        <pc:chgData name="John Paserba" userId="77bd6c8a-d0c1-4fea-8705-0169f65d0c0e" providerId="ADAL" clId="{756F7B95-58D5-45C1-9E21-B0E68508464E}" dt="2025-07-17T16:30:46.790" v="355" actId="14100"/>
        <pc:sldMkLst>
          <pc:docMk/>
          <pc:sldMk cId="1509309180" sldId="2147471499"/>
        </pc:sldMkLst>
        <pc:spChg chg="add mod">
          <ac:chgData name="John Paserba" userId="77bd6c8a-d0c1-4fea-8705-0169f65d0c0e" providerId="ADAL" clId="{756F7B95-58D5-45C1-9E21-B0E68508464E}" dt="2025-07-17T16:30:46.790" v="355" actId="14100"/>
          <ac:spMkLst>
            <pc:docMk/>
            <pc:sldMk cId="1509309180" sldId="2147471499"/>
            <ac:spMk id="6" creationId="{88C41A27-2417-44FD-AF16-9D64EF2CBD0E}"/>
          </ac:spMkLst>
        </pc:spChg>
      </pc:sldChg>
      <pc:sldChg chg="del">
        <pc:chgData name="John Paserba" userId="77bd6c8a-d0c1-4fea-8705-0169f65d0c0e" providerId="ADAL" clId="{756F7B95-58D5-45C1-9E21-B0E68508464E}" dt="2025-07-17T14:35:09.945" v="0" actId="47"/>
        <pc:sldMkLst>
          <pc:docMk/>
          <pc:sldMk cId="3578346428" sldId="2147471500"/>
        </pc:sldMkLst>
      </pc:sldChg>
      <pc:sldChg chg="addSp delSp modSp mod">
        <pc:chgData name="John Paserba" userId="77bd6c8a-d0c1-4fea-8705-0169f65d0c0e" providerId="ADAL" clId="{756F7B95-58D5-45C1-9E21-B0E68508464E}" dt="2025-07-17T18:29:44.590" v="464" actId="478"/>
        <pc:sldMkLst>
          <pc:docMk/>
          <pc:sldMk cId="17225138" sldId="2147471503"/>
        </pc:sldMkLst>
        <pc:spChg chg="del">
          <ac:chgData name="John Paserba" userId="77bd6c8a-d0c1-4fea-8705-0169f65d0c0e" providerId="ADAL" clId="{756F7B95-58D5-45C1-9E21-B0E68508464E}" dt="2025-07-17T18:29:44.590" v="464" actId="478"/>
          <ac:spMkLst>
            <pc:docMk/>
            <pc:sldMk cId="17225138" sldId="2147471503"/>
            <ac:spMk id="13" creationId="{03CE8B23-4684-4D2D-B66B-9A5E65437079}"/>
          </ac:spMkLst>
        </pc:spChg>
        <pc:spChg chg="add mod">
          <ac:chgData name="John Paserba" userId="77bd6c8a-d0c1-4fea-8705-0169f65d0c0e" providerId="ADAL" clId="{756F7B95-58D5-45C1-9E21-B0E68508464E}" dt="2025-07-17T18:29:41.794" v="463"/>
          <ac:spMkLst>
            <pc:docMk/>
            <pc:sldMk cId="17225138" sldId="2147471503"/>
            <ac:spMk id="14" creationId="{B6D1AECA-42B0-4026-9B91-FCC18D24D559}"/>
          </ac:spMkLst>
        </pc:spChg>
      </pc:sldChg>
      <pc:sldChg chg="del">
        <pc:chgData name="John Paserba" userId="77bd6c8a-d0c1-4fea-8705-0169f65d0c0e" providerId="ADAL" clId="{756F7B95-58D5-45C1-9E21-B0E68508464E}" dt="2025-07-17T14:35:09.945" v="0" actId="47"/>
        <pc:sldMkLst>
          <pc:docMk/>
          <pc:sldMk cId="2010013416" sldId="2147471506"/>
        </pc:sldMkLst>
      </pc:sldChg>
      <pc:sldChg chg="del">
        <pc:chgData name="John Paserba" userId="77bd6c8a-d0c1-4fea-8705-0169f65d0c0e" providerId="ADAL" clId="{756F7B95-58D5-45C1-9E21-B0E68508464E}" dt="2025-07-17T14:35:09.945" v="0" actId="47"/>
        <pc:sldMkLst>
          <pc:docMk/>
          <pc:sldMk cId="1780269051" sldId="2147471509"/>
        </pc:sldMkLst>
      </pc:sldChg>
      <pc:sldChg chg="del">
        <pc:chgData name="John Paserba" userId="77bd6c8a-d0c1-4fea-8705-0169f65d0c0e" providerId="ADAL" clId="{756F7B95-58D5-45C1-9E21-B0E68508464E}" dt="2025-07-17T14:35:09.945" v="0" actId="47"/>
        <pc:sldMkLst>
          <pc:docMk/>
          <pc:sldMk cId="2231163395" sldId="2147471510"/>
        </pc:sldMkLst>
      </pc:sldChg>
      <pc:sldChg chg="del">
        <pc:chgData name="John Paserba" userId="77bd6c8a-d0c1-4fea-8705-0169f65d0c0e" providerId="ADAL" clId="{756F7B95-58D5-45C1-9E21-B0E68508464E}" dt="2025-07-17T14:35:09.945" v="0" actId="47"/>
        <pc:sldMkLst>
          <pc:docMk/>
          <pc:sldMk cId="3003417310" sldId="2147471511"/>
        </pc:sldMkLst>
      </pc:sldChg>
      <pc:sldChg chg="del">
        <pc:chgData name="John Paserba" userId="77bd6c8a-d0c1-4fea-8705-0169f65d0c0e" providerId="ADAL" clId="{756F7B95-58D5-45C1-9E21-B0E68508464E}" dt="2025-07-17T14:35:09.945" v="0" actId="47"/>
        <pc:sldMkLst>
          <pc:docMk/>
          <pc:sldMk cId="3820929825" sldId="2147471516"/>
        </pc:sldMkLst>
      </pc:sldChg>
      <pc:sldChg chg="del">
        <pc:chgData name="John Paserba" userId="77bd6c8a-d0c1-4fea-8705-0169f65d0c0e" providerId="ADAL" clId="{756F7B95-58D5-45C1-9E21-B0E68508464E}" dt="2025-07-17T14:35:09.945" v="0" actId="47"/>
        <pc:sldMkLst>
          <pc:docMk/>
          <pc:sldMk cId="1134693933" sldId="2147471517"/>
        </pc:sldMkLst>
      </pc:sldChg>
      <pc:sldChg chg="del">
        <pc:chgData name="John Paserba" userId="77bd6c8a-d0c1-4fea-8705-0169f65d0c0e" providerId="ADAL" clId="{756F7B95-58D5-45C1-9E21-B0E68508464E}" dt="2025-07-17T14:35:09.945" v="0" actId="47"/>
        <pc:sldMkLst>
          <pc:docMk/>
          <pc:sldMk cId="2101646990" sldId="2147471531"/>
        </pc:sldMkLst>
      </pc:sldChg>
      <pc:sldChg chg="del">
        <pc:chgData name="John Paserba" userId="77bd6c8a-d0c1-4fea-8705-0169f65d0c0e" providerId="ADAL" clId="{756F7B95-58D5-45C1-9E21-B0E68508464E}" dt="2025-07-17T14:35:09.945" v="0" actId="47"/>
        <pc:sldMkLst>
          <pc:docMk/>
          <pc:sldMk cId="2607821654" sldId="2147471533"/>
        </pc:sldMkLst>
      </pc:sldChg>
      <pc:sldChg chg="del">
        <pc:chgData name="John Paserba" userId="77bd6c8a-d0c1-4fea-8705-0169f65d0c0e" providerId="ADAL" clId="{756F7B95-58D5-45C1-9E21-B0E68508464E}" dt="2025-07-17T14:35:09.945" v="0" actId="47"/>
        <pc:sldMkLst>
          <pc:docMk/>
          <pc:sldMk cId="2601545666" sldId="2147471538"/>
        </pc:sldMkLst>
      </pc:sldChg>
      <pc:sldChg chg="del">
        <pc:chgData name="John Paserba" userId="77bd6c8a-d0c1-4fea-8705-0169f65d0c0e" providerId="ADAL" clId="{756F7B95-58D5-45C1-9E21-B0E68508464E}" dt="2025-07-17T14:35:09.945" v="0" actId="47"/>
        <pc:sldMkLst>
          <pc:docMk/>
          <pc:sldMk cId="2433923164" sldId="2147471541"/>
        </pc:sldMkLst>
      </pc:sldChg>
      <pc:sldChg chg="del">
        <pc:chgData name="John Paserba" userId="77bd6c8a-d0c1-4fea-8705-0169f65d0c0e" providerId="ADAL" clId="{756F7B95-58D5-45C1-9E21-B0E68508464E}" dt="2025-07-17T14:35:09.945" v="0" actId="47"/>
        <pc:sldMkLst>
          <pc:docMk/>
          <pc:sldMk cId="3877088907" sldId="2147471542"/>
        </pc:sldMkLst>
      </pc:sldChg>
      <pc:sldChg chg="del">
        <pc:chgData name="John Paserba" userId="77bd6c8a-d0c1-4fea-8705-0169f65d0c0e" providerId="ADAL" clId="{756F7B95-58D5-45C1-9E21-B0E68508464E}" dt="2025-07-17T14:35:09.945" v="0" actId="47"/>
        <pc:sldMkLst>
          <pc:docMk/>
          <pc:sldMk cId="1528537165" sldId="2147471545"/>
        </pc:sldMkLst>
      </pc:sldChg>
      <pc:sldChg chg="addSp modSp mod">
        <pc:chgData name="John Paserba" userId="77bd6c8a-d0c1-4fea-8705-0169f65d0c0e" providerId="ADAL" clId="{756F7B95-58D5-45C1-9E21-B0E68508464E}" dt="2025-07-17T16:32:03.880" v="436" actId="14100"/>
        <pc:sldMkLst>
          <pc:docMk/>
          <pc:sldMk cId="2748499433" sldId="2147471546"/>
        </pc:sldMkLst>
        <pc:spChg chg="add mod">
          <ac:chgData name="John Paserba" userId="77bd6c8a-d0c1-4fea-8705-0169f65d0c0e" providerId="ADAL" clId="{756F7B95-58D5-45C1-9E21-B0E68508464E}" dt="2025-07-17T16:32:03.880" v="436" actId="14100"/>
          <ac:spMkLst>
            <pc:docMk/>
            <pc:sldMk cId="2748499433" sldId="2147471546"/>
            <ac:spMk id="7" creationId="{B7756D67-442D-4CBC-863F-F2C7C693DB1A}"/>
          </ac:spMkLst>
        </pc:spChg>
      </pc:sldChg>
      <pc:sldChg chg="del">
        <pc:chgData name="John Paserba" userId="77bd6c8a-d0c1-4fea-8705-0169f65d0c0e" providerId="ADAL" clId="{756F7B95-58D5-45C1-9E21-B0E68508464E}" dt="2025-07-17T14:35:23.352" v="1" actId="47"/>
        <pc:sldMkLst>
          <pc:docMk/>
          <pc:sldMk cId="2692168719" sldId="2147471548"/>
        </pc:sldMkLst>
      </pc:sldChg>
      <pc:sldChg chg="del">
        <pc:chgData name="John Paserba" userId="77bd6c8a-d0c1-4fea-8705-0169f65d0c0e" providerId="ADAL" clId="{756F7B95-58D5-45C1-9E21-B0E68508464E}" dt="2025-07-17T14:35:23.352" v="1" actId="47"/>
        <pc:sldMkLst>
          <pc:docMk/>
          <pc:sldMk cId="2606923427" sldId="2147471549"/>
        </pc:sldMkLst>
      </pc:sldChg>
      <pc:sldChg chg="del">
        <pc:chgData name="John Paserba" userId="77bd6c8a-d0c1-4fea-8705-0169f65d0c0e" providerId="ADAL" clId="{756F7B95-58D5-45C1-9E21-B0E68508464E}" dt="2025-07-17T14:35:23.352" v="1" actId="47"/>
        <pc:sldMkLst>
          <pc:docMk/>
          <pc:sldMk cId="2976226202" sldId="2147471550"/>
        </pc:sldMkLst>
      </pc:sldChg>
      <pc:sldChg chg="del">
        <pc:chgData name="John Paserba" userId="77bd6c8a-d0c1-4fea-8705-0169f65d0c0e" providerId="ADAL" clId="{756F7B95-58D5-45C1-9E21-B0E68508464E}" dt="2025-07-17T14:35:09.945" v="0" actId="47"/>
        <pc:sldMkLst>
          <pc:docMk/>
          <pc:sldMk cId="3823917263" sldId="2147471561"/>
        </pc:sldMkLst>
      </pc:sldChg>
      <pc:sldChg chg="del">
        <pc:chgData name="John Paserba" userId="77bd6c8a-d0c1-4fea-8705-0169f65d0c0e" providerId="ADAL" clId="{756F7B95-58D5-45C1-9E21-B0E68508464E}" dt="2025-07-17T14:35:09.945" v="0" actId="47"/>
        <pc:sldMkLst>
          <pc:docMk/>
          <pc:sldMk cId="599989515" sldId="2147471562"/>
        </pc:sldMkLst>
      </pc:sldChg>
      <pc:sldChg chg="del">
        <pc:chgData name="John Paserba" userId="77bd6c8a-d0c1-4fea-8705-0169f65d0c0e" providerId="ADAL" clId="{756F7B95-58D5-45C1-9E21-B0E68508464E}" dt="2025-07-17T14:35:09.945" v="0" actId="47"/>
        <pc:sldMkLst>
          <pc:docMk/>
          <pc:sldMk cId="1930684240" sldId="2147471563"/>
        </pc:sldMkLst>
      </pc:sldChg>
      <pc:sldChg chg="del">
        <pc:chgData name="John Paserba" userId="77bd6c8a-d0c1-4fea-8705-0169f65d0c0e" providerId="ADAL" clId="{756F7B95-58D5-45C1-9E21-B0E68508464E}" dt="2025-07-17T14:35:09.945" v="0" actId="47"/>
        <pc:sldMkLst>
          <pc:docMk/>
          <pc:sldMk cId="3848360745" sldId="2147471564"/>
        </pc:sldMkLst>
      </pc:sldChg>
      <pc:sldChg chg="del">
        <pc:chgData name="John Paserba" userId="77bd6c8a-d0c1-4fea-8705-0169f65d0c0e" providerId="ADAL" clId="{756F7B95-58D5-45C1-9E21-B0E68508464E}" dt="2025-07-17T14:35:09.945" v="0" actId="47"/>
        <pc:sldMkLst>
          <pc:docMk/>
          <pc:sldMk cId="3459218475" sldId="2147471566"/>
        </pc:sldMkLst>
      </pc:sldChg>
      <pc:sldChg chg="del">
        <pc:chgData name="John Paserba" userId="77bd6c8a-d0c1-4fea-8705-0169f65d0c0e" providerId="ADAL" clId="{756F7B95-58D5-45C1-9E21-B0E68508464E}" dt="2025-07-17T14:35:09.945" v="0" actId="47"/>
        <pc:sldMkLst>
          <pc:docMk/>
          <pc:sldMk cId="3241094630" sldId="2147471567"/>
        </pc:sldMkLst>
      </pc:sldChg>
      <pc:sldChg chg="del">
        <pc:chgData name="John Paserba" userId="77bd6c8a-d0c1-4fea-8705-0169f65d0c0e" providerId="ADAL" clId="{756F7B95-58D5-45C1-9E21-B0E68508464E}" dt="2025-07-17T14:35:09.945" v="0" actId="47"/>
        <pc:sldMkLst>
          <pc:docMk/>
          <pc:sldMk cId="225414114" sldId="2147471571"/>
        </pc:sldMkLst>
      </pc:sldChg>
      <pc:sldChg chg="del">
        <pc:chgData name="John Paserba" userId="77bd6c8a-d0c1-4fea-8705-0169f65d0c0e" providerId="ADAL" clId="{756F7B95-58D5-45C1-9E21-B0E68508464E}" dt="2025-07-17T14:35:09.945" v="0" actId="47"/>
        <pc:sldMkLst>
          <pc:docMk/>
          <pc:sldMk cId="1850612918" sldId="2147471573"/>
        </pc:sldMkLst>
      </pc:sldChg>
      <pc:sldChg chg="del">
        <pc:chgData name="John Paserba" userId="77bd6c8a-d0c1-4fea-8705-0169f65d0c0e" providerId="ADAL" clId="{756F7B95-58D5-45C1-9E21-B0E68508464E}" dt="2025-07-17T14:35:09.945" v="0" actId="47"/>
        <pc:sldMkLst>
          <pc:docMk/>
          <pc:sldMk cId="649508728" sldId="2147471574"/>
        </pc:sldMkLst>
      </pc:sldChg>
      <pc:sldChg chg="del">
        <pc:chgData name="John Paserba" userId="77bd6c8a-d0c1-4fea-8705-0169f65d0c0e" providerId="ADAL" clId="{756F7B95-58D5-45C1-9E21-B0E68508464E}" dt="2025-07-17T14:35:09.945" v="0" actId="47"/>
        <pc:sldMkLst>
          <pc:docMk/>
          <pc:sldMk cId="2546989764" sldId="2147471575"/>
        </pc:sldMkLst>
      </pc:sldChg>
      <pc:sldChg chg="del">
        <pc:chgData name="John Paserba" userId="77bd6c8a-d0c1-4fea-8705-0169f65d0c0e" providerId="ADAL" clId="{756F7B95-58D5-45C1-9E21-B0E68508464E}" dt="2025-07-17T14:35:09.945" v="0" actId="47"/>
        <pc:sldMkLst>
          <pc:docMk/>
          <pc:sldMk cId="1095522058" sldId="2147471576"/>
        </pc:sldMkLst>
      </pc:sldChg>
      <pc:sldChg chg="del">
        <pc:chgData name="John Paserba" userId="77bd6c8a-d0c1-4fea-8705-0169f65d0c0e" providerId="ADAL" clId="{756F7B95-58D5-45C1-9E21-B0E68508464E}" dt="2025-07-17T14:35:09.945" v="0" actId="47"/>
        <pc:sldMkLst>
          <pc:docMk/>
          <pc:sldMk cId="1338355350" sldId="2147471577"/>
        </pc:sldMkLst>
      </pc:sldChg>
      <pc:sldChg chg="del">
        <pc:chgData name="John Paserba" userId="77bd6c8a-d0c1-4fea-8705-0169f65d0c0e" providerId="ADAL" clId="{756F7B95-58D5-45C1-9E21-B0E68508464E}" dt="2025-07-17T14:35:09.945" v="0" actId="47"/>
        <pc:sldMkLst>
          <pc:docMk/>
          <pc:sldMk cId="363196986" sldId="2147471578"/>
        </pc:sldMkLst>
      </pc:sldChg>
      <pc:sldChg chg="del">
        <pc:chgData name="John Paserba" userId="77bd6c8a-d0c1-4fea-8705-0169f65d0c0e" providerId="ADAL" clId="{756F7B95-58D5-45C1-9E21-B0E68508464E}" dt="2025-07-17T14:35:09.945" v="0" actId="47"/>
        <pc:sldMkLst>
          <pc:docMk/>
          <pc:sldMk cId="471544151" sldId="2147471579"/>
        </pc:sldMkLst>
      </pc:sldChg>
      <pc:sldChg chg="del">
        <pc:chgData name="John Paserba" userId="77bd6c8a-d0c1-4fea-8705-0169f65d0c0e" providerId="ADAL" clId="{756F7B95-58D5-45C1-9E21-B0E68508464E}" dt="2025-07-17T14:35:09.945" v="0" actId="47"/>
        <pc:sldMkLst>
          <pc:docMk/>
          <pc:sldMk cId="1394849283" sldId="2147471580"/>
        </pc:sldMkLst>
      </pc:sldChg>
      <pc:sldChg chg="del">
        <pc:chgData name="John Paserba" userId="77bd6c8a-d0c1-4fea-8705-0169f65d0c0e" providerId="ADAL" clId="{756F7B95-58D5-45C1-9E21-B0E68508464E}" dt="2025-07-17T14:35:09.945" v="0" actId="47"/>
        <pc:sldMkLst>
          <pc:docMk/>
          <pc:sldMk cId="3997758254" sldId="2147471581"/>
        </pc:sldMkLst>
      </pc:sldChg>
      <pc:sldChg chg="del">
        <pc:chgData name="John Paserba" userId="77bd6c8a-d0c1-4fea-8705-0169f65d0c0e" providerId="ADAL" clId="{756F7B95-58D5-45C1-9E21-B0E68508464E}" dt="2025-07-17T14:35:09.945" v="0" actId="47"/>
        <pc:sldMkLst>
          <pc:docMk/>
          <pc:sldMk cId="686154714" sldId="2147471584"/>
        </pc:sldMkLst>
      </pc:sldChg>
      <pc:sldChg chg="del">
        <pc:chgData name="John Paserba" userId="77bd6c8a-d0c1-4fea-8705-0169f65d0c0e" providerId="ADAL" clId="{756F7B95-58D5-45C1-9E21-B0E68508464E}" dt="2025-07-17T14:35:09.945" v="0" actId="47"/>
        <pc:sldMkLst>
          <pc:docMk/>
          <pc:sldMk cId="3308868071" sldId="2147471585"/>
        </pc:sldMkLst>
      </pc:sldChg>
      <pc:sldChg chg="del">
        <pc:chgData name="John Paserba" userId="77bd6c8a-d0c1-4fea-8705-0169f65d0c0e" providerId="ADAL" clId="{756F7B95-58D5-45C1-9E21-B0E68508464E}" dt="2025-07-17T14:35:09.945" v="0" actId="47"/>
        <pc:sldMkLst>
          <pc:docMk/>
          <pc:sldMk cId="2807248214" sldId="2147471586"/>
        </pc:sldMkLst>
      </pc:sldChg>
      <pc:sldChg chg="del">
        <pc:chgData name="John Paserba" userId="77bd6c8a-d0c1-4fea-8705-0169f65d0c0e" providerId="ADAL" clId="{756F7B95-58D5-45C1-9E21-B0E68508464E}" dt="2025-07-17T14:35:09.945" v="0" actId="47"/>
        <pc:sldMkLst>
          <pc:docMk/>
          <pc:sldMk cId="1630224689" sldId="2147471587"/>
        </pc:sldMkLst>
      </pc:sldChg>
      <pc:sldChg chg="del">
        <pc:chgData name="John Paserba" userId="77bd6c8a-d0c1-4fea-8705-0169f65d0c0e" providerId="ADAL" clId="{756F7B95-58D5-45C1-9E21-B0E68508464E}" dt="2025-07-17T14:35:09.945" v="0" actId="47"/>
        <pc:sldMkLst>
          <pc:docMk/>
          <pc:sldMk cId="3831343774" sldId="2147471590"/>
        </pc:sldMkLst>
      </pc:sldChg>
      <pc:sldChg chg="del">
        <pc:chgData name="John Paserba" userId="77bd6c8a-d0c1-4fea-8705-0169f65d0c0e" providerId="ADAL" clId="{756F7B95-58D5-45C1-9E21-B0E68508464E}" dt="2025-07-17T14:35:09.945" v="0" actId="47"/>
        <pc:sldMkLst>
          <pc:docMk/>
          <pc:sldMk cId="3886136744" sldId="2147471591"/>
        </pc:sldMkLst>
      </pc:sldChg>
      <pc:sldChg chg="del">
        <pc:chgData name="John Paserba" userId="77bd6c8a-d0c1-4fea-8705-0169f65d0c0e" providerId="ADAL" clId="{756F7B95-58D5-45C1-9E21-B0E68508464E}" dt="2025-07-17T14:35:09.945" v="0" actId="47"/>
        <pc:sldMkLst>
          <pc:docMk/>
          <pc:sldMk cId="4066292765" sldId="2147471593"/>
        </pc:sldMkLst>
      </pc:sldChg>
      <pc:sldChg chg="del">
        <pc:chgData name="John Paserba" userId="77bd6c8a-d0c1-4fea-8705-0169f65d0c0e" providerId="ADAL" clId="{756F7B95-58D5-45C1-9E21-B0E68508464E}" dt="2025-07-17T14:35:09.945" v="0" actId="47"/>
        <pc:sldMkLst>
          <pc:docMk/>
          <pc:sldMk cId="690595499" sldId="2147471597"/>
        </pc:sldMkLst>
      </pc:sldChg>
      <pc:sldChg chg="del">
        <pc:chgData name="John Paserba" userId="77bd6c8a-d0c1-4fea-8705-0169f65d0c0e" providerId="ADAL" clId="{756F7B95-58D5-45C1-9E21-B0E68508464E}" dt="2025-07-17T14:35:09.945" v="0" actId="47"/>
        <pc:sldMkLst>
          <pc:docMk/>
          <pc:sldMk cId="269872277" sldId="2147471598"/>
        </pc:sldMkLst>
      </pc:sldChg>
      <pc:sldChg chg="del">
        <pc:chgData name="John Paserba" userId="77bd6c8a-d0c1-4fea-8705-0169f65d0c0e" providerId="ADAL" clId="{756F7B95-58D5-45C1-9E21-B0E68508464E}" dt="2025-07-17T14:35:09.945" v="0" actId="47"/>
        <pc:sldMkLst>
          <pc:docMk/>
          <pc:sldMk cId="1429609541" sldId="2147471599"/>
        </pc:sldMkLst>
      </pc:sldChg>
      <pc:sldChg chg="modSp mod">
        <pc:chgData name="John Paserba" userId="77bd6c8a-d0c1-4fea-8705-0169f65d0c0e" providerId="ADAL" clId="{756F7B95-58D5-45C1-9E21-B0E68508464E}" dt="2025-07-17T16:34:59.218" v="445"/>
        <pc:sldMkLst>
          <pc:docMk/>
          <pc:sldMk cId="282443214" sldId="2147471600"/>
        </pc:sldMkLst>
        <pc:spChg chg="mod">
          <ac:chgData name="John Paserba" userId="77bd6c8a-d0c1-4fea-8705-0169f65d0c0e" providerId="ADAL" clId="{756F7B95-58D5-45C1-9E21-B0E68508464E}" dt="2025-07-17T16:34:59.218" v="445"/>
          <ac:spMkLst>
            <pc:docMk/>
            <pc:sldMk cId="282443214" sldId="2147471600"/>
            <ac:spMk id="3328002" creationId="{00000000-0000-0000-0000-000000000000}"/>
          </ac:spMkLst>
        </pc:spChg>
      </pc:sldChg>
      <pc:sldChg chg="del">
        <pc:chgData name="John Paserba" userId="77bd6c8a-d0c1-4fea-8705-0169f65d0c0e" providerId="ADAL" clId="{756F7B95-58D5-45C1-9E21-B0E68508464E}" dt="2025-07-17T14:35:09.945" v="0" actId="47"/>
        <pc:sldMkLst>
          <pc:docMk/>
          <pc:sldMk cId="2218924476" sldId="2147471602"/>
        </pc:sldMkLst>
      </pc:sldChg>
      <pc:sldChg chg="del">
        <pc:chgData name="John Paserba" userId="77bd6c8a-d0c1-4fea-8705-0169f65d0c0e" providerId="ADAL" clId="{756F7B95-58D5-45C1-9E21-B0E68508464E}" dt="2025-07-17T14:35:09.945" v="0" actId="47"/>
        <pc:sldMkLst>
          <pc:docMk/>
          <pc:sldMk cId="19358584" sldId="2147471603"/>
        </pc:sldMkLst>
      </pc:sldChg>
      <pc:sldChg chg="del">
        <pc:chgData name="John Paserba" userId="77bd6c8a-d0c1-4fea-8705-0169f65d0c0e" providerId="ADAL" clId="{756F7B95-58D5-45C1-9E21-B0E68508464E}" dt="2025-07-17T14:35:09.945" v="0" actId="47"/>
        <pc:sldMkLst>
          <pc:docMk/>
          <pc:sldMk cId="1261426958" sldId="2147471604"/>
        </pc:sldMkLst>
      </pc:sldChg>
      <pc:sldChg chg="del">
        <pc:chgData name="John Paserba" userId="77bd6c8a-d0c1-4fea-8705-0169f65d0c0e" providerId="ADAL" clId="{756F7B95-58D5-45C1-9E21-B0E68508464E}" dt="2025-07-17T14:35:09.945" v="0" actId="47"/>
        <pc:sldMkLst>
          <pc:docMk/>
          <pc:sldMk cId="3519490064" sldId="2147471605"/>
        </pc:sldMkLst>
      </pc:sldChg>
      <pc:sldChg chg="del">
        <pc:chgData name="John Paserba" userId="77bd6c8a-d0c1-4fea-8705-0169f65d0c0e" providerId="ADAL" clId="{756F7B95-58D5-45C1-9E21-B0E68508464E}" dt="2025-07-17T14:35:09.945" v="0" actId="47"/>
        <pc:sldMkLst>
          <pc:docMk/>
          <pc:sldMk cId="2194695294" sldId="2147471606"/>
        </pc:sldMkLst>
      </pc:sldChg>
      <pc:sldChg chg="del">
        <pc:chgData name="John Paserba" userId="77bd6c8a-d0c1-4fea-8705-0169f65d0c0e" providerId="ADAL" clId="{756F7B95-58D5-45C1-9E21-B0E68508464E}" dt="2025-07-17T14:35:09.945" v="0" actId="47"/>
        <pc:sldMkLst>
          <pc:docMk/>
          <pc:sldMk cId="4046313635" sldId="2147471607"/>
        </pc:sldMkLst>
      </pc:sldChg>
      <pc:sldChg chg="del">
        <pc:chgData name="John Paserba" userId="77bd6c8a-d0c1-4fea-8705-0169f65d0c0e" providerId="ADAL" clId="{756F7B95-58D5-45C1-9E21-B0E68508464E}" dt="2025-07-17T14:35:09.945" v="0" actId="47"/>
        <pc:sldMkLst>
          <pc:docMk/>
          <pc:sldMk cId="976164263" sldId="2147471608"/>
        </pc:sldMkLst>
      </pc:sldChg>
      <pc:sldChg chg="modSp mod">
        <pc:chgData name="John Paserba" userId="77bd6c8a-d0c1-4fea-8705-0169f65d0c0e" providerId="ADAL" clId="{756F7B95-58D5-45C1-9E21-B0E68508464E}" dt="2025-07-17T18:28:46.260" v="459" actId="207"/>
        <pc:sldMkLst>
          <pc:docMk/>
          <pc:sldMk cId="3752514244" sldId="2147471613"/>
        </pc:sldMkLst>
        <pc:spChg chg="mod">
          <ac:chgData name="John Paserba" userId="77bd6c8a-d0c1-4fea-8705-0169f65d0c0e" providerId="ADAL" clId="{756F7B95-58D5-45C1-9E21-B0E68508464E}" dt="2025-07-17T18:28:46.260" v="459" actId="207"/>
          <ac:spMkLst>
            <pc:docMk/>
            <pc:sldMk cId="3752514244" sldId="2147471613"/>
            <ac:spMk id="2" creationId="{24EFA49A-D6F0-94EB-2E4A-46AC510574DD}"/>
          </ac:spMkLst>
        </pc:spChg>
      </pc:sldChg>
      <pc:sldChg chg="addSp delSp modSp mod">
        <pc:chgData name="John Paserba" userId="77bd6c8a-d0c1-4fea-8705-0169f65d0c0e" providerId="ADAL" clId="{756F7B95-58D5-45C1-9E21-B0E68508464E}" dt="2025-07-17T19:20:06.975" v="1183" actId="27918"/>
        <pc:sldMkLst>
          <pc:docMk/>
          <pc:sldMk cId="3681720179" sldId="2147471622"/>
        </pc:sldMkLst>
        <pc:spChg chg="mod">
          <ac:chgData name="John Paserba" userId="77bd6c8a-d0c1-4fea-8705-0169f65d0c0e" providerId="ADAL" clId="{756F7B95-58D5-45C1-9E21-B0E68508464E}" dt="2025-07-17T19:12:24.770" v="754" actId="1076"/>
          <ac:spMkLst>
            <pc:docMk/>
            <pc:sldMk cId="3681720179" sldId="2147471622"/>
            <ac:spMk id="8" creationId="{00000000-0000-0000-0000-000000000000}"/>
          </ac:spMkLst>
        </pc:spChg>
        <pc:spChg chg="del">
          <ac:chgData name="John Paserba" userId="77bd6c8a-d0c1-4fea-8705-0169f65d0c0e" providerId="ADAL" clId="{756F7B95-58D5-45C1-9E21-B0E68508464E}" dt="2025-07-17T19:01:19.053" v="493" actId="478"/>
          <ac:spMkLst>
            <pc:docMk/>
            <pc:sldMk cId="3681720179" sldId="2147471622"/>
            <ac:spMk id="16" creationId="{71521C5D-511C-4ACD-853E-AD96302FEE29}"/>
          </ac:spMkLst>
        </pc:spChg>
        <pc:spChg chg="del">
          <ac:chgData name="John Paserba" userId="77bd6c8a-d0c1-4fea-8705-0169f65d0c0e" providerId="ADAL" clId="{756F7B95-58D5-45C1-9E21-B0E68508464E}" dt="2025-07-17T19:00:23.354" v="482" actId="478"/>
          <ac:spMkLst>
            <pc:docMk/>
            <pc:sldMk cId="3681720179" sldId="2147471622"/>
            <ac:spMk id="17" creationId="{C3610DB0-C718-46D2-B172-0C6A26A9D018}"/>
          </ac:spMkLst>
        </pc:spChg>
        <pc:spChg chg="mod">
          <ac:chgData name="John Paserba" userId="77bd6c8a-d0c1-4fea-8705-0169f65d0c0e" providerId="ADAL" clId="{756F7B95-58D5-45C1-9E21-B0E68508464E}" dt="2025-07-17T19:00:20.605" v="481" actId="1076"/>
          <ac:spMkLst>
            <pc:docMk/>
            <pc:sldMk cId="3681720179" sldId="2147471622"/>
            <ac:spMk id="18" creationId="{F3EE528C-2D15-409E-84C3-9343B76BACC5}"/>
          </ac:spMkLst>
        </pc:spChg>
        <pc:spChg chg="add mod">
          <ac:chgData name="John Paserba" userId="77bd6c8a-d0c1-4fea-8705-0169f65d0c0e" providerId="ADAL" clId="{756F7B95-58D5-45C1-9E21-B0E68508464E}" dt="2025-07-17T19:00:53.689" v="492" actId="14100"/>
          <ac:spMkLst>
            <pc:docMk/>
            <pc:sldMk cId="3681720179" sldId="2147471622"/>
            <ac:spMk id="20" creationId="{30BC2D3D-10C8-4001-BFAC-2DC0E4F7FD70}"/>
          </ac:spMkLst>
        </pc:spChg>
        <pc:spChg chg="add mod">
          <ac:chgData name="John Paserba" userId="77bd6c8a-d0c1-4fea-8705-0169f65d0c0e" providerId="ADAL" clId="{756F7B95-58D5-45C1-9E21-B0E68508464E}" dt="2025-07-17T19:17:30.114" v="1152" actId="1076"/>
          <ac:spMkLst>
            <pc:docMk/>
            <pc:sldMk cId="3681720179" sldId="2147471622"/>
            <ac:spMk id="21" creationId="{EF650E70-7494-4102-8230-598C5AD7D876}"/>
          </ac:spMkLst>
        </pc:spChg>
        <pc:graphicFrameChg chg="mod">
          <ac:chgData name="John Paserba" userId="77bd6c8a-d0c1-4fea-8705-0169f65d0c0e" providerId="ADAL" clId="{756F7B95-58D5-45C1-9E21-B0E68508464E}" dt="2025-07-17T19:12:33.618" v="757"/>
          <ac:graphicFrameMkLst>
            <pc:docMk/>
            <pc:sldMk cId="3681720179" sldId="2147471622"/>
            <ac:graphicFrameMk id="5" creationId="{00000000-0000-0000-0000-000000000000}"/>
          </ac:graphicFrameMkLst>
        </pc:graphicFrameChg>
        <pc:graphicFrameChg chg="mod">
          <ac:chgData name="John Paserba" userId="77bd6c8a-d0c1-4fea-8705-0169f65d0c0e" providerId="ADAL" clId="{756F7B95-58D5-45C1-9E21-B0E68508464E}" dt="2025-07-17T19:03:53.289" v="527"/>
          <ac:graphicFrameMkLst>
            <pc:docMk/>
            <pc:sldMk cId="3681720179" sldId="2147471622"/>
            <ac:graphicFrameMk id="6" creationId="{00000000-0000-0000-0000-000000000000}"/>
          </ac:graphicFrameMkLst>
        </pc:graphicFrameChg>
        <pc:graphicFrameChg chg="modGraphic">
          <ac:chgData name="John Paserba" userId="77bd6c8a-d0c1-4fea-8705-0169f65d0c0e" providerId="ADAL" clId="{756F7B95-58D5-45C1-9E21-B0E68508464E}" dt="2025-07-17T19:03:34.853" v="525" actId="20577"/>
          <ac:graphicFrameMkLst>
            <pc:docMk/>
            <pc:sldMk cId="3681720179" sldId="2147471622"/>
            <ac:graphicFrameMk id="11" creationId="{00000000-0000-0000-0000-000000000000}"/>
          </ac:graphicFrameMkLst>
        </pc:graphicFrameChg>
      </pc:sldChg>
      <pc:sldChg chg="addSp delSp modSp mod">
        <pc:chgData name="John Paserba" userId="77bd6c8a-d0c1-4fea-8705-0169f65d0c0e" providerId="ADAL" clId="{756F7B95-58D5-45C1-9E21-B0E68508464E}" dt="2025-07-17T22:27:50.063" v="1940" actId="14100"/>
        <pc:sldMkLst>
          <pc:docMk/>
          <pc:sldMk cId="4056519351" sldId="2147471625"/>
        </pc:sldMkLst>
        <pc:spChg chg="del">
          <ac:chgData name="John Paserba" userId="77bd6c8a-d0c1-4fea-8705-0169f65d0c0e" providerId="ADAL" clId="{756F7B95-58D5-45C1-9E21-B0E68508464E}" dt="2025-07-17T22:09:36.612" v="1310" actId="478"/>
          <ac:spMkLst>
            <pc:docMk/>
            <pc:sldMk cId="4056519351" sldId="2147471625"/>
            <ac:spMk id="13" creationId="{214C9CCD-B528-4E7F-91AA-2D21EDB0F9FA}"/>
          </ac:spMkLst>
        </pc:spChg>
        <pc:spChg chg="del">
          <ac:chgData name="John Paserba" userId="77bd6c8a-d0c1-4fea-8705-0169f65d0c0e" providerId="ADAL" clId="{756F7B95-58D5-45C1-9E21-B0E68508464E}" dt="2025-07-17T22:09:40.589" v="1311" actId="478"/>
          <ac:spMkLst>
            <pc:docMk/>
            <pc:sldMk cId="4056519351" sldId="2147471625"/>
            <ac:spMk id="14" creationId="{7EC3888E-6B01-422C-9187-880209C7F056}"/>
          </ac:spMkLst>
        </pc:spChg>
        <pc:spChg chg="add del mod">
          <ac:chgData name="John Paserba" userId="77bd6c8a-d0c1-4fea-8705-0169f65d0c0e" providerId="ADAL" clId="{756F7B95-58D5-45C1-9E21-B0E68508464E}" dt="2025-07-17T22:19:25.919" v="1769" actId="1076"/>
          <ac:spMkLst>
            <pc:docMk/>
            <pc:sldMk cId="4056519351" sldId="2147471625"/>
            <ac:spMk id="16" creationId="{AD7CD474-C212-478A-A3D8-CF11A4604D99}"/>
          </ac:spMkLst>
        </pc:spChg>
        <pc:spChg chg="add mod">
          <ac:chgData name="John Paserba" userId="77bd6c8a-d0c1-4fea-8705-0169f65d0c0e" providerId="ADAL" clId="{756F7B95-58D5-45C1-9E21-B0E68508464E}" dt="2025-07-17T22:18:54.519" v="1730"/>
          <ac:spMkLst>
            <pc:docMk/>
            <pc:sldMk cId="4056519351" sldId="2147471625"/>
            <ac:spMk id="17" creationId="{3650ADD6-0753-47ED-8648-E99CC0EAE902}"/>
          </ac:spMkLst>
        </pc:spChg>
        <pc:spChg chg="add mod">
          <ac:chgData name="John Paserba" userId="77bd6c8a-d0c1-4fea-8705-0169f65d0c0e" providerId="ADAL" clId="{756F7B95-58D5-45C1-9E21-B0E68508464E}" dt="2025-07-17T22:27:50.063" v="1940" actId="14100"/>
          <ac:spMkLst>
            <pc:docMk/>
            <pc:sldMk cId="4056519351" sldId="2147471625"/>
            <ac:spMk id="18" creationId="{19965AA2-BADD-4435-BC54-EE4744F9008B}"/>
          </ac:spMkLst>
        </pc:spChg>
        <pc:graphicFrameChg chg="mod">
          <ac:chgData name="John Paserba" userId="77bd6c8a-d0c1-4fea-8705-0169f65d0c0e" providerId="ADAL" clId="{756F7B95-58D5-45C1-9E21-B0E68508464E}" dt="2025-07-17T22:24:58.694" v="1790"/>
          <ac:graphicFrameMkLst>
            <pc:docMk/>
            <pc:sldMk cId="4056519351" sldId="2147471625"/>
            <ac:graphicFrameMk id="5" creationId="{00000000-0000-0000-0000-000000000000}"/>
          </ac:graphicFrameMkLst>
        </pc:graphicFrameChg>
        <pc:graphicFrameChg chg="mod">
          <ac:chgData name="John Paserba" userId="77bd6c8a-d0c1-4fea-8705-0169f65d0c0e" providerId="ADAL" clId="{756F7B95-58D5-45C1-9E21-B0E68508464E}" dt="2025-07-17T22:14:30.874" v="1729" actId="20577"/>
          <ac:graphicFrameMkLst>
            <pc:docMk/>
            <pc:sldMk cId="4056519351" sldId="2147471625"/>
            <ac:graphicFrameMk id="6" creationId="{00000000-0000-0000-0000-000000000000}"/>
          </ac:graphicFrameMkLst>
        </pc:graphicFrameChg>
        <pc:graphicFrameChg chg="modGraphic">
          <ac:chgData name="John Paserba" userId="77bd6c8a-d0c1-4fea-8705-0169f65d0c0e" providerId="ADAL" clId="{756F7B95-58D5-45C1-9E21-B0E68508464E}" dt="2025-07-17T22:14:08.345" v="1714" actId="20577"/>
          <ac:graphicFrameMkLst>
            <pc:docMk/>
            <pc:sldMk cId="4056519351" sldId="2147471625"/>
            <ac:graphicFrameMk id="11" creationId="{00000000-0000-0000-0000-000000000000}"/>
          </ac:graphicFrameMkLst>
        </pc:graphicFrameChg>
      </pc:sldChg>
      <pc:sldChg chg="addSp modSp mod">
        <pc:chgData name="John Paserba" userId="77bd6c8a-d0c1-4fea-8705-0169f65d0c0e" providerId="ADAL" clId="{756F7B95-58D5-45C1-9E21-B0E68508464E}" dt="2025-07-17T22:33:09.037" v="1961"/>
        <pc:sldMkLst>
          <pc:docMk/>
          <pc:sldMk cId="488572414" sldId="2147471639"/>
        </pc:sldMkLst>
        <pc:spChg chg="add mod">
          <ac:chgData name="John Paserba" userId="77bd6c8a-d0c1-4fea-8705-0169f65d0c0e" providerId="ADAL" clId="{756F7B95-58D5-45C1-9E21-B0E68508464E}" dt="2025-07-17T22:30:03.412" v="1948"/>
          <ac:spMkLst>
            <pc:docMk/>
            <pc:sldMk cId="488572414" sldId="2147471639"/>
            <ac:spMk id="9" creationId="{DA41ECE3-E330-4579-898D-B6810C755EAE}"/>
          </ac:spMkLst>
        </pc:spChg>
        <pc:spChg chg="add mod">
          <ac:chgData name="John Paserba" userId="77bd6c8a-d0c1-4fea-8705-0169f65d0c0e" providerId="ADAL" clId="{756F7B95-58D5-45C1-9E21-B0E68508464E}" dt="2025-07-17T22:33:09.037" v="1961"/>
          <ac:spMkLst>
            <pc:docMk/>
            <pc:sldMk cId="488572414" sldId="2147471639"/>
            <ac:spMk id="12" creationId="{0495458C-8A63-47A4-A414-4AE3C2B35C39}"/>
          </ac:spMkLst>
        </pc:spChg>
        <pc:graphicFrameChg chg="modGraphic">
          <ac:chgData name="John Paserba" userId="77bd6c8a-d0c1-4fea-8705-0169f65d0c0e" providerId="ADAL" clId="{756F7B95-58D5-45C1-9E21-B0E68508464E}" dt="2025-07-17T22:29:43.249" v="1947" actId="20577"/>
          <ac:graphicFrameMkLst>
            <pc:docMk/>
            <pc:sldMk cId="488572414" sldId="2147471639"/>
            <ac:graphicFrameMk id="11" creationId="{F3DED44F-C0EF-4935-A06B-3FC910885FD8}"/>
          </ac:graphicFrameMkLst>
        </pc:graphicFrameChg>
        <pc:picChg chg="add mod">
          <ac:chgData name="John Paserba" userId="77bd6c8a-d0c1-4fea-8705-0169f65d0c0e" providerId="ADAL" clId="{756F7B95-58D5-45C1-9E21-B0E68508464E}" dt="2025-07-17T22:31:52.662" v="1960" actId="692"/>
          <ac:picMkLst>
            <pc:docMk/>
            <pc:sldMk cId="488572414" sldId="2147471639"/>
            <ac:picMk id="2" creationId="{508FE747-CF09-4E04-A0DF-79D449ED8D7B}"/>
          </ac:picMkLst>
        </pc:picChg>
      </pc:sldChg>
      <pc:sldChg chg="addSp modSp mod">
        <pc:chgData name="John Paserba" userId="77bd6c8a-d0c1-4fea-8705-0169f65d0c0e" providerId="ADAL" clId="{756F7B95-58D5-45C1-9E21-B0E68508464E}" dt="2025-07-17T19:18:04.558" v="1168" actId="1076"/>
        <pc:sldMkLst>
          <pc:docMk/>
          <pc:sldMk cId="1426578598" sldId="2147471653"/>
        </pc:sldMkLst>
        <pc:spChg chg="add mod">
          <ac:chgData name="John Paserba" userId="77bd6c8a-d0c1-4fea-8705-0169f65d0c0e" providerId="ADAL" clId="{756F7B95-58D5-45C1-9E21-B0E68508464E}" dt="2025-07-17T19:18:04.558" v="1168" actId="1076"/>
          <ac:spMkLst>
            <pc:docMk/>
            <pc:sldMk cId="1426578598" sldId="2147471653"/>
            <ac:spMk id="7" creationId="{D4001C68-FB84-476D-916D-A73330FDB365}"/>
          </ac:spMkLst>
        </pc:spChg>
        <pc:spChg chg="mod">
          <ac:chgData name="John Paserba" userId="77bd6c8a-d0c1-4fea-8705-0169f65d0c0e" providerId="ADAL" clId="{756F7B95-58D5-45C1-9E21-B0E68508464E}" dt="2025-07-17T16:35:39.624" v="449" actId="255"/>
          <ac:spMkLst>
            <pc:docMk/>
            <pc:sldMk cId="1426578598" sldId="2147471653"/>
            <ac:spMk id="11" creationId="{FB3B9CB6-79E9-4448-AE52-A81A1F9D3770}"/>
          </ac:spMkLst>
        </pc:spChg>
      </pc:sldChg>
      <pc:sldChg chg="addSp modSp mod">
        <pc:chgData name="John Paserba" userId="77bd6c8a-d0c1-4fea-8705-0169f65d0c0e" providerId="ADAL" clId="{756F7B95-58D5-45C1-9E21-B0E68508464E}" dt="2025-07-17T22:12:48.068" v="1705" actId="14100"/>
        <pc:sldMkLst>
          <pc:docMk/>
          <pc:sldMk cId="3935530728" sldId="2147471654"/>
        </pc:sldMkLst>
        <pc:spChg chg="add mod">
          <ac:chgData name="John Paserba" userId="77bd6c8a-d0c1-4fea-8705-0169f65d0c0e" providerId="ADAL" clId="{756F7B95-58D5-45C1-9E21-B0E68508464E}" dt="2025-07-17T22:12:48.068" v="1705" actId="14100"/>
          <ac:spMkLst>
            <pc:docMk/>
            <pc:sldMk cId="3935530728" sldId="2147471654"/>
            <ac:spMk id="7" creationId="{B9C26F21-36A6-46DF-A52C-5355825CB4C6}"/>
          </ac:spMkLst>
        </pc:spChg>
      </pc:sldChg>
      <pc:sldChg chg="addSp modSp mod">
        <pc:chgData name="John Paserba" userId="77bd6c8a-d0c1-4fea-8705-0169f65d0c0e" providerId="ADAL" clId="{756F7B95-58D5-45C1-9E21-B0E68508464E}" dt="2025-07-17T22:07:05.195" v="1307" actId="255"/>
        <pc:sldMkLst>
          <pc:docMk/>
          <pc:sldMk cId="1316239094" sldId="2147471655"/>
        </pc:sldMkLst>
        <pc:spChg chg="add mod">
          <ac:chgData name="John Paserba" userId="77bd6c8a-d0c1-4fea-8705-0169f65d0c0e" providerId="ADAL" clId="{756F7B95-58D5-45C1-9E21-B0E68508464E}" dt="2025-07-17T22:06:45.643" v="1306" actId="1035"/>
          <ac:spMkLst>
            <pc:docMk/>
            <pc:sldMk cId="1316239094" sldId="2147471655"/>
            <ac:spMk id="3" creationId="{2038D18E-F908-46C4-B4C8-AF98EBC36BE3}"/>
          </ac:spMkLst>
        </pc:spChg>
        <pc:spChg chg="add mod">
          <ac:chgData name="John Paserba" userId="77bd6c8a-d0c1-4fea-8705-0169f65d0c0e" providerId="ADAL" clId="{756F7B95-58D5-45C1-9E21-B0E68508464E}" dt="2025-07-17T22:05:42.636" v="1283"/>
          <ac:spMkLst>
            <pc:docMk/>
            <pc:sldMk cId="1316239094" sldId="2147471655"/>
            <ac:spMk id="14" creationId="{D0221B24-CD36-4E52-B077-298974FE77F4}"/>
          </ac:spMkLst>
        </pc:spChg>
        <pc:spChg chg="mod">
          <ac:chgData name="John Paserba" userId="77bd6c8a-d0c1-4fea-8705-0169f65d0c0e" providerId="ADAL" clId="{756F7B95-58D5-45C1-9E21-B0E68508464E}" dt="2025-07-17T22:07:05.195" v="1307" actId="255"/>
          <ac:spMkLst>
            <pc:docMk/>
            <pc:sldMk cId="1316239094" sldId="2147471655"/>
            <ac:spMk id="3328002" creationId="{00000000-0000-0000-0000-000000000000}"/>
          </ac:spMkLst>
        </pc:spChg>
        <pc:graphicFrameChg chg="add mod">
          <ac:chgData name="John Paserba" userId="77bd6c8a-d0c1-4fea-8705-0169f65d0c0e" providerId="ADAL" clId="{756F7B95-58D5-45C1-9E21-B0E68508464E}" dt="2025-07-17T22:06:06.885" v="1284"/>
          <ac:graphicFrameMkLst>
            <pc:docMk/>
            <pc:sldMk cId="1316239094" sldId="2147471655"/>
            <ac:graphicFrameMk id="15" creationId="{32B68B89-1550-4BF3-8FC0-53319D57F5CB}"/>
          </ac:graphicFrameMkLst>
        </pc:graphicFrameChg>
      </pc:sldChg>
      <pc:sldChg chg="del">
        <pc:chgData name="John Paserba" userId="77bd6c8a-d0c1-4fea-8705-0169f65d0c0e" providerId="ADAL" clId="{756F7B95-58D5-45C1-9E21-B0E68508464E}" dt="2025-07-17T14:35:23.352" v="1" actId="47"/>
        <pc:sldMkLst>
          <pc:docMk/>
          <pc:sldMk cId="3581618067" sldId="2147471656"/>
        </pc:sldMkLst>
      </pc:sldChg>
      <pc:sldChg chg="del">
        <pc:chgData name="John Paserba" userId="77bd6c8a-d0c1-4fea-8705-0169f65d0c0e" providerId="ADAL" clId="{756F7B95-58D5-45C1-9E21-B0E68508464E}" dt="2025-07-17T14:35:23.352" v="1" actId="47"/>
        <pc:sldMkLst>
          <pc:docMk/>
          <pc:sldMk cId="438874774" sldId="2147471662"/>
        </pc:sldMkLst>
      </pc:sldChg>
      <pc:sldChg chg="del">
        <pc:chgData name="John Paserba" userId="77bd6c8a-d0c1-4fea-8705-0169f65d0c0e" providerId="ADAL" clId="{756F7B95-58D5-45C1-9E21-B0E68508464E}" dt="2025-07-17T14:35:09.945" v="0" actId="47"/>
        <pc:sldMkLst>
          <pc:docMk/>
          <pc:sldMk cId="2068436623" sldId="2147471665"/>
        </pc:sldMkLst>
      </pc:sldChg>
      <pc:sldChg chg="del">
        <pc:chgData name="John Paserba" userId="77bd6c8a-d0c1-4fea-8705-0169f65d0c0e" providerId="ADAL" clId="{756F7B95-58D5-45C1-9E21-B0E68508464E}" dt="2025-07-17T14:35:09.945" v="0" actId="47"/>
        <pc:sldMkLst>
          <pc:docMk/>
          <pc:sldMk cId="1858184123" sldId="2147471667"/>
        </pc:sldMkLst>
      </pc:sldChg>
      <pc:sldChg chg="del">
        <pc:chgData name="John Paserba" userId="77bd6c8a-d0c1-4fea-8705-0169f65d0c0e" providerId="ADAL" clId="{756F7B95-58D5-45C1-9E21-B0E68508464E}" dt="2025-07-17T14:35:09.945" v="0" actId="47"/>
        <pc:sldMkLst>
          <pc:docMk/>
          <pc:sldMk cId="2523675820" sldId="2147471668"/>
        </pc:sldMkLst>
      </pc:sldChg>
      <pc:sldChg chg="del">
        <pc:chgData name="John Paserba" userId="77bd6c8a-d0c1-4fea-8705-0169f65d0c0e" providerId="ADAL" clId="{756F7B95-58D5-45C1-9E21-B0E68508464E}" dt="2025-07-17T14:35:09.945" v="0" actId="47"/>
        <pc:sldMkLst>
          <pc:docMk/>
          <pc:sldMk cId="2660546268" sldId="2147471669"/>
        </pc:sldMkLst>
      </pc:sldChg>
      <pc:sldChg chg="del">
        <pc:chgData name="John Paserba" userId="77bd6c8a-d0c1-4fea-8705-0169f65d0c0e" providerId="ADAL" clId="{756F7B95-58D5-45C1-9E21-B0E68508464E}" dt="2025-07-17T14:35:09.945" v="0" actId="47"/>
        <pc:sldMkLst>
          <pc:docMk/>
          <pc:sldMk cId="3071957236" sldId="2147471671"/>
        </pc:sldMkLst>
      </pc:sldChg>
      <pc:sldChg chg="modSp mod">
        <pc:chgData name="John Paserba" userId="77bd6c8a-d0c1-4fea-8705-0169f65d0c0e" providerId="ADAL" clId="{756F7B95-58D5-45C1-9E21-B0E68508464E}" dt="2025-07-17T18:59:51.750" v="477" actId="1076"/>
        <pc:sldMkLst>
          <pc:docMk/>
          <pc:sldMk cId="1790755209" sldId="2147471672"/>
        </pc:sldMkLst>
        <pc:spChg chg="mod">
          <ac:chgData name="John Paserba" userId="77bd6c8a-d0c1-4fea-8705-0169f65d0c0e" providerId="ADAL" clId="{756F7B95-58D5-45C1-9E21-B0E68508464E}" dt="2025-07-17T18:59:51.750" v="477" actId="1076"/>
          <ac:spMkLst>
            <pc:docMk/>
            <pc:sldMk cId="1790755209" sldId="2147471672"/>
            <ac:spMk id="2" creationId="{24EFA49A-D6F0-94EB-2E4A-46AC510574DD}"/>
          </ac:spMkLst>
        </pc:spChg>
      </pc:sldChg>
      <pc:sldChg chg="del">
        <pc:chgData name="John Paserba" userId="77bd6c8a-d0c1-4fea-8705-0169f65d0c0e" providerId="ADAL" clId="{756F7B95-58D5-45C1-9E21-B0E68508464E}" dt="2025-07-17T14:35:09.945" v="0" actId="47"/>
        <pc:sldMkLst>
          <pc:docMk/>
          <pc:sldMk cId="3892713205" sldId="2147471673"/>
        </pc:sldMkLst>
      </pc:sldChg>
      <pc:sldChg chg="del">
        <pc:chgData name="John Paserba" userId="77bd6c8a-d0c1-4fea-8705-0169f65d0c0e" providerId="ADAL" clId="{756F7B95-58D5-45C1-9E21-B0E68508464E}" dt="2025-07-17T14:35:23.352" v="1" actId="47"/>
        <pc:sldMkLst>
          <pc:docMk/>
          <pc:sldMk cId="1433889411" sldId="2147471674"/>
        </pc:sldMkLst>
      </pc:sldChg>
      <pc:sldChg chg="del">
        <pc:chgData name="John Paserba" userId="77bd6c8a-d0c1-4fea-8705-0169f65d0c0e" providerId="ADAL" clId="{756F7B95-58D5-45C1-9E21-B0E68508464E}" dt="2025-07-17T14:35:23.352" v="1" actId="47"/>
        <pc:sldMkLst>
          <pc:docMk/>
          <pc:sldMk cId="3164514132" sldId="2147471675"/>
        </pc:sldMkLst>
      </pc:sldChg>
      <pc:sldChg chg="del">
        <pc:chgData name="John Paserba" userId="77bd6c8a-d0c1-4fea-8705-0169f65d0c0e" providerId="ADAL" clId="{756F7B95-58D5-45C1-9E21-B0E68508464E}" dt="2025-07-17T14:35:23.352" v="1" actId="47"/>
        <pc:sldMkLst>
          <pc:docMk/>
          <pc:sldMk cId="3058605711" sldId="2147471677"/>
        </pc:sldMkLst>
      </pc:sldChg>
      <pc:sldChg chg="del">
        <pc:chgData name="John Paserba" userId="77bd6c8a-d0c1-4fea-8705-0169f65d0c0e" providerId="ADAL" clId="{756F7B95-58D5-45C1-9E21-B0E68508464E}" dt="2025-07-17T14:35:23.352" v="1" actId="47"/>
        <pc:sldMkLst>
          <pc:docMk/>
          <pc:sldMk cId="2139653318" sldId="2147471679"/>
        </pc:sldMkLst>
      </pc:sldChg>
      <pc:sldChg chg="del">
        <pc:chgData name="John Paserba" userId="77bd6c8a-d0c1-4fea-8705-0169f65d0c0e" providerId="ADAL" clId="{756F7B95-58D5-45C1-9E21-B0E68508464E}" dt="2025-07-17T14:35:23.352" v="1" actId="47"/>
        <pc:sldMkLst>
          <pc:docMk/>
          <pc:sldMk cId="967086952" sldId="2147471680"/>
        </pc:sldMkLst>
      </pc:sldChg>
      <pc:sldChg chg="del">
        <pc:chgData name="John Paserba" userId="77bd6c8a-d0c1-4fea-8705-0169f65d0c0e" providerId="ADAL" clId="{756F7B95-58D5-45C1-9E21-B0E68508464E}" dt="2025-07-17T14:35:23.352" v="1" actId="47"/>
        <pc:sldMkLst>
          <pc:docMk/>
          <pc:sldMk cId="3651935271" sldId="2147471682"/>
        </pc:sldMkLst>
      </pc:sldChg>
      <pc:sldChg chg="del">
        <pc:chgData name="John Paserba" userId="77bd6c8a-d0c1-4fea-8705-0169f65d0c0e" providerId="ADAL" clId="{756F7B95-58D5-45C1-9E21-B0E68508464E}" dt="2025-07-17T14:35:23.352" v="1" actId="47"/>
        <pc:sldMkLst>
          <pc:docMk/>
          <pc:sldMk cId="3727219174" sldId="2147471683"/>
        </pc:sldMkLst>
      </pc:sldChg>
      <pc:sldChg chg="del">
        <pc:chgData name="John Paserba" userId="77bd6c8a-d0c1-4fea-8705-0169f65d0c0e" providerId="ADAL" clId="{756F7B95-58D5-45C1-9E21-B0E68508464E}" dt="2025-07-17T14:35:23.352" v="1" actId="47"/>
        <pc:sldMkLst>
          <pc:docMk/>
          <pc:sldMk cId="333539668" sldId="2147471684"/>
        </pc:sldMkLst>
      </pc:sldChg>
      <pc:sldChg chg="del">
        <pc:chgData name="John Paserba" userId="77bd6c8a-d0c1-4fea-8705-0169f65d0c0e" providerId="ADAL" clId="{756F7B95-58D5-45C1-9E21-B0E68508464E}" dt="2025-07-17T14:35:23.352" v="1" actId="47"/>
        <pc:sldMkLst>
          <pc:docMk/>
          <pc:sldMk cId="1741024592" sldId="2147471685"/>
        </pc:sldMkLst>
      </pc:sldChg>
      <pc:sldChg chg="del">
        <pc:chgData name="John Paserba" userId="77bd6c8a-d0c1-4fea-8705-0169f65d0c0e" providerId="ADAL" clId="{756F7B95-58D5-45C1-9E21-B0E68508464E}" dt="2025-07-17T14:35:09.945" v="0" actId="47"/>
        <pc:sldMkLst>
          <pc:docMk/>
          <pc:sldMk cId="1079165612" sldId="2147471688"/>
        </pc:sldMkLst>
      </pc:sldChg>
      <pc:sldChg chg="del">
        <pc:chgData name="John Paserba" userId="77bd6c8a-d0c1-4fea-8705-0169f65d0c0e" providerId="ADAL" clId="{756F7B95-58D5-45C1-9E21-B0E68508464E}" dt="2025-07-17T14:35:23.352" v="1" actId="47"/>
        <pc:sldMkLst>
          <pc:docMk/>
          <pc:sldMk cId="95119100" sldId="2147471689"/>
        </pc:sldMkLst>
      </pc:sldChg>
      <pc:sldChg chg="del">
        <pc:chgData name="John Paserba" userId="77bd6c8a-d0c1-4fea-8705-0169f65d0c0e" providerId="ADAL" clId="{756F7B95-58D5-45C1-9E21-B0E68508464E}" dt="2025-07-17T14:35:09.945" v="0" actId="47"/>
        <pc:sldMkLst>
          <pc:docMk/>
          <pc:sldMk cId="3754066107" sldId="2147471690"/>
        </pc:sldMkLst>
      </pc:sldChg>
      <pc:sldChg chg="del">
        <pc:chgData name="John Paserba" userId="77bd6c8a-d0c1-4fea-8705-0169f65d0c0e" providerId="ADAL" clId="{756F7B95-58D5-45C1-9E21-B0E68508464E}" dt="2025-07-17T14:35:23.352" v="1" actId="47"/>
        <pc:sldMkLst>
          <pc:docMk/>
          <pc:sldMk cId="938011944" sldId="2147471692"/>
        </pc:sldMkLst>
      </pc:sldChg>
      <pc:sldChg chg="addSp delSp modSp mod">
        <pc:chgData name="John Paserba" userId="77bd6c8a-d0c1-4fea-8705-0169f65d0c0e" providerId="ADAL" clId="{756F7B95-58D5-45C1-9E21-B0E68508464E}" dt="2025-07-17T18:25:33.615" v="453" actId="255"/>
        <pc:sldMkLst>
          <pc:docMk/>
          <pc:sldMk cId="966262136" sldId="2147471695"/>
        </pc:sldMkLst>
        <pc:spChg chg="del">
          <ac:chgData name="John Paserba" userId="77bd6c8a-d0c1-4fea-8705-0169f65d0c0e" providerId="ADAL" clId="{756F7B95-58D5-45C1-9E21-B0E68508464E}" dt="2025-07-17T16:19:47.749" v="52" actId="478"/>
          <ac:spMkLst>
            <pc:docMk/>
            <pc:sldMk cId="966262136" sldId="2147471695"/>
            <ac:spMk id="2" creationId="{3E6A4753-9A48-48F2-A4C9-3B1094C79BC6}"/>
          </ac:spMkLst>
        </pc:spChg>
        <pc:spChg chg="mod">
          <ac:chgData name="John Paserba" userId="77bd6c8a-d0c1-4fea-8705-0169f65d0c0e" providerId="ADAL" clId="{756F7B95-58D5-45C1-9E21-B0E68508464E}" dt="2025-07-17T18:25:33.615" v="453" actId="255"/>
          <ac:spMkLst>
            <pc:docMk/>
            <pc:sldMk cId="966262136" sldId="2147471695"/>
            <ac:spMk id="19" creationId="{00000000-0000-0000-0000-000000000000}"/>
          </ac:spMkLst>
        </pc:spChg>
        <pc:spChg chg="del">
          <ac:chgData name="John Paserba" userId="77bd6c8a-d0c1-4fea-8705-0169f65d0c0e" providerId="ADAL" clId="{756F7B95-58D5-45C1-9E21-B0E68508464E}" dt="2025-07-17T16:04:04.526" v="6" actId="478"/>
          <ac:spMkLst>
            <pc:docMk/>
            <pc:sldMk cId="966262136" sldId="2147471695"/>
            <ac:spMk id="27" creationId="{7139A859-031D-4DE9-B7EE-47B15809CECB}"/>
          </ac:spMkLst>
        </pc:spChg>
        <pc:spChg chg="mod">
          <ac:chgData name="John Paserba" userId="77bd6c8a-d0c1-4fea-8705-0169f65d0c0e" providerId="ADAL" clId="{756F7B95-58D5-45C1-9E21-B0E68508464E}" dt="2025-07-17T16:03:58.037" v="5" actId="1076"/>
          <ac:spMkLst>
            <pc:docMk/>
            <pc:sldMk cId="966262136" sldId="2147471695"/>
            <ac:spMk id="28" creationId="{60283EE1-1283-47BF-9C85-02B29CB96909}"/>
          </ac:spMkLst>
        </pc:spChg>
        <pc:spChg chg="del mod">
          <ac:chgData name="John Paserba" userId="77bd6c8a-d0c1-4fea-8705-0169f65d0c0e" providerId="ADAL" clId="{756F7B95-58D5-45C1-9E21-B0E68508464E}" dt="2025-07-17T16:12:14.025" v="25" actId="478"/>
          <ac:spMkLst>
            <pc:docMk/>
            <pc:sldMk cId="966262136" sldId="2147471695"/>
            <ac:spMk id="29" creationId="{6391340B-EB5A-45DB-A50F-3FCEFB6CB684}"/>
          </ac:spMkLst>
        </pc:spChg>
        <pc:spChg chg="add mod">
          <ac:chgData name="John Paserba" userId="77bd6c8a-d0c1-4fea-8705-0169f65d0c0e" providerId="ADAL" clId="{756F7B95-58D5-45C1-9E21-B0E68508464E}" dt="2025-07-17T16:17:25.071" v="45" actId="1076"/>
          <ac:spMkLst>
            <pc:docMk/>
            <pc:sldMk cId="966262136" sldId="2147471695"/>
            <ac:spMk id="30" creationId="{AE9CC5A2-3FBC-42DA-9470-E8DB5E86C0B4}"/>
          </ac:spMkLst>
        </pc:spChg>
        <pc:spChg chg="add mod">
          <ac:chgData name="John Paserba" userId="77bd6c8a-d0c1-4fea-8705-0169f65d0c0e" providerId="ADAL" clId="{756F7B95-58D5-45C1-9E21-B0E68508464E}" dt="2025-07-17T16:12:22.574" v="28" actId="1076"/>
          <ac:spMkLst>
            <pc:docMk/>
            <pc:sldMk cId="966262136" sldId="2147471695"/>
            <ac:spMk id="31" creationId="{17DEAE4E-E082-4E3D-B35D-9F314822E70A}"/>
          </ac:spMkLst>
        </pc:spChg>
        <pc:graphicFrameChg chg="modGraphic">
          <ac:chgData name="John Paserba" userId="77bd6c8a-d0c1-4fea-8705-0169f65d0c0e" providerId="ADAL" clId="{756F7B95-58D5-45C1-9E21-B0E68508464E}" dt="2025-07-17T16:19:37.532" v="51" actId="20577"/>
          <ac:graphicFrameMkLst>
            <pc:docMk/>
            <pc:sldMk cId="966262136" sldId="2147471695"/>
            <ac:graphicFrameMk id="10" creationId="{00000000-0000-0000-0000-000000000000}"/>
          </ac:graphicFrameMkLst>
        </pc:graphicFrameChg>
        <pc:graphicFrameChg chg="mod">
          <ac:chgData name="John Paserba" userId="77bd6c8a-d0c1-4fea-8705-0169f65d0c0e" providerId="ADAL" clId="{756F7B95-58D5-45C1-9E21-B0E68508464E}" dt="2025-07-17T16:17:07.069" v="44"/>
          <ac:graphicFrameMkLst>
            <pc:docMk/>
            <pc:sldMk cId="966262136" sldId="2147471695"/>
            <ac:graphicFrameMk id="17" creationId="{56F1947A-A87B-47AE-A49D-C3183B9A0338}"/>
          </ac:graphicFrameMkLst>
        </pc:graphicFrameChg>
      </pc:sldChg>
      <pc:sldChg chg="del">
        <pc:chgData name="John Paserba" userId="77bd6c8a-d0c1-4fea-8705-0169f65d0c0e" providerId="ADAL" clId="{756F7B95-58D5-45C1-9E21-B0E68508464E}" dt="2025-07-17T14:35:23.352" v="1" actId="47"/>
        <pc:sldMkLst>
          <pc:docMk/>
          <pc:sldMk cId="4269995171" sldId="2147471696"/>
        </pc:sldMkLst>
      </pc:sldChg>
      <pc:sldChg chg="del">
        <pc:chgData name="John Paserba" userId="77bd6c8a-d0c1-4fea-8705-0169f65d0c0e" providerId="ADAL" clId="{756F7B95-58D5-45C1-9E21-B0E68508464E}" dt="2025-07-17T14:35:23.352" v="1" actId="47"/>
        <pc:sldMkLst>
          <pc:docMk/>
          <pc:sldMk cId="3105094509" sldId="2147471697"/>
        </pc:sldMkLst>
      </pc:sldChg>
      <pc:sldChg chg="del">
        <pc:chgData name="John Paserba" userId="77bd6c8a-d0c1-4fea-8705-0169f65d0c0e" providerId="ADAL" clId="{756F7B95-58D5-45C1-9E21-B0E68508464E}" dt="2025-07-17T14:35:23.352" v="1" actId="47"/>
        <pc:sldMkLst>
          <pc:docMk/>
          <pc:sldMk cId="346743070" sldId="2147471698"/>
        </pc:sldMkLst>
      </pc:sldChg>
      <pc:sldChg chg="del">
        <pc:chgData name="John Paserba" userId="77bd6c8a-d0c1-4fea-8705-0169f65d0c0e" providerId="ADAL" clId="{756F7B95-58D5-45C1-9E21-B0E68508464E}" dt="2025-07-17T14:35:23.352" v="1" actId="47"/>
        <pc:sldMkLst>
          <pc:docMk/>
          <pc:sldMk cId="1896820689" sldId="2147471699"/>
        </pc:sldMkLst>
      </pc:sldChg>
      <pc:sldChg chg="del">
        <pc:chgData name="John Paserba" userId="77bd6c8a-d0c1-4fea-8705-0169f65d0c0e" providerId="ADAL" clId="{756F7B95-58D5-45C1-9E21-B0E68508464E}" dt="2025-07-17T14:35:23.352" v="1" actId="47"/>
        <pc:sldMkLst>
          <pc:docMk/>
          <pc:sldMk cId="3828578127" sldId="2147471700"/>
        </pc:sldMkLst>
      </pc:sldChg>
      <pc:sldChg chg="del">
        <pc:chgData name="John Paserba" userId="77bd6c8a-d0c1-4fea-8705-0169f65d0c0e" providerId="ADAL" clId="{756F7B95-58D5-45C1-9E21-B0E68508464E}" dt="2025-07-17T14:35:23.352" v="1" actId="47"/>
        <pc:sldMkLst>
          <pc:docMk/>
          <pc:sldMk cId="2164318488" sldId="2147471701"/>
        </pc:sldMkLst>
      </pc:sldChg>
      <pc:sldChg chg="del">
        <pc:chgData name="John Paserba" userId="77bd6c8a-d0c1-4fea-8705-0169f65d0c0e" providerId="ADAL" clId="{756F7B95-58D5-45C1-9E21-B0E68508464E}" dt="2025-07-17T14:35:09.945" v="0" actId="47"/>
        <pc:sldMkLst>
          <pc:docMk/>
          <pc:sldMk cId="776265444" sldId="2147471702"/>
        </pc:sldMkLst>
      </pc:sldChg>
      <pc:sldChg chg="del">
        <pc:chgData name="John Paserba" userId="77bd6c8a-d0c1-4fea-8705-0169f65d0c0e" providerId="ADAL" clId="{756F7B95-58D5-45C1-9E21-B0E68508464E}" dt="2025-07-17T14:35:09.945" v="0" actId="47"/>
        <pc:sldMkLst>
          <pc:docMk/>
          <pc:sldMk cId="73387506" sldId="2147471703"/>
        </pc:sldMkLst>
      </pc:sldChg>
      <pc:sldChg chg="addSp delSp modSp mod">
        <pc:chgData name="John Paserba" userId="77bd6c8a-d0c1-4fea-8705-0169f65d0c0e" providerId="ADAL" clId="{756F7B95-58D5-45C1-9E21-B0E68508464E}" dt="2025-07-17T18:31:01.200" v="469" actId="478"/>
        <pc:sldMkLst>
          <pc:docMk/>
          <pc:sldMk cId="1812772885" sldId="2147471704"/>
        </pc:sldMkLst>
        <pc:spChg chg="del">
          <ac:chgData name="John Paserba" userId="77bd6c8a-d0c1-4fea-8705-0169f65d0c0e" providerId="ADAL" clId="{756F7B95-58D5-45C1-9E21-B0E68508464E}" dt="2025-07-17T18:31:01.200" v="469" actId="478"/>
          <ac:spMkLst>
            <pc:docMk/>
            <pc:sldMk cId="1812772885" sldId="2147471704"/>
            <ac:spMk id="7" creationId="{5A7A23A1-413A-4CD5-AB01-5C8761308505}"/>
          </ac:spMkLst>
        </pc:spChg>
        <pc:spChg chg="add mod">
          <ac:chgData name="John Paserba" userId="77bd6c8a-d0c1-4fea-8705-0169f65d0c0e" providerId="ADAL" clId="{756F7B95-58D5-45C1-9E21-B0E68508464E}" dt="2025-07-17T18:30:56.249" v="468"/>
          <ac:spMkLst>
            <pc:docMk/>
            <pc:sldMk cId="1812772885" sldId="2147471704"/>
            <ac:spMk id="8" creationId="{F6F09A86-9F96-4140-806A-2C6507480BDC}"/>
          </ac:spMkLst>
        </pc:spChg>
      </pc:sldChg>
      <pc:sldChg chg="addSp delSp modSp add mod">
        <pc:chgData name="John Paserba" userId="77bd6c8a-d0c1-4fea-8705-0169f65d0c0e" providerId="ADAL" clId="{756F7B95-58D5-45C1-9E21-B0E68508464E}" dt="2025-07-17T22:02:45.865" v="1281"/>
        <pc:sldMkLst>
          <pc:docMk/>
          <pc:sldMk cId="1801735080" sldId="2147471705"/>
        </pc:sldMkLst>
        <pc:spChg chg="mod">
          <ac:chgData name="John Paserba" userId="77bd6c8a-d0c1-4fea-8705-0169f65d0c0e" providerId="ADAL" clId="{756F7B95-58D5-45C1-9E21-B0E68508464E}" dt="2025-07-17T19:31:59.547" v="1245" actId="6549"/>
          <ac:spMkLst>
            <pc:docMk/>
            <pc:sldMk cId="1801735080" sldId="2147471705"/>
            <ac:spMk id="5" creationId="{6F20F5EE-239B-245C-C76E-33E3340BDF30}"/>
          </ac:spMkLst>
        </pc:spChg>
        <pc:spChg chg="mod">
          <ac:chgData name="John Paserba" userId="77bd6c8a-d0c1-4fea-8705-0169f65d0c0e" providerId="ADAL" clId="{756F7B95-58D5-45C1-9E21-B0E68508464E}" dt="2025-07-17T19:32:17.374" v="1262" actId="20577"/>
          <ac:spMkLst>
            <pc:docMk/>
            <pc:sldMk cId="1801735080" sldId="2147471705"/>
            <ac:spMk id="14" creationId="{36517D48-7762-42F2-A3E4-5C268C882D84}"/>
          </ac:spMkLst>
        </pc:spChg>
        <pc:spChg chg="mod">
          <ac:chgData name="John Paserba" userId="77bd6c8a-d0c1-4fea-8705-0169f65d0c0e" providerId="ADAL" clId="{756F7B95-58D5-45C1-9E21-B0E68508464E}" dt="2025-07-17T19:32:07.587" v="1257" actId="20577"/>
          <ac:spMkLst>
            <pc:docMk/>
            <pc:sldMk cId="1801735080" sldId="2147471705"/>
            <ac:spMk id="3328002" creationId="{00000000-0000-0000-0000-000000000000}"/>
          </ac:spMkLst>
        </pc:spChg>
        <pc:graphicFrameChg chg="add mod">
          <ac:chgData name="John Paserba" userId="77bd6c8a-d0c1-4fea-8705-0169f65d0c0e" providerId="ADAL" clId="{756F7B95-58D5-45C1-9E21-B0E68508464E}" dt="2025-07-17T22:02:45.865" v="1281"/>
          <ac:graphicFrameMkLst>
            <pc:docMk/>
            <pc:sldMk cId="1801735080" sldId="2147471705"/>
            <ac:graphicFrameMk id="15" creationId="{AE75FA98-A24B-4EC5-A267-18797C2C5CE7}"/>
          </ac:graphicFrameMkLst>
        </pc:graphicFrameChg>
        <pc:picChg chg="del">
          <ac:chgData name="John Paserba" userId="77bd6c8a-d0c1-4fea-8705-0169f65d0c0e" providerId="ADAL" clId="{756F7B95-58D5-45C1-9E21-B0E68508464E}" dt="2025-07-17T19:32:09.553" v="1258" actId="478"/>
          <ac:picMkLst>
            <pc:docMk/>
            <pc:sldMk cId="1801735080" sldId="2147471705"/>
            <ac:picMk id="7" creationId="{DA7E7AB5-8C72-4FEC-A5FC-92834F15D39B}"/>
          </ac:picMkLst>
        </pc:picChg>
      </pc:sldChg>
      <pc:sldChg chg="del">
        <pc:chgData name="John Paserba" userId="77bd6c8a-d0c1-4fea-8705-0169f65d0c0e" providerId="ADAL" clId="{756F7B95-58D5-45C1-9E21-B0E68508464E}" dt="2025-07-17T14:35:09.945" v="0" actId="47"/>
        <pc:sldMkLst>
          <pc:docMk/>
          <pc:sldMk cId="3063618461" sldId="2147471705"/>
        </pc:sldMkLst>
      </pc:sldChg>
      <pc:sldMasterChg chg="del delSldLayout">
        <pc:chgData name="John Paserba" userId="77bd6c8a-d0c1-4fea-8705-0169f65d0c0e" providerId="ADAL" clId="{756F7B95-58D5-45C1-9E21-B0E68508464E}" dt="2025-07-17T14:35:09.945" v="0" actId="47"/>
        <pc:sldMasterMkLst>
          <pc:docMk/>
          <pc:sldMasterMk cId="1269733632" sldId="2147483717"/>
        </pc:sldMasterMkLst>
        <pc:sldLayoutChg chg="del">
          <pc:chgData name="John Paserba" userId="77bd6c8a-d0c1-4fea-8705-0169f65d0c0e" providerId="ADAL" clId="{756F7B95-58D5-45C1-9E21-B0E68508464E}" dt="2025-07-17T14:35:09.945" v="0" actId="47"/>
          <pc:sldLayoutMkLst>
            <pc:docMk/>
            <pc:sldMasterMk cId="1269733632" sldId="2147483717"/>
            <pc:sldLayoutMk cId="24166043" sldId="2147483718"/>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412527885" sldId="2147483719"/>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1730445757" sldId="2147483720"/>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1361094704" sldId="2147483721"/>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790477152" sldId="2147483722"/>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1822983729" sldId="2147483723"/>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3991869368" sldId="2147483724"/>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2749212098" sldId="2147483725"/>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532848221" sldId="2147483726"/>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2330677713" sldId="2147483727"/>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227362195" sldId="2147483728"/>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1564642633" sldId="2147483729"/>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2567316170" sldId="2147483730"/>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3444204290" sldId="2147483731"/>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2391792072" sldId="2147483732"/>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3932494085" sldId="2147483733"/>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4029152408" sldId="2147483734"/>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4269700340" sldId="2147483735"/>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1796606745" sldId="2147483736"/>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234272748" sldId="2147483737"/>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1645572787" sldId="2147483738"/>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54075724" sldId="2147483739"/>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666455794" sldId="2147483740"/>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3530893417" sldId="2147483741"/>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4260707847" sldId="2147483742"/>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1906845971" sldId="2147483743"/>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2132167091" sldId="2147483744"/>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880401841" sldId="2147483745"/>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515766146" sldId="2147483746"/>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3304851443" sldId="2147483747"/>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2111950697" sldId="2147483748"/>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2149690598" sldId="2147483749"/>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3373571827" sldId="2147483750"/>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1551924275" sldId="2147483751"/>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3012625614" sldId="2147483752"/>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2178649946" sldId="2147483753"/>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1467858308" sldId="2147483795"/>
          </pc:sldLayoutMkLst>
        </pc:sldLayoutChg>
        <pc:sldLayoutChg chg="del">
          <pc:chgData name="John Paserba" userId="77bd6c8a-d0c1-4fea-8705-0169f65d0c0e" providerId="ADAL" clId="{756F7B95-58D5-45C1-9E21-B0E68508464E}" dt="2025-07-17T14:35:09.945" v="0" actId="47"/>
          <pc:sldLayoutMkLst>
            <pc:docMk/>
            <pc:sldMasterMk cId="1269733632" sldId="2147483717"/>
            <pc:sldLayoutMk cId="53215302" sldId="2147483796"/>
          </pc:sldLayoutMkLst>
        </pc:sldLayoutChg>
      </pc:sldMasterChg>
    </pc:docChg>
  </pc:docChgLst>
  <pc:docChgLst>
    <pc:chgData name="John Paserba" userId="77bd6c8a-d0c1-4fea-8705-0169f65d0c0e" providerId="ADAL" clId="{3FE2DE24-C14E-4B0D-BB36-7E94381774F0}"/>
    <pc:docChg chg="undo custSel delSld modSld sldOrd">
      <pc:chgData name="John Paserba" userId="77bd6c8a-d0c1-4fea-8705-0169f65d0c0e" providerId="ADAL" clId="{3FE2DE24-C14E-4B0D-BB36-7E94381774F0}" dt="2025-10-14T16:07:28.051" v="304" actId="20577"/>
      <pc:docMkLst>
        <pc:docMk/>
      </pc:docMkLst>
      <pc:sldChg chg="addSp delSp modSp mod">
        <pc:chgData name="John Paserba" userId="77bd6c8a-d0c1-4fea-8705-0169f65d0c0e" providerId="ADAL" clId="{3FE2DE24-C14E-4B0D-BB36-7E94381774F0}" dt="2025-10-14T15:02:22.228" v="183" actId="1076"/>
        <pc:sldMkLst>
          <pc:docMk/>
          <pc:sldMk cId="2351575374" sldId="2147471318"/>
        </pc:sldMkLst>
        <pc:spChg chg="add mod">
          <ac:chgData name="John Paserba" userId="77bd6c8a-d0c1-4fea-8705-0169f65d0c0e" providerId="ADAL" clId="{3FE2DE24-C14E-4B0D-BB36-7E94381774F0}" dt="2025-10-14T15:02:22.228" v="183" actId="1076"/>
          <ac:spMkLst>
            <pc:docMk/>
            <pc:sldMk cId="2351575374" sldId="2147471318"/>
            <ac:spMk id="10" creationId="{C41643C0-F0EC-4F22-8023-69B558CD6FCB}"/>
          </ac:spMkLst>
        </pc:spChg>
        <pc:spChg chg="del mod">
          <ac:chgData name="John Paserba" userId="77bd6c8a-d0c1-4fea-8705-0169f65d0c0e" providerId="ADAL" clId="{3FE2DE24-C14E-4B0D-BB36-7E94381774F0}" dt="2025-10-14T14:58:56.461" v="46" actId="478"/>
          <ac:spMkLst>
            <pc:docMk/>
            <pc:sldMk cId="2351575374" sldId="2147471318"/>
            <ac:spMk id="12" creationId="{2FE864D8-B118-45E7-BCDC-269AB89A6566}"/>
          </ac:spMkLst>
        </pc:spChg>
        <pc:graphicFrameChg chg="mod">
          <ac:chgData name="John Paserba" userId="77bd6c8a-d0c1-4fea-8705-0169f65d0c0e" providerId="ADAL" clId="{3FE2DE24-C14E-4B0D-BB36-7E94381774F0}" dt="2025-10-14T15:00:04.125" v="51"/>
          <ac:graphicFrameMkLst>
            <pc:docMk/>
            <pc:sldMk cId="2351575374" sldId="2147471318"/>
            <ac:graphicFrameMk id="5" creationId="{00000000-0000-0000-0000-000000000000}"/>
          </ac:graphicFrameMkLst>
        </pc:graphicFrameChg>
      </pc:sldChg>
      <pc:sldChg chg="modSp mod">
        <pc:chgData name="John Paserba" userId="77bd6c8a-d0c1-4fea-8705-0169f65d0c0e" providerId="ADAL" clId="{3FE2DE24-C14E-4B0D-BB36-7E94381774F0}" dt="2025-10-14T16:07:28.051" v="304" actId="20577"/>
        <pc:sldMkLst>
          <pc:docMk/>
          <pc:sldMk cId="195241491" sldId="2147471370"/>
        </pc:sldMkLst>
        <pc:spChg chg="mod">
          <ac:chgData name="John Paserba" userId="77bd6c8a-d0c1-4fea-8705-0169f65d0c0e" providerId="ADAL" clId="{3FE2DE24-C14E-4B0D-BB36-7E94381774F0}" dt="2025-10-14T16:07:28.051" v="304" actId="20577"/>
          <ac:spMkLst>
            <pc:docMk/>
            <pc:sldMk cId="195241491" sldId="2147471370"/>
            <ac:spMk id="3" creationId="{E6993746-A424-4F09-867F-B919F4E18ECB}"/>
          </ac:spMkLst>
        </pc:spChg>
      </pc:sldChg>
      <pc:sldChg chg="del">
        <pc:chgData name="John Paserba" userId="77bd6c8a-d0c1-4fea-8705-0169f65d0c0e" providerId="ADAL" clId="{3FE2DE24-C14E-4B0D-BB36-7E94381774F0}" dt="2025-10-14T16:02:54.124" v="263" actId="47"/>
        <pc:sldMkLst>
          <pc:docMk/>
          <pc:sldMk cId="1348948237" sldId="2147471498"/>
        </pc:sldMkLst>
      </pc:sldChg>
      <pc:sldChg chg="del">
        <pc:chgData name="John Paserba" userId="77bd6c8a-d0c1-4fea-8705-0169f65d0c0e" providerId="ADAL" clId="{3FE2DE24-C14E-4B0D-BB36-7E94381774F0}" dt="2025-10-14T16:02:54.124" v="263" actId="47"/>
        <pc:sldMkLst>
          <pc:docMk/>
          <pc:sldMk cId="1509309180" sldId="2147471499"/>
        </pc:sldMkLst>
      </pc:sldChg>
      <pc:sldChg chg="del">
        <pc:chgData name="John Paserba" userId="77bd6c8a-d0c1-4fea-8705-0169f65d0c0e" providerId="ADAL" clId="{3FE2DE24-C14E-4B0D-BB36-7E94381774F0}" dt="2025-10-14T16:02:54.124" v="263" actId="47"/>
        <pc:sldMkLst>
          <pc:docMk/>
          <pc:sldMk cId="3911101945" sldId="2147471500"/>
        </pc:sldMkLst>
      </pc:sldChg>
      <pc:sldChg chg="del">
        <pc:chgData name="John Paserba" userId="77bd6c8a-d0c1-4fea-8705-0169f65d0c0e" providerId="ADAL" clId="{3FE2DE24-C14E-4B0D-BB36-7E94381774F0}" dt="2025-10-14T16:02:54.124" v="263" actId="47"/>
        <pc:sldMkLst>
          <pc:docMk/>
          <pc:sldMk cId="2193624052" sldId="2147471501"/>
        </pc:sldMkLst>
      </pc:sldChg>
      <pc:sldChg chg="del">
        <pc:chgData name="John Paserba" userId="77bd6c8a-d0c1-4fea-8705-0169f65d0c0e" providerId="ADAL" clId="{3FE2DE24-C14E-4B0D-BB36-7E94381774F0}" dt="2025-10-14T16:02:54.124" v="263" actId="47"/>
        <pc:sldMkLst>
          <pc:docMk/>
          <pc:sldMk cId="3293842999" sldId="2147471502"/>
        </pc:sldMkLst>
      </pc:sldChg>
      <pc:sldChg chg="del">
        <pc:chgData name="John Paserba" userId="77bd6c8a-d0c1-4fea-8705-0169f65d0c0e" providerId="ADAL" clId="{3FE2DE24-C14E-4B0D-BB36-7E94381774F0}" dt="2025-10-14T16:02:54.124" v="263" actId="47"/>
        <pc:sldMkLst>
          <pc:docMk/>
          <pc:sldMk cId="1750250529" sldId="2147471504"/>
        </pc:sldMkLst>
      </pc:sldChg>
      <pc:sldChg chg="del">
        <pc:chgData name="John Paserba" userId="77bd6c8a-d0c1-4fea-8705-0169f65d0c0e" providerId="ADAL" clId="{3FE2DE24-C14E-4B0D-BB36-7E94381774F0}" dt="2025-10-14T15:59:50.089" v="259" actId="47"/>
        <pc:sldMkLst>
          <pc:docMk/>
          <pc:sldMk cId="2231163395" sldId="2147471510"/>
        </pc:sldMkLst>
      </pc:sldChg>
      <pc:sldChg chg="del">
        <pc:chgData name="John Paserba" userId="77bd6c8a-d0c1-4fea-8705-0169f65d0c0e" providerId="ADAL" clId="{3FE2DE24-C14E-4B0D-BB36-7E94381774F0}" dt="2025-10-14T15:59:50.834" v="260" actId="47"/>
        <pc:sldMkLst>
          <pc:docMk/>
          <pc:sldMk cId="3820929825" sldId="2147471516"/>
        </pc:sldMkLst>
      </pc:sldChg>
      <pc:sldChg chg="del">
        <pc:chgData name="John Paserba" userId="77bd6c8a-d0c1-4fea-8705-0169f65d0c0e" providerId="ADAL" clId="{3FE2DE24-C14E-4B0D-BB36-7E94381774F0}" dt="2025-10-14T15:59:51.649" v="261" actId="47"/>
        <pc:sldMkLst>
          <pc:docMk/>
          <pc:sldMk cId="3823917263" sldId="2147471561"/>
        </pc:sldMkLst>
      </pc:sldChg>
      <pc:sldChg chg="del">
        <pc:chgData name="John Paserba" userId="77bd6c8a-d0c1-4fea-8705-0169f65d0c0e" providerId="ADAL" clId="{3FE2DE24-C14E-4B0D-BB36-7E94381774F0}" dt="2025-10-14T15:59:52.361" v="262" actId="47"/>
        <pc:sldMkLst>
          <pc:docMk/>
          <pc:sldMk cId="1930684240" sldId="2147471563"/>
        </pc:sldMkLst>
      </pc:sldChg>
      <pc:sldChg chg="del">
        <pc:chgData name="John Paserba" userId="77bd6c8a-d0c1-4fea-8705-0169f65d0c0e" providerId="ADAL" clId="{3FE2DE24-C14E-4B0D-BB36-7E94381774F0}" dt="2025-10-14T15:59:49.388" v="258" actId="47"/>
        <pc:sldMkLst>
          <pc:docMk/>
          <pc:sldMk cId="2068436623" sldId="2147471665"/>
        </pc:sldMkLst>
      </pc:sldChg>
      <pc:sldChg chg="modSp mod">
        <pc:chgData name="John Paserba" userId="77bd6c8a-d0c1-4fea-8705-0169f65d0c0e" providerId="ADAL" clId="{3FE2DE24-C14E-4B0D-BB36-7E94381774F0}" dt="2025-10-14T14:55:26.387" v="25" actId="20577"/>
        <pc:sldMkLst>
          <pc:docMk/>
          <pc:sldMk cId="1076467741" sldId="2147471763"/>
        </pc:sldMkLst>
        <pc:spChg chg="mod">
          <ac:chgData name="John Paserba" userId="77bd6c8a-d0c1-4fea-8705-0169f65d0c0e" providerId="ADAL" clId="{3FE2DE24-C14E-4B0D-BB36-7E94381774F0}" dt="2025-10-14T14:55:26.387" v="25" actId="20577"/>
          <ac:spMkLst>
            <pc:docMk/>
            <pc:sldMk cId="1076467741" sldId="2147471763"/>
            <ac:spMk id="2" creationId="{604011DC-D533-4243-B17F-6BCA0E778325}"/>
          </ac:spMkLst>
        </pc:spChg>
        <pc:spChg chg="mod">
          <ac:chgData name="John Paserba" userId="77bd6c8a-d0c1-4fea-8705-0169f65d0c0e" providerId="ADAL" clId="{3FE2DE24-C14E-4B0D-BB36-7E94381774F0}" dt="2025-10-14T14:51:57.849" v="16" actId="12"/>
          <ac:spMkLst>
            <pc:docMk/>
            <pc:sldMk cId="1076467741" sldId="2147471763"/>
            <ac:spMk id="4" creationId="{935F3E8D-84AC-4F81-B4E8-B40C01F0E096}"/>
          </ac:spMkLst>
        </pc:spChg>
      </pc:sldChg>
      <pc:sldChg chg="addSp delSp modSp mod">
        <pc:chgData name="John Paserba" userId="77bd6c8a-d0c1-4fea-8705-0169f65d0c0e" providerId="ADAL" clId="{3FE2DE24-C14E-4B0D-BB36-7E94381774F0}" dt="2025-10-14T15:47:35.393" v="196" actId="14100"/>
        <pc:sldMkLst>
          <pc:docMk/>
          <pc:sldMk cId="1858141502" sldId="2147471781"/>
        </pc:sldMkLst>
        <pc:picChg chg="del">
          <ac:chgData name="John Paserba" userId="77bd6c8a-d0c1-4fea-8705-0169f65d0c0e" providerId="ADAL" clId="{3FE2DE24-C14E-4B0D-BB36-7E94381774F0}" dt="2025-10-14T15:47:08.973" v="192" actId="478"/>
          <ac:picMkLst>
            <pc:docMk/>
            <pc:sldMk cId="1858141502" sldId="2147471781"/>
            <ac:picMk id="2" creationId="{9C62C29C-9E0C-4082-B621-C0650C2A6ABC}"/>
          </ac:picMkLst>
        </pc:picChg>
        <pc:picChg chg="add mod">
          <ac:chgData name="John Paserba" userId="77bd6c8a-d0c1-4fea-8705-0169f65d0c0e" providerId="ADAL" clId="{3FE2DE24-C14E-4B0D-BB36-7E94381774F0}" dt="2025-10-14T15:47:35.393" v="196" actId="14100"/>
          <ac:picMkLst>
            <pc:docMk/>
            <pc:sldMk cId="1858141502" sldId="2147471781"/>
            <ac:picMk id="3" creationId="{A8BB1AA7-D8BB-42D4-AE1B-2E1915A206DC}"/>
          </ac:picMkLst>
        </pc:picChg>
      </pc:sldChg>
      <pc:sldChg chg="addSp delSp modSp mod">
        <pc:chgData name="John Paserba" userId="77bd6c8a-d0c1-4fea-8705-0169f65d0c0e" providerId="ADAL" clId="{3FE2DE24-C14E-4B0D-BB36-7E94381774F0}" dt="2025-10-14T15:39:07.666" v="189" actId="255"/>
        <pc:sldMkLst>
          <pc:docMk/>
          <pc:sldMk cId="223166733" sldId="2147471785"/>
        </pc:sldMkLst>
        <pc:graphicFrameChg chg="del">
          <ac:chgData name="John Paserba" userId="77bd6c8a-d0c1-4fea-8705-0169f65d0c0e" providerId="ADAL" clId="{3FE2DE24-C14E-4B0D-BB36-7E94381774F0}" dt="2025-10-14T15:38:46.824" v="184" actId="478"/>
          <ac:graphicFrameMkLst>
            <pc:docMk/>
            <pc:sldMk cId="223166733" sldId="2147471785"/>
            <ac:graphicFrameMk id="2" creationId="{B809C0CC-4BD5-46B8-B8AB-8C897E10C7A7}"/>
          </ac:graphicFrameMkLst>
        </pc:graphicFrameChg>
        <pc:graphicFrameChg chg="add mod modGraphic">
          <ac:chgData name="John Paserba" userId="77bd6c8a-d0c1-4fea-8705-0169f65d0c0e" providerId="ADAL" clId="{3FE2DE24-C14E-4B0D-BB36-7E94381774F0}" dt="2025-10-14T15:39:07.666" v="189" actId="255"/>
          <ac:graphicFrameMkLst>
            <pc:docMk/>
            <pc:sldMk cId="223166733" sldId="2147471785"/>
            <ac:graphicFrameMk id="3" creationId="{4FC7BB60-BAD4-4E29-B97E-ACEE972C2815}"/>
          </ac:graphicFrameMkLst>
        </pc:graphicFrameChg>
      </pc:sldChg>
      <pc:sldChg chg="delSp modSp mod">
        <pc:chgData name="John Paserba" userId="77bd6c8a-d0c1-4fea-8705-0169f65d0c0e" providerId="ADAL" clId="{3FE2DE24-C14E-4B0D-BB36-7E94381774F0}" dt="2025-10-14T15:56:26.969" v="256" actId="14100"/>
        <pc:sldMkLst>
          <pc:docMk/>
          <pc:sldMk cId="813813943" sldId="2147471798"/>
        </pc:sldMkLst>
        <pc:spChg chg="mod">
          <ac:chgData name="John Paserba" userId="77bd6c8a-d0c1-4fea-8705-0169f65d0c0e" providerId="ADAL" clId="{3FE2DE24-C14E-4B0D-BB36-7E94381774F0}" dt="2025-10-14T15:56:26.969" v="256" actId="14100"/>
          <ac:spMkLst>
            <pc:docMk/>
            <pc:sldMk cId="813813943" sldId="2147471798"/>
            <ac:spMk id="3" creationId="{E6993746-A424-4F09-867F-B919F4E18ECB}"/>
          </ac:spMkLst>
        </pc:spChg>
        <pc:spChg chg="del">
          <ac:chgData name="John Paserba" userId="77bd6c8a-d0c1-4fea-8705-0169f65d0c0e" providerId="ADAL" clId="{3FE2DE24-C14E-4B0D-BB36-7E94381774F0}" dt="2025-10-14T15:49:39.109" v="198" actId="478"/>
          <ac:spMkLst>
            <pc:docMk/>
            <pc:sldMk cId="813813943" sldId="2147471798"/>
            <ac:spMk id="13" creationId="{F17266FD-CAF5-4F4F-9073-1DFE9C856E05}"/>
          </ac:spMkLst>
        </pc:spChg>
      </pc:sldChg>
      <pc:sldChg chg="modSp mod">
        <pc:chgData name="John Paserba" userId="77bd6c8a-d0c1-4fea-8705-0169f65d0c0e" providerId="ADAL" clId="{3FE2DE24-C14E-4B0D-BB36-7E94381774F0}" dt="2025-10-14T14:55:22.939" v="23" actId="20577"/>
        <pc:sldMkLst>
          <pc:docMk/>
          <pc:sldMk cId="935460224" sldId="2147471801"/>
        </pc:sldMkLst>
        <pc:spChg chg="mod">
          <ac:chgData name="John Paserba" userId="77bd6c8a-d0c1-4fea-8705-0169f65d0c0e" providerId="ADAL" clId="{3FE2DE24-C14E-4B0D-BB36-7E94381774F0}" dt="2025-10-14T14:55:22.939" v="23" actId="20577"/>
          <ac:spMkLst>
            <pc:docMk/>
            <pc:sldMk cId="935460224" sldId="2147471801"/>
            <ac:spMk id="2" creationId="{604011DC-D533-4243-B17F-6BCA0E778325}"/>
          </ac:spMkLst>
        </pc:spChg>
        <pc:spChg chg="mod">
          <ac:chgData name="John Paserba" userId="77bd6c8a-d0c1-4fea-8705-0169f65d0c0e" providerId="ADAL" clId="{3FE2DE24-C14E-4B0D-BB36-7E94381774F0}" dt="2025-10-14T14:52:04.661" v="19" actId="12"/>
          <ac:spMkLst>
            <pc:docMk/>
            <pc:sldMk cId="935460224" sldId="2147471801"/>
            <ac:spMk id="4" creationId="{935F3E8D-84AC-4F81-B4E8-B40C01F0E096}"/>
          </ac:spMkLst>
        </pc:spChg>
      </pc:sldChg>
      <pc:sldChg chg="del">
        <pc:chgData name="John Paserba" userId="77bd6c8a-d0c1-4fea-8705-0169f65d0c0e" providerId="ADAL" clId="{3FE2DE24-C14E-4B0D-BB36-7E94381774F0}" dt="2025-10-14T15:59:48.040" v="257" actId="47"/>
        <pc:sldMkLst>
          <pc:docMk/>
          <pc:sldMk cId="761989599" sldId="2147471811"/>
        </pc:sldMkLst>
      </pc:sldChg>
      <pc:sldChg chg="addSp delSp modSp mod">
        <pc:chgData name="John Paserba" userId="77bd6c8a-d0c1-4fea-8705-0169f65d0c0e" providerId="ADAL" clId="{3FE2DE24-C14E-4B0D-BB36-7E94381774F0}" dt="2025-10-14T14:51:26.009" v="2" actId="22"/>
        <pc:sldMkLst>
          <pc:docMk/>
          <pc:sldMk cId="3548863867" sldId="2147471847"/>
        </pc:sldMkLst>
        <pc:spChg chg="mod">
          <ac:chgData name="John Paserba" userId="77bd6c8a-d0c1-4fea-8705-0169f65d0c0e" providerId="ADAL" clId="{3FE2DE24-C14E-4B0D-BB36-7E94381774F0}" dt="2025-10-14T14:51:02.794" v="0"/>
          <ac:spMkLst>
            <pc:docMk/>
            <pc:sldMk cId="3548863867" sldId="2147471847"/>
            <ac:spMk id="4" creationId="{935F3E8D-84AC-4F81-B4E8-B40C01F0E096}"/>
          </ac:spMkLst>
        </pc:spChg>
        <pc:spChg chg="add del">
          <ac:chgData name="John Paserba" userId="77bd6c8a-d0c1-4fea-8705-0169f65d0c0e" providerId="ADAL" clId="{3FE2DE24-C14E-4B0D-BB36-7E94381774F0}" dt="2025-10-14T14:51:26.009" v="2" actId="22"/>
          <ac:spMkLst>
            <pc:docMk/>
            <pc:sldMk cId="3548863867" sldId="2147471847"/>
            <ac:spMk id="13" creationId="{07AE8E32-D595-49AA-A96A-F2B31322A01E}"/>
          </ac:spMkLst>
        </pc:spChg>
      </pc:sldChg>
      <pc:sldChg chg="modSp mod">
        <pc:chgData name="John Paserba" userId="77bd6c8a-d0c1-4fea-8705-0169f65d0c0e" providerId="ADAL" clId="{3FE2DE24-C14E-4B0D-BB36-7E94381774F0}" dt="2025-10-14T14:52:07.997" v="20" actId="12"/>
        <pc:sldMkLst>
          <pc:docMk/>
          <pc:sldMk cId="2263700866" sldId="2147471866"/>
        </pc:sldMkLst>
        <pc:spChg chg="mod">
          <ac:chgData name="John Paserba" userId="77bd6c8a-d0c1-4fea-8705-0169f65d0c0e" providerId="ADAL" clId="{3FE2DE24-C14E-4B0D-BB36-7E94381774F0}" dt="2025-10-14T14:51:35.797" v="6" actId="20577"/>
          <ac:spMkLst>
            <pc:docMk/>
            <pc:sldMk cId="2263700866" sldId="2147471866"/>
            <ac:spMk id="2" creationId="{604011DC-D533-4243-B17F-6BCA0E778325}"/>
          </ac:spMkLst>
        </pc:spChg>
        <pc:spChg chg="mod">
          <ac:chgData name="John Paserba" userId="77bd6c8a-d0c1-4fea-8705-0169f65d0c0e" providerId="ADAL" clId="{3FE2DE24-C14E-4B0D-BB36-7E94381774F0}" dt="2025-10-14T14:52:07.997" v="20" actId="12"/>
          <ac:spMkLst>
            <pc:docMk/>
            <pc:sldMk cId="2263700866" sldId="2147471866"/>
            <ac:spMk id="4" creationId="{935F3E8D-84AC-4F81-B4E8-B40C01F0E096}"/>
          </ac:spMkLst>
        </pc:spChg>
      </pc:sldChg>
      <pc:sldChg chg="addSp modSp mod ord">
        <pc:chgData name="John Paserba" userId="77bd6c8a-d0c1-4fea-8705-0169f65d0c0e" providerId="ADAL" clId="{3FE2DE24-C14E-4B0D-BB36-7E94381774F0}" dt="2025-10-14T15:47:06.831" v="191"/>
        <pc:sldMkLst>
          <pc:docMk/>
          <pc:sldMk cId="884995379" sldId="2147471867"/>
        </pc:sldMkLst>
        <pc:spChg chg="add mod">
          <ac:chgData name="John Paserba" userId="77bd6c8a-d0c1-4fea-8705-0169f65d0c0e" providerId="ADAL" clId="{3FE2DE24-C14E-4B0D-BB36-7E94381774F0}" dt="2025-10-14T14:55:53.570" v="43" actId="20577"/>
          <ac:spMkLst>
            <pc:docMk/>
            <pc:sldMk cId="884995379" sldId="2147471867"/>
            <ac:spMk id="12" creationId="{E80B85D7-BAB0-413F-856E-13056F970DD3}"/>
          </ac:spMkLst>
        </pc:spChg>
      </pc:sldChg>
      <pc:sldChg chg="delSp del mod">
        <pc:chgData name="John Paserba" userId="77bd6c8a-d0c1-4fea-8705-0169f65d0c0e" providerId="ADAL" clId="{3FE2DE24-C14E-4B0D-BB36-7E94381774F0}" dt="2025-10-14T15:47:42.282" v="197" actId="47"/>
        <pc:sldMkLst>
          <pc:docMk/>
          <pc:sldMk cId="857611597" sldId="2147471868"/>
        </pc:sldMkLst>
        <pc:spChg chg="del">
          <ac:chgData name="John Paserba" userId="77bd6c8a-d0c1-4fea-8705-0169f65d0c0e" providerId="ADAL" clId="{3FE2DE24-C14E-4B0D-BB36-7E94381774F0}" dt="2025-10-14T14:56:08.151" v="45" actId="478"/>
          <ac:spMkLst>
            <pc:docMk/>
            <pc:sldMk cId="857611597" sldId="2147471868"/>
            <ac:spMk id="12" creationId="{E80B85D7-BAB0-413F-856E-13056F970DD3}"/>
          </ac:spMkLst>
        </pc:spChg>
        <pc:picChg chg="del">
          <ac:chgData name="John Paserba" userId="77bd6c8a-d0c1-4fea-8705-0169f65d0c0e" providerId="ADAL" clId="{3FE2DE24-C14E-4B0D-BB36-7E94381774F0}" dt="2025-10-14T14:56:04.666" v="44" actId="478"/>
          <ac:picMkLst>
            <pc:docMk/>
            <pc:sldMk cId="857611597" sldId="2147471868"/>
            <ac:picMk id="2" creationId="{9C62C29C-9E0C-4082-B621-C0650C2A6ABC}"/>
          </ac:picMkLst>
        </pc:picChg>
      </pc:sldChg>
    </pc:docChg>
  </pc:docChgLst>
  <pc:docChgLst>
    <pc:chgData name="John Paserba" userId="77bd6c8a-d0c1-4fea-8705-0169f65d0c0e" providerId="ADAL" clId="{FD5E66A9-D36E-40B5-9161-8BB75765BB68}"/>
    <pc:docChg chg="undo redo custSel addSld delSld modSld sldOrd delMainMaster">
      <pc:chgData name="John Paserba" userId="77bd6c8a-d0c1-4fea-8705-0169f65d0c0e" providerId="ADAL" clId="{FD5E66A9-D36E-40B5-9161-8BB75765BB68}" dt="2025-10-14T03:47:18.587" v="5494" actId="47"/>
      <pc:docMkLst>
        <pc:docMk/>
      </pc:docMkLst>
      <pc:sldChg chg="addSp delSp modSp del mod">
        <pc:chgData name="John Paserba" userId="77bd6c8a-d0c1-4fea-8705-0169f65d0c0e" providerId="ADAL" clId="{FD5E66A9-D36E-40B5-9161-8BB75765BB68}" dt="2025-10-12T20:43:12.371" v="1342" actId="47"/>
        <pc:sldMkLst>
          <pc:docMk/>
          <pc:sldMk cId="3082993400" sldId="267"/>
        </pc:sldMkLst>
        <pc:spChg chg="mod">
          <ac:chgData name="John Paserba" userId="77bd6c8a-d0c1-4fea-8705-0169f65d0c0e" providerId="ADAL" clId="{FD5E66A9-D36E-40B5-9161-8BB75765BB68}" dt="2025-10-12T20:42:22.178" v="1331" actId="164"/>
          <ac:spMkLst>
            <pc:docMk/>
            <pc:sldMk cId="3082993400" sldId="267"/>
            <ac:spMk id="8" creationId="{8A87089A-1366-F06C-C4C2-7F8D562F9AB8}"/>
          </ac:spMkLst>
        </pc:spChg>
        <pc:spChg chg="del">
          <ac:chgData name="John Paserba" userId="77bd6c8a-d0c1-4fea-8705-0169f65d0c0e" providerId="ADAL" clId="{FD5E66A9-D36E-40B5-9161-8BB75765BB68}" dt="2025-10-12T20:41:50.081" v="1319" actId="478"/>
          <ac:spMkLst>
            <pc:docMk/>
            <pc:sldMk cId="3082993400" sldId="267"/>
            <ac:spMk id="12" creationId="{A41402C5-0F40-C80D-ECA3-2B428F405AAB}"/>
          </ac:spMkLst>
        </pc:spChg>
        <pc:spChg chg="mod">
          <ac:chgData name="John Paserba" userId="77bd6c8a-d0c1-4fea-8705-0169f65d0c0e" providerId="ADAL" clId="{FD5E66A9-D36E-40B5-9161-8BB75765BB68}" dt="2025-10-12T20:42:22.178" v="1331" actId="164"/>
          <ac:spMkLst>
            <pc:docMk/>
            <pc:sldMk cId="3082993400" sldId="267"/>
            <ac:spMk id="22" creationId="{AA0FDE38-2AE3-92EE-6E60-91F8FB24AD48}"/>
          </ac:spMkLst>
        </pc:spChg>
        <pc:spChg chg="mod">
          <ac:chgData name="John Paserba" userId="77bd6c8a-d0c1-4fea-8705-0169f65d0c0e" providerId="ADAL" clId="{FD5E66A9-D36E-40B5-9161-8BB75765BB68}" dt="2025-10-12T20:42:22.178" v="1331" actId="164"/>
          <ac:spMkLst>
            <pc:docMk/>
            <pc:sldMk cId="3082993400" sldId="267"/>
            <ac:spMk id="23" creationId="{6AC8E332-72DB-57F9-0789-664DCFBAD096}"/>
          </ac:spMkLst>
        </pc:spChg>
        <pc:spChg chg="mod">
          <ac:chgData name="John Paserba" userId="77bd6c8a-d0c1-4fea-8705-0169f65d0c0e" providerId="ADAL" clId="{FD5E66A9-D36E-40B5-9161-8BB75765BB68}" dt="2025-10-12T20:42:22.178" v="1331" actId="164"/>
          <ac:spMkLst>
            <pc:docMk/>
            <pc:sldMk cId="3082993400" sldId="267"/>
            <ac:spMk id="36" creationId="{3B0CD09D-D788-60B6-04DF-9C314D6C31F4}"/>
          </ac:spMkLst>
        </pc:spChg>
        <pc:spChg chg="del">
          <ac:chgData name="John Paserba" userId="77bd6c8a-d0c1-4fea-8705-0169f65d0c0e" providerId="ADAL" clId="{FD5E66A9-D36E-40B5-9161-8BB75765BB68}" dt="2025-10-12T20:41:50.081" v="1319" actId="478"/>
          <ac:spMkLst>
            <pc:docMk/>
            <pc:sldMk cId="3082993400" sldId="267"/>
            <ac:spMk id="39" creationId="{4DD20EC5-31EC-E432-5767-124799B69EC9}"/>
          </ac:spMkLst>
        </pc:spChg>
        <pc:spChg chg="del">
          <ac:chgData name="John Paserba" userId="77bd6c8a-d0c1-4fea-8705-0169f65d0c0e" providerId="ADAL" clId="{FD5E66A9-D36E-40B5-9161-8BB75765BB68}" dt="2025-10-12T20:41:50.081" v="1319" actId="478"/>
          <ac:spMkLst>
            <pc:docMk/>
            <pc:sldMk cId="3082993400" sldId="267"/>
            <ac:spMk id="46" creationId="{FD5F115D-84F8-3F97-BC75-9DFB8043DF54}"/>
          </ac:spMkLst>
        </pc:spChg>
        <pc:spChg chg="del">
          <ac:chgData name="John Paserba" userId="77bd6c8a-d0c1-4fea-8705-0169f65d0c0e" providerId="ADAL" clId="{FD5E66A9-D36E-40B5-9161-8BB75765BB68}" dt="2025-10-12T20:41:50.081" v="1319" actId="478"/>
          <ac:spMkLst>
            <pc:docMk/>
            <pc:sldMk cId="3082993400" sldId="267"/>
            <ac:spMk id="51" creationId="{A89C8016-AA5B-E906-C62D-802474DB9293}"/>
          </ac:spMkLst>
        </pc:spChg>
        <pc:spChg chg="mod">
          <ac:chgData name="John Paserba" userId="77bd6c8a-d0c1-4fea-8705-0169f65d0c0e" providerId="ADAL" clId="{FD5E66A9-D36E-40B5-9161-8BB75765BB68}" dt="2025-10-12T20:42:22.178" v="1331" actId="164"/>
          <ac:spMkLst>
            <pc:docMk/>
            <pc:sldMk cId="3082993400" sldId="267"/>
            <ac:spMk id="55" creationId="{3E3E3D67-0FD1-1724-9FAF-08F2742E29C4}"/>
          </ac:spMkLst>
        </pc:spChg>
        <pc:spChg chg="mod">
          <ac:chgData name="John Paserba" userId="77bd6c8a-d0c1-4fea-8705-0169f65d0c0e" providerId="ADAL" clId="{FD5E66A9-D36E-40B5-9161-8BB75765BB68}" dt="2025-10-12T20:42:22.178" v="1331" actId="164"/>
          <ac:spMkLst>
            <pc:docMk/>
            <pc:sldMk cId="3082993400" sldId="267"/>
            <ac:spMk id="56" creationId="{63C67250-8689-FA1C-DDC0-9E9DA5A7D182}"/>
          </ac:spMkLst>
        </pc:spChg>
        <pc:spChg chg="del">
          <ac:chgData name="John Paserba" userId="77bd6c8a-d0c1-4fea-8705-0169f65d0c0e" providerId="ADAL" clId="{FD5E66A9-D36E-40B5-9161-8BB75765BB68}" dt="2025-10-12T20:41:46.670" v="1318" actId="478"/>
          <ac:spMkLst>
            <pc:docMk/>
            <pc:sldMk cId="3082993400" sldId="267"/>
            <ac:spMk id="102" creationId="{62DFC0DA-DF2A-44AC-3E27-3FD4627DACAE}"/>
          </ac:spMkLst>
        </pc:spChg>
        <pc:grpChg chg="add mod">
          <ac:chgData name="John Paserba" userId="77bd6c8a-d0c1-4fea-8705-0169f65d0c0e" providerId="ADAL" clId="{FD5E66A9-D36E-40B5-9161-8BB75765BB68}" dt="2025-10-12T20:42:22.178" v="1331" actId="164"/>
          <ac:grpSpMkLst>
            <pc:docMk/>
            <pc:sldMk cId="3082993400" sldId="267"/>
            <ac:grpSpMk id="2" creationId="{168AEFE0-E62C-411D-8E27-25E74F315229}"/>
          </ac:grpSpMkLst>
        </pc:grpChg>
        <pc:grpChg chg="mod">
          <ac:chgData name="John Paserba" userId="77bd6c8a-d0c1-4fea-8705-0169f65d0c0e" providerId="ADAL" clId="{FD5E66A9-D36E-40B5-9161-8BB75765BB68}" dt="2025-10-12T20:42:22.178" v="1331" actId="164"/>
          <ac:grpSpMkLst>
            <pc:docMk/>
            <pc:sldMk cId="3082993400" sldId="267"/>
            <ac:grpSpMk id="6" creationId="{F34C5972-A392-D47B-F0E0-40DDFC8F3E12}"/>
          </ac:grpSpMkLst>
        </pc:grpChg>
        <pc:grpChg chg="mod">
          <ac:chgData name="John Paserba" userId="77bd6c8a-d0c1-4fea-8705-0169f65d0c0e" providerId="ADAL" clId="{FD5E66A9-D36E-40B5-9161-8BB75765BB68}" dt="2025-10-12T20:42:22.178" v="1331" actId="164"/>
          <ac:grpSpMkLst>
            <pc:docMk/>
            <pc:sldMk cId="3082993400" sldId="267"/>
            <ac:grpSpMk id="14" creationId="{8EFE863B-17B7-BBF0-EA74-3D9E35572775}"/>
          </ac:grpSpMkLst>
        </pc:grpChg>
        <pc:grpChg chg="mod">
          <ac:chgData name="John Paserba" userId="77bd6c8a-d0c1-4fea-8705-0169f65d0c0e" providerId="ADAL" clId="{FD5E66A9-D36E-40B5-9161-8BB75765BB68}" dt="2025-10-12T20:42:22.178" v="1331" actId="164"/>
          <ac:grpSpMkLst>
            <pc:docMk/>
            <pc:sldMk cId="3082993400" sldId="267"/>
            <ac:grpSpMk id="16" creationId="{FC4FEFAB-657A-7494-07DA-7765EE8388AC}"/>
          </ac:grpSpMkLst>
        </pc:grpChg>
        <pc:grpChg chg="mod">
          <ac:chgData name="John Paserba" userId="77bd6c8a-d0c1-4fea-8705-0169f65d0c0e" providerId="ADAL" clId="{FD5E66A9-D36E-40B5-9161-8BB75765BB68}" dt="2025-10-12T20:42:22.178" v="1331" actId="164"/>
          <ac:grpSpMkLst>
            <pc:docMk/>
            <pc:sldMk cId="3082993400" sldId="267"/>
            <ac:grpSpMk id="19" creationId="{C9EC747C-AC29-ACF8-B563-120EAB5E685B}"/>
          </ac:grpSpMkLst>
        </pc:grpChg>
        <pc:picChg chg="mod">
          <ac:chgData name="John Paserba" userId="77bd6c8a-d0c1-4fea-8705-0169f65d0c0e" providerId="ADAL" clId="{FD5E66A9-D36E-40B5-9161-8BB75765BB68}" dt="2025-10-12T20:42:22.178" v="1331" actId="164"/>
          <ac:picMkLst>
            <pc:docMk/>
            <pc:sldMk cId="3082993400" sldId="267"/>
            <ac:picMk id="4" creationId="{4490AAFF-DB3C-6F02-7BE7-4938844DBE02}"/>
          </ac:picMkLst>
        </pc:picChg>
        <pc:picChg chg="mod">
          <ac:chgData name="John Paserba" userId="77bd6c8a-d0c1-4fea-8705-0169f65d0c0e" providerId="ADAL" clId="{FD5E66A9-D36E-40B5-9161-8BB75765BB68}" dt="2025-10-12T20:42:22.178" v="1331" actId="164"/>
          <ac:picMkLst>
            <pc:docMk/>
            <pc:sldMk cId="3082993400" sldId="267"/>
            <ac:picMk id="7" creationId="{34DE8084-9C16-EA6C-E53C-86ED15712110}"/>
          </ac:picMkLst>
        </pc:picChg>
        <pc:picChg chg="mod">
          <ac:chgData name="John Paserba" userId="77bd6c8a-d0c1-4fea-8705-0169f65d0c0e" providerId="ADAL" clId="{FD5E66A9-D36E-40B5-9161-8BB75765BB68}" dt="2025-10-12T20:42:22.178" v="1331" actId="164"/>
          <ac:picMkLst>
            <pc:docMk/>
            <pc:sldMk cId="3082993400" sldId="267"/>
            <ac:picMk id="10" creationId="{79F8C75F-979B-A38E-3091-E651A8EB4B36}"/>
          </ac:picMkLst>
        </pc:picChg>
        <pc:picChg chg="mod">
          <ac:chgData name="John Paserba" userId="77bd6c8a-d0c1-4fea-8705-0169f65d0c0e" providerId="ADAL" clId="{FD5E66A9-D36E-40B5-9161-8BB75765BB68}" dt="2025-10-12T20:42:22.178" v="1331" actId="164"/>
          <ac:picMkLst>
            <pc:docMk/>
            <pc:sldMk cId="3082993400" sldId="267"/>
            <ac:picMk id="27" creationId="{41265DAF-70FD-67D9-A539-F41CEC5211B9}"/>
          </ac:picMkLst>
        </pc:picChg>
        <pc:cxnChg chg="del mod">
          <ac:chgData name="John Paserba" userId="77bd6c8a-d0c1-4fea-8705-0169f65d0c0e" providerId="ADAL" clId="{FD5E66A9-D36E-40B5-9161-8BB75765BB68}" dt="2025-10-12T20:41:56.267" v="1321" actId="478"/>
          <ac:cxnSpMkLst>
            <pc:docMk/>
            <pc:sldMk cId="3082993400" sldId="267"/>
            <ac:cxnSpMk id="9" creationId="{2945FF6C-67DF-81EA-1161-1C09CB0CAC80}"/>
          </ac:cxnSpMkLst>
        </pc:cxnChg>
        <pc:cxnChg chg="del mod">
          <ac:chgData name="John Paserba" userId="77bd6c8a-d0c1-4fea-8705-0169f65d0c0e" providerId="ADAL" clId="{FD5E66A9-D36E-40B5-9161-8BB75765BB68}" dt="2025-10-12T20:41:55.607" v="1320" actId="478"/>
          <ac:cxnSpMkLst>
            <pc:docMk/>
            <pc:sldMk cId="3082993400" sldId="267"/>
            <ac:cxnSpMk id="25" creationId="{CF9A5DEF-E8FA-3F92-54E1-8A58EEDC1264}"/>
          </ac:cxnSpMkLst>
        </pc:cxnChg>
        <pc:cxnChg chg="del mod">
          <ac:chgData name="John Paserba" userId="77bd6c8a-d0c1-4fea-8705-0169f65d0c0e" providerId="ADAL" clId="{FD5E66A9-D36E-40B5-9161-8BB75765BB68}" dt="2025-10-12T20:41:59.027" v="1324" actId="478"/>
          <ac:cxnSpMkLst>
            <pc:docMk/>
            <pc:sldMk cId="3082993400" sldId="267"/>
            <ac:cxnSpMk id="38" creationId="{36523BB6-FCB7-2EE6-515C-0F416096E003}"/>
          </ac:cxnSpMkLst>
        </pc:cxnChg>
        <pc:cxnChg chg="del mod">
          <ac:chgData name="John Paserba" userId="77bd6c8a-d0c1-4fea-8705-0169f65d0c0e" providerId="ADAL" clId="{FD5E66A9-D36E-40B5-9161-8BB75765BB68}" dt="2025-10-12T20:41:56.891" v="1322" actId="478"/>
          <ac:cxnSpMkLst>
            <pc:docMk/>
            <pc:sldMk cId="3082993400" sldId="267"/>
            <ac:cxnSpMk id="40" creationId="{771AF3EE-5D12-4409-67B5-4486153FD340}"/>
          </ac:cxnSpMkLst>
        </pc:cxnChg>
        <pc:cxnChg chg="del mod">
          <ac:chgData name="John Paserba" userId="77bd6c8a-d0c1-4fea-8705-0169f65d0c0e" providerId="ADAL" clId="{FD5E66A9-D36E-40B5-9161-8BB75765BB68}" dt="2025-10-12T20:42:00.086" v="1325" actId="478"/>
          <ac:cxnSpMkLst>
            <pc:docMk/>
            <pc:sldMk cId="3082993400" sldId="267"/>
            <ac:cxnSpMk id="45" creationId="{6ABDA59D-FE38-98B6-8B8D-A1FE0B517150}"/>
          </ac:cxnSpMkLst>
        </pc:cxnChg>
        <pc:cxnChg chg="del mod">
          <ac:chgData name="John Paserba" userId="77bd6c8a-d0c1-4fea-8705-0169f65d0c0e" providerId="ADAL" clId="{FD5E66A9-D36E-40B5-9161-8BB75765BB68}" dt="2025-10-12T20:42:01.337" v="1326" actId="478"/>
          <ac:cxnSpMkLst>
            <pc:docMk/>
            <pc:sldMk cId="3082993400" sldId="267"/>
            <ac:cxnSpMk id="50" creationId="{11C328F9-A7CF-7D68-E26C-FCEEB5198891}"/>
          </ac:cxnSpMkLst>
        </pc:cxnChg>
        <pc:cxnChg chg="del mod">
          <ac:chgData name="John Paserba" userId="77bd6c8a-d0c1-4fea-8705-0169f65d0c0e" providerId="ADAL" clId="{FD5E66A9-D36E-40B5-9161-8BB75765BB68}" dt="2025-10-12T20:41:57.610" v="1323" actId="478"/>
          <ac:cxnSpMkLst>
            <pc:docMk/>
            <pc:sldMk cId="3082993400" sldId="267"/>
            <ac:cxnSpMk id="108" creationId="{368934CC-AB64-EAAA-A5F4-02D692ED1216}"/>
          </ac:cxnSpMkLst>
        </pc:cxnChg>
      </pc:sldChg>
      <pc:sldChg chg="add del">
        <pc:chgData name="John Paserba" userId="77bd6c8a-d0c1-4fea-8705-0169f65d0c0e" providerId="ADAL" clId="{FD5E66A9-D36E-40B5-9161-8BB75765BB68}" dt="2025-10-13T00:47:36.128" v="3395" actId="47"/>
        <pc:sldMkLst>
          <pc:docMk/>
          <pc:sldMk cId="3848971772" sldId="721"/>
        </pc:sldMkLst>
      </pc:sldChg>
      <pc:sldChg chg="add del">
        <pc:chgData name="John Paserba" userId="77bd6c8a-d0c1-4fea-8705-0169f65d0c0e" providerId="ADAL" clId="{FD5E66A9-D36E-40B5-9161-8BB75765BB68}" dt="2025-10-14T02:33:18.412" v="4911" actId="47"/>
        <pc:sldMkLst>
          <pc:docMk/>
          <pc:sldMk cId="70771223" sldId="741"/>
        </pc:sldMkLst>
      </pc:sldChg>
      <pc:sldChg chg="modSp add mod">
        <pc:chgData name="John Paserba" userId="77bd6c8a-d0c1-4fea-8705-0169f65d0c0e" providerId="ADAL" clId="{FD5E66A9-D36E-40B5-9161-8BB75765BB68}" dt="2025-10-13T02:03:03.455" v="3844" actId="14100"/>
        <pc:sldMkLst>
          <pc:docMk/>
          <pc:sldMk cId="1580111595" sldId="752"/>
        </pc:sldMkLst>
        <pc:picChg chg="mod">
          <ac:chgData name="John Paserba" userId="77bd6c8a-d0c1-4fea-8705-0169f65d0c0e" providerId="ADAL" clId="{FD5E66A9-D36E-40B5-9161-8BB75765BB68}" dt="2025-10-13T02:03:03.455" v="3844" actId="14100"/>
          <ac:picMkLst>
            <pc:docMk/>
            <pc:sldMk cId="1580111595" sldId="752"/>
            <ac:picMk id="41" creationId="{5CC37966-603E-4E6D-8899-E07957013D4B}"/>
          </ac:picMkLst>
        </pc:picChg>
      </pc:sldChg>
      <pc:sldChg chg="modSp add mod">
        <pc:chgData name="John Paserba" userId="77bd6c8a-d0c1-4fea-8705-0169f65d0c0e" providerId="ADAL" clId="{FD5E66A9-D36E-40B5-9161-8BB75765BB68}" dt="2025-10-13T02:10:43.443" v="3937" actId="948"/>
        <pc:sldMkLst>
          <pc:docMk/>
          <pc:sldMk cId="1276255128" sldId="2147471078"/>
        </pc:sldMkLst>
        <pc:spChg chg="mod">
          <ac:chgData name="John Paserba" userId="77bd6c8a-d0c1-4fea-8705-0169f65d0c0e" providerId="ADAL" clId="{FD5E66A9-D36E-40B5-9161-8BB75765BB68}" dt="2025-10-13T02:10:43.443" v="3937" actId="948"/>
          <ac:spMkLst>
            <pc:docMk/>
            <pc:sldMk cId="1276255128" sldId="2147471078"/>
            <ac:spMk id="3" creationId="{E6993746-A424-4F09-867F-B919F4E18ECB}"/>
          </ac:spMkLst>
        </pc:spChg>
        <pc:spChg chg="mod">
          <ac:chgData name="John Paserba" userId="77bd6c8a-d0c1-4fea-8705-0169f65d0c0e" providerId="ADAL" clId="{FD5E66A9-D36E-40B5-9161-8BB75765BB68}" dt="2025-10-13T00:48:15.613" v="3400"/>
          <ac:spMkLst>
            <pc:docMk/>
            <pc:sldMk cId="1276255128" sldId="2147471078"/>
            <ac:spMk id="3328002" creationId="{00000000-0000-0000-0000-000000000000}"/>
          </ac:spMkLst>
        </pc:spChg>
      </pc:sldChg>
      <pc:sldChg chg="modSp add">
        <pc:chgData name="John Paserba" userId="77bd6c8a-d0c1-4fea-8705-0169f65d0c0e" providerId="ADAL" clId="{FD5E66A9-D36E-40B5-9161-8BB75765BB68}" dt="2025-10-13T00:48:19.257" v="3401"/>
        <pc:sldMkLst>
          <pc:docMk/>
          <pc:sldMk cId="4104312237" sldId="2147471079"/>
        </pc:sldMkLst>
        <pc:spChg chg="mod">
          <ac:chgData name="John Paserba" userId="77bd6c8a-d0c1-4fea-8705-0169f65d0c0e" providerId="ADAL" clId="{FD5E66A9-D36E-40B5-9161-8BB75765BB68}" dt="2025-10-13T00:48:19.257" v="3401"/>
          <ac:spMkLst>
            <pc:docMk/>
            <pc:sldMk cId="4104312237" sldId="2147471079"/>
            <ac:spMk id="2" creationId="{00000000-0000-0000-0000-000000000000}"/>
          </ac:spMkLst>
        </pc:spChg>
      </pc:sldChg>
      <pc:sldChg chg="modSp add mod">
        <pc:chgData name="John Paserba" userId="77bd6c8a-d0c1-4fea-8705-0169f65d0c0e" providerId="ADAL" clId="{FD5E66A9-D36E-40B5-9161-8BB75765BB68}" dt="2025-10-13T02:09:32.619" v="3918" actId="207"/>
        <pc:sldMkLst>
          <pc:docMk/>
          <pc:sldMk cId="2116055831" sldId="2147471099"/>
        </pc:sldMkLst>
        <pc:spChg chg="mod">
          <ac:chgData name="John Paserba" userId="77bd6c8a-d0c1-4fea-8705-0169f65d0c0e" providerId="ADAL" clId="{FD5E66A9-D36E-40B5-9161-8BB75765BB68}" dt="2025-10-13T00:47:59.246" v="3396"/>
          <ac:spMkLst>
            <pc:docMk/>
            <pc:sldMk cId="2116055831" sldId="2147471099"/>
            <ac:spMk id="2" creationId="{00000000-0000-0000-0000-000000000000}"/>
          </ac:spMkLst>
        </pc:spChg>
        <pc:spChg chg="mod">
          <ac:chgData name="John Paserba" userId="77bd6c8a-d0c1-4fea-8705-0169f65d0c0e" providerId="ADAL" clId="{FD5E66A9-D36E-40B5-9161-8BB75765BB68}" dt="2025-10-13T02:09:32.619" v="3918" actId="207"/>
          <ac:spMkLst>
            <pc:docMk/>
            <pc:sldMk cId="2116055831" sldId="2147471099"/>
            <ac:spMk id="5" creationId="{00000000-0000-0000-0000-000000000000}"/>
          </ac:spMkLst>
        </pc:spChg>
      </pc:sldChg>
      <pc:sldChg chg="modSp add mod">
        <pc:chgData name="John Paserba" userId="77bd6c8a-d0c1-4fea-8705-0169f65d0c0e" providerId="ADAL" clId="{FD5E66A9-D36E-40B5-9161-8BB75765BB68}" dt="2025-10-13T02:09:56.578" v="3924" actId="207"/>
        <pc:sldMkLst>
          <pc:docMk/>
          <pc:sldMk cId="1905327253" sldId="2147471104"/>
        </pc:sldMkLst>
        <pc:spChg chg="mod">
          <ac:chgData name="John Paserba" userId="77bd6c8a-d0c1-4fea-8705-0169f65d0c0e" providerId="ADAL" clId="{FD5E66A9-D36E-40B5-9161-8BB75765BB68}" dt="2025-10-13T00:48:05.903" v="3398"/>
          <ac:spMkLst>
            <pc:docMk/>
            <pc:sldMk cId="1905327253" sldId="2147471104"/>
            <ac:spMk id="2" creationId="{391CC949-76C8-2774-251C-8B51B7F6EB22}"/>
          </ac:spMkLst>
        </pc:spChg>
        <pc:spChg chg="mod">
          <ac:chgData name="John Paserba" userId="77bd6c8a-d0c1-4fea-8705-0169f65d0c0e" providerId="ADAL" clId="{FD5E66A9-D36E-40B5-9161-8BB75765BB68}" dt="2025-10-13T02:09:56.578" v="3924" actId="207"/>
          <ac:spMkLst>
            <pc:docMk/>
            <pc:sldMk cId="1905327253" sldId="2147471104"/>
            <ac:spMk id="3" creationId="{C7E63D57-1DFE-34B1-3170-34F96412855C}"/>
          </ac:spMkLst>
        </pc:spChg>
      </pc:sldChg>
      <pc:sldChg chg="modSp add">
        <pc:chgData name="John Paserba" userId="77bd6c8a-d0c1-4fea-8705-0169f65d0c0e" providerId="ADAL" clId="{FD5E66A9-D36E-40B5-9161-8BB75765BB68}" dt="2025-10-13T00:48:03.082" v="3397"/>
        <pc:sldMkLst>
          <pc:docMk/>
          <pc:sldMk cId="1466334429" sldId="2147471116"/>
        </pc:sldMkLst>
        <pc:spChg chg="mod">
          <ac:chgData name="John Paserba" userId="77bd6c8a-d0c1-4fea-8705-0169f65d0c0e" providerId="ADAL" clId="{FD5E66A9-D36E-40B5-9161-8BB75765BB68}" dt="2025-10-13T00:48:03.082" v="3397"/>
          <ac:spMkLst>
            <pc:docMk/>
            <pc:sldMk cId="1466334429" sldId="2147471116"/>
            <ac:spMk id="2" creationId="{E023DA16-09A1-34B1-8C00-F948BA5C7203}"/>
          </ac:spMkLst>
        </pc:spChg>
      </pc:sldChg>
      <pc:sldChg chg="addSp delSp modSp add mod">
        <pc:chgData name="John Paserba" userId="77bd6c8a-d0c1-4fea-8705-0169f65d0c0e" providerId="ADAL" clId="{FD5E66A9-D36E-40B5-9161-8BB75765BB68}" dt="2025-10-13T00:37:41.470" v="3308" actId="20577"/>
        <pc:sldMkLst>
          <pc:docMk/>
          <pc:sldMk cId="4022853053" sldId="2147471138"/>
        </pc:sldMkLst>
        <pc:spChg chg="mod">
          <ac:chgData name="John Paserba" userId="77bd6c8a-d0c1-4fea-8705-0169f65d0c0e" providerId="ADAL" clId="{FD5E66A9-D36E-40B5-9161-8BB75765BB68}" dt="2025-10-13T00:24:32.440" v="3184" actId="255"/>
          <ac:spMkLst>
            <pc:docMk/>
            <pc:sldMk cId="4022853053" sldId="2147471138"/>
            <ac:spMk id="2" creationId="{00000000-0000-0000-0000-000000000000}"/>
          </ac:spMkLst>
        </pc:spChg>
        <pc:spChg chg="del">
          <ac:chgData name="John Paserba" userId="77bd6c8a-d0c1-4fea-8705-0169f65d0c0e" providerId="ADAL" clId="{FD5E66A9-D36E-40B5-9161-8BB75765BB68}" dt="2025-10-13T00:37:23.613" v="3294" actId="478"/>
          <ac:spMkLst>
            <pc:docMk/>
            <pc:sldMk cId="4022853053" sldId="2147471138"/>
            <ac:spMk id="3" creationId="{E5856207-E6F6-4FD7-9AFC-DA4D6AE5ECA2}"/>
          </ac:spMkLst>
        </pc:spChg>
        <pc:spChg chg="add mod">
          <ac:chgData name="John Paserba" userId="77bd6c8a-d0c1-4fea-8705-0169f65d0c0e" providerId="ADAL" clId="{FD5E66A9-D36E-40B5-9161-8BB75765BB68}" dt="2025-10-13T00:37:41.470" v="3308" actId="20577"/>
          <ac:spMkLst>
            <pc:docMk/>
            <pc:sldMk cId="4022853053" sldId="2147471138"/>
            <ac:spMk id="14" creationId="{6E761FC8-9F26-4B09-BB08-C347C17E1554}"/>
          </ac:spMkLst>
        </pc:spChg>
      </pc:sldChg>
      <pc:sldChg chg="modSp mod">
        <pc:chgData name="John Paserba" userId="77bd6c8a-d0c1-4fea-8705-0169f65d0c0e" providerId="ADAL" clId="{FD5E66A9-D36E-40B5-9161-8BB75765BB68}" dt="2025-10-12T03:31:04.605" v="41" actId="14100"/>
        <pc:sldMkLst>
          <pc:docMk/>
          <pc:sldMk cId="3260108025" sldId="2147471143"/>
        </pc:sldMkLst>
        <pc:spChg chg="mod">
          <ac:chgData name="John Paserba" userId="77bd6c8a-d0c1-4fea-8705-0169f65d0c0e" providerId="ADAL" clId="{FD5E66A9-D36E-40B5-9161-8BB75765BB68}" dt="2025-10-12T03:31:04.605" v="41" actId="14100"/>
          <ac:spMkLst>
            <pc:docMk/>
            <pc:sldMk cId="3260108025" sldId="2147471143"/>
            <ac:spMk id="12" creationId="{F45E667D-D9ED-4BE1-999E-2A4766484A8F}"/>
          </ac:spMkLst>
        </pc:spChg>
      </pc:sldChg>
      <pc:sldChg chg="add">
        <pc:chgData name="John Paserba" userId="77bd6c8a-d0c1-4fea-8705-0169f65d0c0e" providerId="ADAL" clId="{FD5E66A9-D36E-40B5-9161-8BB75765BB68}" dt="2025-10-13T00:23:43.142" v="3172"/>
        <pc:sldMkLst>
          <pc:docMk/>
          <pc:sldMk cId="2966926703" sldId="2147471155"/>
        </pc:sldMkLst>
      </pc:sldChg>
      <pc:sldChg chg="add">
        <pc:chgData name="John Paserba" userId="77bd6c8a-d0c1-4fea-8705-0169f65d0c0e" providerId="ADAL" clId="{FD5E66A9-D36E-40B5-9161-8BB75765BB68}" dt="2025-10-13T00:47:01.257" v="3392"/>
        <pc:sldMkLst>
          <pc:docMk/>
          <pc:sldMk cId="3796276003" sldId="2147471156"/>
        </pc:sldMkLst>
      </pc:sldChg>
      <pc:sldChg chg="addSp modSp add">
        <pc:chgData name="John Paserba" userId="77bd6c8a-d0c1-4fea-8705-0169f65d0c0e" providerId="ADAL" clId="{FD5E66A9-D36E-40B5-9161-8BB75765BB68}" dt="2025-10-13T00:56:28.298" v="3517"/>
        <pc:sldMkLst>
          <pc:docMk/>
          <pc:sldMk cId="2731003306" sldId="2147471166"/>
        </pc:sldMkLst>
        <pc:spChg chg="mod">
          <ac:chgData name="John Paserba" userId="77bd6c8a-d0c1-4fea-8705-0169f65d0c0e" providerId="ADAL" clId="{FD5E66A9-D36E-40B5-9161-8BB75765BB68}" dt="2025-10-13T00:24:37.707" v="3185"/>
          <ac:spMkLst>
            <pc:docMk/>
            <pc:sldMk cId="2731003306" sldId="2147471166"/>
            <ac:spMk id="2" creationId="{00000000-0000-0000-0000-000000000000}"/>
          </ac:spMkLst>
        </pc:spChg>
        <pc:picChg chg="add mod">
          <ac:chgData name="John Paserba" userId="77bd6c8a-d0c1-4fea-8705-0169f65d0c0e" providerId="ADAL" clId="{FD5E66A9-D36E-40B5-9161-8BB75765BB68}" dt="2025-10-13T00:56:28.298" v="3517"/>
          <ac:picMkLst>
            <pc:docMk/>
            <pc:sldMk cId="2731003306" sldId="2147471166"/>
            <ac:picMk id="9" creationId="{D508B5C4-2F14-4D9D-9AAB-8E80B4662EE8}"/>
          </ac:picMkLst>
        </pc:picChg>
      </pc:sldChg>
      <pc:sldChg chg="modSp add">
        <pc:chgData name="John Paserba" userId="77bd6c8a-d0c1-4fea-8705-0169f65d0c0e" providerId="ADAL" clId="{FD5E66A9-D36E-40B5-9161-8BB75765BB68}" dt="2025-10-13T00:24:47.758" v="3187"/>
        <pc:sldMkLst>
          <pc:docMk/>
          <pc:sldMk cId="1003682398" sldId="2147471204"/>
        </pc:sldMkLst>
        <pc:spChg chg="mod">
          <ac:chgData name="John Paserba" userId="77bd6c8a-d0c1-4fea-8705-0169f65d0c0e" providerId="ADAL" clId="{FD5E66A9-D36E-40B5-9161-8BB75765BB68}" dt="2025-10-13T00:24:47.758" v="3187"/>
          <ac:spMkLst>
            <pc:docMk/>
            <pc:sldMk cId="1003682398" sldId="2147471204"/>
            <ac:spMk id="2" creationId="{6D8A165E-458A-41C5-8EC0-ED887338CD4B}"/>
          </ac:spMkLst>
        </pc:spChg>
      </pc:sldChg>
      <pc:sldChg chg="modSp add mod">
        <pc:chgData name="John Paserba" userId="77bd6c8a-d0c1-4fea-8705-0169f65d0c0e" providerId="ADAL" clId="{FD5E66A9-D36E-40B5-9161-8BB75765BB68}" dt="2025-10-13T02:09:02.586" v="3911" actId="20577"/>
        <pc:sldMkLst>
          <pc:docMk/>
          <pc:sldMk cId="2759419585" sldId="2147471206"/>
        </pc:sldMkLst>
        <pc:spChg chg="mod">
          <ac:chgData name="John Paserba" userId="77bd6c8a-d0c1-4fea-8705-0169f65d0c0e" providerId="ADAL" clId="{FD5E66A9-D36E-40B5-9161-8BB75765BB68}" dt="2025-10-13T00:24:56.719" v="3189"/>
          <ac:spMkLst>
            <pc:docMk/>
            <pc:sldMk cId="2759419585" sldId="2147471206"/>
            <ac:spMk id="2" creationId="{6D8A165E-458A-41C5-8EC0-ED887338CD4B}"/>
          </ac:spMkLst>
        </pc:spChg>
        <pc:spChg chg="mod">
          <ac:chgData name="John Paserba" userId="77bd6c8a-d0c1-4fea-8705-0169f65d0c0e" providerId="ADAL" clId="{FD5E66A9-D36E-40B5-9161-8BB75765BB68}" dt="2025-10-13T02:09:02.586" v="3911" actId="20577"/>
          <ac:spMkLst>
            <pc:docMk/>
            <pc:sldMk cId="2759419585" sldId="2147471206"/>
            <ac:spMk id="4" creationId="{C2C99258-52AB-4386-BD92-908479CB2924}"/>
          </ac:spMkLst>
        </pc:spChg>
      </pc:sldChg>
      <pc:sldChg chg="modSp add mod">
        <pc:chgData name="John Paserba" userId="77bd6c8a-d0c1-4fea-8705-0169f65d0c0e" providerId="ADAL" clId="{FD5E66A9-D36E-40B5-9161-8BB75765BB68}" dt="2025-10-13T02:09:10.121" v="3912" actId="207"/>
        <pc:sldMkLst>
          <pc:docMk/>
          <pc:sldMk cId="877866503" sldId="2147471207"/>
        </pc:sldMkLst>
        <pc:spChg chg="mod">
          <ac:chgData name="John Paserba" userId="77bd6c8a-d0c1-4fea-8705-0169f65d0c0e" providerId="ADAL" clId="{FD5E66A9-D36E-40B5-9161-8BB75765BB68}" dt="2025-10-13T00:25:01.221" v="3190"/>
          <ac:spMkLst>
            <pc:docMk/>
            <pc:sldMk cId="877866503" sldId="2147471207"/>
            <ac:spMk id="2" creationId="{6D8A165E-458A-41C5-8EC0-ED887338CD4B}"/>
          </ac:spMkLst>
        </pc:spChg>
        <pc:spChg chg="mod">
          <ac:chgData name="John Paserba" userId="77bd6c8a-d0c1-4fea-8705-0169f65d0c0e" providerId="ADAL" clId="{FD5E66A9-D36E-40B5-9161-8BB75765BB68}" dt="2025-10-13T02:09:10.121" v="3912" actId="207"/>
          <ac:spMkLst>
            <pc:docMk/>
            <pc:sldMk cId="877866503" sldId="2147471207"/>
            <ac:spMk id="4" creationId="{C2C99258-52AB-4386-BD92-908479CB2924}"/>
          </ac:spMkLst>
        </pc:spChg>
      </pc:sldChg>
      <pc:sldChg chg="addSp modSp add mod">
        <pc:chgData name="John Paserba" userId="77bd6c8a-d0c1-4fea-8705-0169f65d0c0e" providerId="ADAL" clId="{FD5E66A9-D36E-40B5-9161-8BB75765BB68}" dt="2025-10-13T02:07:25.932" v="3886" actId="207"/>
        <pc:sldMkLst>
          <pc:docMk/>
          <pc:sldMk cId="3585007938" sldId="2147471248"/>
        </pc:sldMkLst>
        <pc:spChg chg="mod">
          <ac:chgData name="John Paserba" userId="77bd6c8a-d0c1-4fea-8705-0169f65d0c0e" providerId="ADAL" clId="{FD5E66A9-D36E-40B5-9161-8BB75765BB68}" dt="2025-10-13T00:56:41.272" v="3521" actId="255"/>
          <ac:spMkLst>
            <pc:docMk/>
            <pc:sldMk cId="3585007938" sldId="2147471248"/>
            <ac:spMk id="2" creationId="{E023DA16-09A1-34B1-8C00-F948BA5C7203}"/>
          </ac:spMkLst>
        </pc:spChg>
        <pc:spChg chg="mod">
          <ac:chgData name="John Paserba" userId="77bd6c8a-d0c1-4fea-8705-0169f65d0c0e" providerId="ADAL" clId="{FD5E66A9-D36E-40B5-9161-8BB75765BB68}" dt="2025-10-13T02:07:25.932" v="3886" actId="207"/>
          <ac:spMkLst>
            <pc:docMk/>
            <pc:sldMk cId="3585007938" sldId="2147471248"/>
            <ac:spMk id="18" creationId="{CADD148C-2D49-4556-B032-6F772041CF75}"/>
          </ac:spMkLst>
        </pc:spChg>
        <pc:spChg chg="mod">
          <ac:chgData name="John Paserba" userId="77bd6c8a-d0c1-4fea-8705-0169f65d0c0e" providerId="ADAL" clId="{FD5E66A9-D36E-40B5-9161-8BB75765BB68}" dt="2025-10-13T02:07:05.935" v="3880" actId="207"/>
          <ac:spMkLst>
            <pc:docMk/>
            <pc:sldMk cId="3585007938" sldId="2147471248"/>
            <ac:spMk id="50" creationId="{F2B7911D-B5B5-8C0D-DFE8-63D160DFFB76}"/>
          </ac:spMkLst>
        </pc:spChg>
        <pc:spChg chg="mod">
          <ac:chgData name="John Paserba" userId="77bd6c8a-d0c1-4fea-8705-0169f65d0c0e" providerId="ADAL" clId="{FD5E66A9-D36E-40B5-9161-8BB75765BB68}" dt="2025-10-13T02:07:18.461" v="3884" actId="207"/>
          <ac:spMkLst>
            <pc:docMk/>
            <pc:sldMk cId="3585007938" sldId="2147471248"/>
            <ac:spMk id="51" creationId="{421937AB-F4B3-6299-3DDF-8FDDB558F98F}"/>
          </ac:spMkLst>
        </pc:spChg>
        <pc:spChg chg="mod">
          <ac:chgData name="John Paserba" userId="77bd6c8a-d0c1-4fea-8705-0169f65d0c0e" providerId="ADAL" clId="{FD5E66A9-D36E-40B5-9161-8BB75765BB68}" dt="2025-10-13T02:07:09.677" v="3881" actId="207"/>
          <ac:spMkLst>
            <pc:docMk/>
            <pc:sldMk cId="3585007938" sldId="2147471248"/>
            <ac:spMk id="53" creationId="{06373853-8040-25F1-99BE-7949D5E1AA6E}"/>
          </ac:spMkLst>
        </pc:spChg>
        <pc:spChg chg="mod">
          <ac:chgData name="John Paserba" userId="77bd6c8a-d0c1-4fea-8705-0169f65d0c0e" providerId="ADAL" clId="{FD5E66A9-D36E-40B5-9161-8BB75765BB68}" dt="2025-10-13T02:07:02.304" v="3879" actId="207"/>
          <ac:spMkLst>
            <pc:docMk/>
            <pc:sldMk cId="3585007938" sldId="2147471248"/>
            <ac:spMk id="54" creationId="{EF8A83E3-C6C3-B755-9A9E-57B0BD79051C}"/>
          </ac:spMkLst>
        </pc:spChg>
        <pc:picChg chg="add mod">
          <ac:chgData name="John Paserba" userId="77bd6c8a-d0c1-4fea-8705-0169f65d0c0e" providerId="ADAL" clId="{FD5E66A9-D36E-40B5-9161-8BB75765BB68}" dt="2025-10-13T00:56:32.164" v="3518"/>
          <ac:picMkLst>
            <pc:docMk/>
            <pc:sldMk cId="3585007938" sldId="2147471248"/>
            <ac:picMk id="20" creationId="{EBC882C7-AABC-4D8A-8E09-39E08FA84629}"/>
          </ac:picMkLst>
        </pc:picChg>
      </pc:sldChg>
      <pc:sldChg chg="modSp mod">
        <pc:chgData name="John Paserba" userId="77bd6c8a-d0c1-4fea-8705-0169f65d0c0e" providerId="ADAL" clId="{FD5E66A9-D36E-40B5-9161-8BB75765BB68}" dt="2025-10-14T03:23:11.508" v="5277" actId="207"/>
        <pc:sldMkLst>
          <pc:docMk/>
          <pc:sldMk cId="1030336954" sldId="2147471252"/>
        </pc:sldMkLst>
        <pc:spChg chg="mod">
          <ac:chgData name="John Paserba" userId="77bd6c8a-d0c1-4fea-8705-0169f65d0c0e" providerId="ADAL" clId="{FD5E66A9-D36E-40B5-9161-8BB75765BB68}" dt="2025-10-14T03:23:11.508" v="5277" actId="207"/>
          <ac:spMkLst>
            <pc:docMk/>
            <pc:sldMk cId="1030336954" sldId="2147471252"/>
            <ac:spMk id="3" creationId="{E6993746-A424-4F09-867F-B919F4E18ECB}"/>
          </ac:spMkLst>
        </pc:spChg>
        <pc:spChg chg="mod">
          <ac:chgData name="John Paserba" userId="77bd6c8a-d0c1-4fea-8705-0169f65d0c0e" providerId="ADAL" clId="{FD5E66A9-D36E-40B5-9161-8BB75765BB68}" dt="2025-10-13T00:20:13.263" v="3166"/>
          <ac:spMkLst>
            <pc:docMk/>
            <pc:sldMk cId="1030336954" sldId="2147471252"/>
            <ac:spMk id="3328002" creationId="{00000000-0000-0000-0000-000000000000}"/>
          </ac:spMkLst>
        </pc:spChg>
      </pc:sldChg>
      <pc:sldChg chg="addSp delSp modSp mod">
        <pc:chgData name="John Paserba" userId="77bd6c8a-d0c1-4fea-8705-0169f65d0c0e" providerId="ADAL" clId="{FD5E66A9-D36E-40B5-9161-8BB75765BB68}" dt="2025-10-14T01:58:23.240" v="4819" actId="478"/>
        <pc:sldMkLst>
          <pc:docMk/>
          <pc:sldMk cId="2351575374" sldId="2147471318"/>
        </pc:sldMkLst>
        <pc:spChg chg="mod">
          <ac:chgData name="John Paserba" userId="77bd6c8a-d0c1-4fea-8705-0169f65d0c0e" providerId="ADAL" clId="{FD5E66A9-D36E-40B5-9161-8BB75765BB68}" dt="2025-10-12T21:35:45.308" v="1733"/>
          <ac:spMkLst>
            <pc:docMk/>
            <pc:sldMk cId="2351575374" sldId="2147471318"/>
            <ac:spMk id="6" creationId="{00000000-0000-0000-0000-000000000000}"/>
          </ac:spMkLst>
        </pc:spChg>
        <pc:spChg chg="del">
          <ac:chgData name="John Paserba" userId="77bd6c8a-d0c1-4fea-8705-0169f65d0c0e" providerId="ADAL" clId="{FD5E66A9-D36E-40B5-9161-8BB75765BB68}" dt="2025-10-12T16:40:24.932" v="691" actId="478"/>
          <ac:spMkLst>
            <pc:docMk/>
            <pc:sldMk cId="2351575374" sldId="2147471318"/>
            <ac:spMk id="10" creationId="{B440C85E-F5C3-48E1-8D20-CB502400775C}"/>
          </ac:spMkLst>
        </pc:spChg>
        <pc:spChg chg="del">
          <ac:chgData name="John Paserba" userId="77bd6c8a-d0c1-4fea-8705-0169f65d0c0e" providerId="ADAL" clId="{FD5E66A9-D36E-40B5-9161-8BB75765BB68}" dt="2025-10-12T16:41:14.632" v="797" actId="478"/>
          <ac:spMkLst>
            <pc:docMk/>
            <pc:sldMk cId="2351575374" sldId="2147471318"/>
            <ac:spMk id="11" creationId="{298B1825-4D02-447F-AFC9-E2F05BF5073D}"/>
          </ac:spMkLst>
        </pc:spChg>
        <pc:spChg chg="add del mod">
          <ac:chgData name="John Paserba" userId="77bd6c8a-d0c1-4fea-8705-0169f65d0c0e" providerId="ADAL" clId="{FD5E66A9-D36E-40B5-9161-8BB75765BB68}" dt="2025-10-14T01:58:23.240" v="4819" actId="478"/>
          <ac:spMkLst>
            <pc:docMk/>
            <pc:sldMk cId="2351575374" sldId="2147471318"/>
            <ac:spMk id="12" creationId="{2FE864D8-B118-45E7-BCDC-269AB89A6566}"/>
          </ac:spMkLst>
        </pc:spChg>
        <pc:graphicFrameChg chg="mod">
          <ac:chgData name="John Paserba" userId="77bd6c8a-d0c1-4fea-8705-0169f65d0c0e" providerId="ADAL" clId="{FD5E66A9-D36E-40B5-9161-8BB75765BB68}" dt="2025-10-12T16:41:20.787" v="798"/>
          <ac:graphicFrameMkLst>
            <pc:docMk/>
            <pc:sldMk cId="2351575374" sldId="2147471318"/>
            <ac:graphicFrameMk id="5" creationId="{00000000-0000-0000-0000-000000000000}"/>
          </ac:graphicFrameMkLst>
        </pc:graphicFrameChg>
        <pc:graphicFrameChg chg="modGraphic">
          <ac:chgData name="John Paserba" userId="77bd6c8a-d0c1-4fea-8705-0169f65d0c0e" providerId="ADAL" clId="{FD5E66A9-D36E-40B5-9161-8BB75765BB68}" dt="2025-10-12T21:47:58.998" v="1935" actId="20577"/>
          <ac:graphicFrameMkLst>
            <pc:docMk/>
            <pc:sldMk cId="2351575374" sldId="2147471318"/>
            <ac:graphicFrameMk id="7" creationId="{3FA285DF-14FF-4E58-B4AA-7349E80126A6}"/>
          </ac:graphicFrameMkLst>
        </pc:graphicFrameChg>
        <pc:graphicFrameChg chg="modGraphic">
          <ac:chgData name="John Paserba" userId="77bd6c8a-d0c1-4fea-8705-0169f65d0c0e" providerId="ADAL" clId="{FD5E66A9-D36E-40B5-9161-8BB75765BB68}" dt="2025-10-12T21:47:54.768" v="1933" actId="20577"/>
          <ac:graphicFrameMkLst>
            <pc:docMk/>
            <pc:sldMk cId="2351575374" sldId="2147471318"/>
            <ac:graphicFrameMk id="9" creationId="{3B3B08A5-4470-463B-81EC-731E80F1025A}"/>
          </ac:graphicFrameMkLst>
        </pc:graphicFrameChg>
      </pc:sldChg>
      <pc:sldChg chg="modSp">
        <pc:chgData name="John Paserba" userId="77bd6c8a-d0c1-4fea-8705-0169f65d0c0e" providerId="ADAL" clId="{FD5E66A9-D36E-40B5-9161-8BB75765BB68}" dt="2025-10-12T23:03:07.636" v="2875"/>
        <pc:sldMkLst>
          <pc:docMk/>
          <pc:sldMk cId="4140064540" sldId="2147471320"/>
        </pc:sldMkLst>
        <pc:spChg chg="mod">
          <ac:chgData name="John Paserba" userId="77bd6c8a-d0c1-4fea-8705-0169f65d0c0e" providerId="ADAL" clId="{FD5E66A9-D36E-40B5-9161-8BB75765BB68}" dt="2025-10-12T23:03:07.636" v="2875"/>
          <ac:spMkLst>
            <pc:docMk/>
            <pc:sldMk cId="4140064540" sldId="2147471320"/>
            <ac:spMk id="2" creationId="{00000000-0000-0000-0000-000000000000}"/>
          </ac:spMkLst>
        </pc:spChg>
      </pc:sldChg>
      <pc:sldChg chg="modSp mod">
        <pc:chgData name="John Paserba" userId="77bd6c8a-d0c1-4fea-8705-0169f65d0c0e" providerId="ADAL" clId="{FD5E66A9-D36E-40B5-9161-8BB75765BB68}" dt="2025-10-14T03:22:14.759" v="5266" actId="207"/>
        <pc:sldMkLst>
          <pc:docMk/>
          <pc:sldMk cId="3068800632" sldId="2147471347"/>
        </pc:sldMkLst>
        <pc:spChg chg="mod">
          <ac:chgData name="John Paserba" userId="77bd6c8a-d0c1-4fea-8705-0169f65d0c0e" providerId="ADAL" clId="{FD5E66A9-D36E-40B5-9161-8BB75765BB68}" dt="2025-10-13T00:08:30.596" v="3044"/>
          <ac:spMkLst>
            <pc:docMk/>
            <pc:sldMk cId="3068800632" sldId="2147471347"/>
            <ac:spMk id="2" creationId="{00000000-0000-0000-0000-000000000000}"/>
          </ac:spMkLst>
        </pc:spChg>
        <pc:spChg chg="mod">
          <ac:chgData name="John Paserba" userId="77bd6c8a-d0c1-4fea-8705-0169f65d0c0e" providerId="ADAL" clId="{FD5E66A9-D36E-40B5-9161-8BB75765BB68}" dt="2025-10-14T03:22:14.759" v="5266" actId="207"/>
          <ac:spMkLst>
            <pc:docMk/>
            <pc:sldMk cId="3068800632" sldId="2147471347"/>
            <ac:spMk id="5" creationId="{00000000-0000-0000-0000-000000000000}"/>
          </ac:spMkLst>
        </pc:spChg>
        <pc:picChg chg="mod">
          <ac:chgData name="John Paserba" userId="77bd6c8a-d0c1-4fea-8705-0169f65d0c0e" providerId="ADAL" clId="{FD5E66A9-D36E-40B5-9161-8BB75765BB68}" dt="2025-10-13T00:09:48.467" v="3063" actId="1076"/>
          <ac:picMkLst>
            <pc:docMk/>
            <pc:sldMk cId="3068800632" sldId="2147471347"/>
            <ac:picMk id="10" creationId="{A2765D10-148C-4C02-96CF-AF421DB0A58F}"/>
          </ac:picMkLst>
        </pc:picChg>
      </pc:sldChg>
      <pc:sldChg chg="modSp mod">
        <pc:chgData name="John Paserba" userId="77bd6c8a-d0c1-4fea-8705-0169f65d0c0e" providerId="ADAL" clId="{FD5E66A9-D36E-40B5-9161-8BB75765BB68}" dt="2025-10-13T02:20:05.991" v="4056" actId="207"/>
        <pc:sldMkLst>
          <pc:docMk/>
          <pc:sldMk cId="279766797" sldId="2147471348"/>
        </pc:sldMkLst>
        <pc:spChg chg="mod">
          <ac:chgData name="John Paserba" userId="77bd6c8a-d0c1-4fea-8705-0169f65d0c0e" providerId="ADAL" clId="{FD5E66A9-D36E-40B5-9161-8BB75765BB68}" dt="2025-10-13T00:10:04.948" v="3064"/>
          <ac:spMkLst>
            <pc:docMk/>
            <pc:sldMk cId="279766797" sldId="2147471348"/>
            <ac:spMk id="2" creationId="{00000000-0000-0000-0000-000000000000}"/>
          </ac:spMkLst>
        </pc:spChg>
        <pc:spChg chg="mod">
          <ac:chgData name="John Paserba" userId="77bd6c8a-d0c1-4fea-8705-0169f65d0c0e" providerId="ADAL" clId="{FD5E66A9-D36E-40B5-9161-8BB75765BB68}" dt="2025-10-13T02:20:05.991" v="4056" actId="207"/>
          <ac:spMkLst>
            <pc:docMk/>
            <pc:sldMk cId="279766797" sldId="2147471348"/>
            <ac:spMk id="5" creationId="{00000000-0000-0000-0000-000000000000}"/>
          </ac:spMkLst>
        </pc:spChg>
        <pc:picChg chg="mod">
          <ac:chgData name="John Paserba" userId="77bd6c8a-d0c1-4fea-8705-0169f65d0c0e" providerId="ADAL" clId="{FD5E66A9-D36E-40B5-9161-8BB75765BB68}" dt="2025-10-13T00:10:22.841" v="3068" actId="1076"/>
          <ac:picMkLst>
            <pc:docMk/>
            <pc:sldMk cId="279766797" sldId="2147471348"/>
            <ac:picMk id="9" creationId="{E20AE2A9-F993-42C5-A714-538856F5AD40}"/>
          </ac:picMkLst>
        </pc:picChg>
      </pc:sldChg>
      <pc:sldChg chg="modSp mod">
        <pc:chgData name="John Paserba" userId="77bd6c8a-d0c1-4fea-8705-0169f65d0c0e" providerId="ADAL" clId="{FD5E66A9-D36E-40B5-9161-8BB75765BB68}" dt="2025-10-13T02:13:47.131" v="3973" actId="207"/>
        <pc:sldMkLst>
          <pc:docMk/>
          <pc:sldMk cId="3853639149" sldId="2147471350"/>
        </pc:sldMkLst>
        <pc:spChg chg="mod">
          <ac:chgData name="John Paserba" userId="77bd6c8a-d0c1-4fea-8705-0169f65d0c0e" providerId="ADAL" clId="{FD5E66A9-D36E-40B5-9161-8BB75765BB68}" dt="2025-10-13T00:11:32.699" v="3081"/>
          <ac:spMkLst>
            <pc:docMk/>
            <pc:sldMk cId="3853639149" sldId="2147471350"/>
            <ac:spMk id="2" creationId="{391CC949-76C8-2774-251C-8B51B7F6EB22}"/>
          </ac:spMkLst>
        </pc:spChg>
        <pc:spChg chg="mod">
          <ac:chgData name="John Paserba" userId="77bd6c8a-d0c1-4fea-8705-0169f65d0c0e" providerId="ADAL" clId="{FD5E66A9-D36E-40B5-9161-8BB75765BB68}" dt="2025-10-13T02:13:47.131" v="3973" actId="207"/>
          <ac:spMkLst>
            <pc:docMk/>
            <pc:sldMk cId="3853639149" sldId="2147471350"/>
            <ac:spMk id="3" creationId="{C7E63D57-1DFE-34B1-3170-34F96412855C}"/>
          </ac:spMkLst>
        </pc:spChg>
      </pc:sldChg>
      <pc:sldChg chg="modSp mod">
        <pc:chgData name="John Paserba" userId="77bd6c8a-d0c1-4fea-8705-0169f65d0c0e" providerId="ADAL" clId="{FD5E66A9-D36E-40B5-9161-8BB75765BB68}" dt="2025-10-14T03:26:27.508" v="5308" actId="20577"/>
        <pc:sldMkLst>
          <pc:docMk/>
          <pc:sldMk cId="637690621" sldId="2147471352"/>
        </pc:sldMkLst>
        <pc:spChg chg="mod">
          <ac:chgData name="John Paserba" userId="77bd6c8a-d0c1-4fea-8705-0169f65d0c0e" providerId="ADAL" clId="{FD5E66A9-D36E-40B5-9161-8BB75765BB68}" dt="2025-10-13T00:22:12.409" v="3171"/>
          <ac:spMkLst>
            <pc:docMk/>
            <pc:sldMk cId="637690621" sldId="2147471352"/>
            <ac:spMk id="2" creationId="{00000000-0000-0000-0000-000000000000}"/>
          </ac:spMkLst>
        </pc:spChg>
        <pc:graphicFrameChg chg="mod modGraphic">
          <ac:chgData name="John Paserba" userId="77bd6c8a-d0c1-4fea-8705-0169f65d0c0e" providerId="ADAL" clId="{FD5E66A9-D36E-40B5-9161-8BB75765BB68}" dt="2025-10-14T03:26:27.508" v="5308" actId="20577"/>
          <ac:graphicFrameMkLst>
            <pc:docMk/>
            <pc:sldMk cId="637690621" sldId="2147471352"/>
            <ac:graphicFrameMk id="5" creationId="{1DB31D69-4CC7-4A3F-87DF-A60F4EBC0925}"/>
          </ac:graphicFrameMkLst>
        </pc:graphicFrameChg>
      </pc:sldChg>
      <pc:sldChg chg="modSp mod">
        <pc:chgData name="John Paserba" userId="77bd6c8a-d0c1-4fea-8705-0169f65d0c0e" providerId="ADAL" clId="{FD5E66A9-D36E-40B5-9161-8BB75765BB68}" dt="2025-10-13T02:13:37.252" v="3971" actId="207"/>
        <pc:sldMkLst>
          <pc:docMk/>
          <pc:sldMk cId="3319730970" sldId="2147471354"/>
        </pc:sldMkLst>
        <pc:spChg chg="mod">
          <ac:chgData name="John Paserba" userId="77bd6c8a-d0c1-4fea-8705-0169f65d0c0e" providerId="ADAL" clId="{FD5E66A9-D36E-40B5-9161-8BB75765BB68}" dt="2025-10-13T02:13:37.252" v="3971" actId="207"/>
          <ac:spMkLst>
            <pc:docMk/>
            <pc:sldMk cId="3319730970" sldId="2147471354"/>
            <ac:spMk id="3" creationId="{E6993746-A424-4F09-867F-B919F4E18ECB}"/>
          </ac:spMkLst>
        </pc:spChg>
        <pc:spChg chg="mod">
          <ac:chgData name="John Paserba" userId="77bd6c8a-d0c1-4fea-8705-0169f65d0c0e" providerId="ADAL" clId="{FD5E66A9-D36E-40B5-9161-8BB75765BB68}" dt="2025-10-13T00:13:47.479" v="3110"/>
          <ac:spMkLst>
            <pc:docMk/>
            <pc:sldMk cId="3319730970" sldId="2147471354"/>
            <ac:spMk id="3328002" creationId="{00000000-0000-0000-0000-000000000000}"/>
          </ac:spMkLst>
        </pc:spChg>
      </pc:sldChg>
      <pc:sldChg chg="modSp mod">
        <pc:chgData name="John Paserba" userId="77bd6c8a-d0c1-4fea-8705-0169f65d0c0e" providerId="ADAL" clId="{FD5E66A9-D36E-40B5-9161-8BB75765BB68}" dt="2025-10-14T03:22:27.140" v="5268" actId="207"/>
        <pc:sldMkLst>
          <pc:docMk/>
          <pc:sldMk cId="3308952887" sldId="2147471355"/>
        </pc:sldMkLst>
        <pc:spChg chg="mod">
          <ac:chgData name="John Paserba" userId="77bd6c8a-d0c1-4fea-8705-0169f65d0c0e" providerId="ADAL" clId="{FD5E66A9-D36E-40B5-9161-8BB75765BB68}" dt="2025-10-14T03:22:27.140" v="5268" actId="207"/>
          <ac:spMkLst>
            <pc:docMk/>
            <pc:sldMk cId="3308952887" sldId="2147471355"/>
            <ac:spMk id="3" creationId="{E6993746-A424-4F09-867F-B919F4E18ECB}"/>
          </ac:spMkLst>
        </pc:spChg>
        <pc:spChg chg="mod">
          <ac:chgData name="John Paserba" userId="77bd6c8a-d0c1-4fea-8705-0169f65d0c0e" providerId="ADAL" clId="{FD5E66A9-D36E-40B5-9161-8BB75765BB68}" dt="2025-10-13T00:13:54.176" v="3111"/>
          <ac:spMkLst>
            <pc:docMk/>
            <pc:sldMk cId="3308952887" sldId="2147471355"/>
            <ac:spMk id="3328002" creationId="{00000000-0000-0000-0000-000000000000}"/>
          </ac:spMkLst>
        </pc:spChg>
      </pc:sldChg>
      <pc:sldChg chg="modSp mod">
        <pc:chgData name="John Paserba" userId="77bd6c8a-d0c1-4fea-8705-0169f65d0c0e" providerId="ADAL" clId="{FD5E66A9-D36E-40B5-9161-8BB75765BB68}" dt="2025-10-14T03:22:43.310" v="5274" actId="20577"/>
        <pc:sldMkLst>
          <pc:docMk/>
          <pc:sldMk cId="2268790818" sldId="2147471356"/>
        </pc:sldMkLst>
        <pc:spChg chg="mod">
          <ac:chgData name="John Paserba" userId="77bd6c8a-d0c1-4fea-8705-0169f65d0c0e" providerId="ADAL" clId="{FD5E66A9-D36E-40B5-9161-8BB75765BB68}" dt="2025-10-14T03:22:43.310" v="5274" actId="20577"/>
          <ac:spMkLst>
            <pc:docMk/>
            <pc:sldMk cId="2268790818" sldId="2147471356"/>
            <ac:spMk id="3" creationId="{E6993746-A424-4F09-867F-B919F4E18ECB}"/>
          </ac:spMkLst>
        </pc:spChg>
        <pc:spChg chg="mod">
          <ac:chgData name="John Paserba" userId="77bd6c8a-d0c1-4fea-8705-0169f65d0c0e" providerId="ADAL" clId="{FD5E66A9-D36E-40B5-9161-8BB75765BB68}" dt="2025-10-13T00:20:26.003" v="3168" actId="113"/>
          <ac:spMkLst>
            <pc:docMk/>
            <pc:sldMk cId="2268790818" sldId="2147471356"/>
            <ac:spMk id="3328002" creationId="{00000000-0000-0000-0000-000000000000}"/>
          </ac:spMkLst>
        </pc:spChg>
      </pc:sldChg>
      <pc:sldChg chg="modSp mod">
        <pc:chgData name="John Paserba" userId="77bd6c8a-d0c1-4fea-8705-0169f65d0c0e" providerId="ADAL" clId="{FD5E66A9-D36E-40B5-9161-8BB75765BB68}" dt="2025-10-13T02:05:16.423" v="3862" actId="207"/>
        <pc:sldMkLst>
          <pc:docMk/>
          <pc:sldMk cId="2330762423" sldId="2147471357"/>
        </pc:sldMkLst>
        <pc:spChg chg="mod">
          <ac:chgData name="John Paserba" userId="77bd6c8a-d0c1-4fea-8705-0169f65d0c0e" providerId="ADAL" clId="{FD5E66A9-D36E-40B5-9161-8BB75765BB68}" dt="2025-10-13T02:05:16.423" v="3862" actId="207"/>
          <ac:spMkLst>
            <pc:docMk/>
            <pc:sldMk cId="2330762423" sldId="2147471357"/>
            <ac:spMk id="3" creationId="{E6993746-A424-4F09-867F-B919F4E18ECB}"/>
          </ac:spMkLst>
        </pc:spChg>
        <pc:spChg chg="mod">
          <ac:chgData name="John Paserba" userId="77bd6c8a-d0c1-4fea-8705-0169f65d0c0e" providerId="ADAL" clId="{FD5E66A9-D36E-40B5-9161-8BB75765BB68}" dt="2025-10-13T00:14:51.132" v="3118"/>
          <ac:spMkLst>
            <pc:docMk/>
            <pc:sldMk cId="2330762423" sldId="2147471357"/>
            <ac:spMk id="3328002" creationId="{00000000-0000-0000-0000-000000000000}"/>
          </ac:spMkLst>
        </pc:spChg>
      </pc:sldChg>
      <pc:sldChg chg="modSp mod">
        <pc:chgData name="John Paserba" userId="77bd6c8a-d0c1-4fea-8705-0169f65d0c0e" providerId="ADAL" clId="{FD5E66A9-D36E-40B5-9161-8BB75765BB68}" dt="2025-10-14T03:11:18.981" v="5160" actId="20577"/>
        <pc:sldMkLst>
          <pc:docMk/>
          <pc:sldMk cId="3494630388" sldId="2147471363"/>
        </pc:sldMkLst>
        <pc:spChg chg="mod">
          <ac:chgData name="John Paserba" userId="77bd6c8a-d0c1-4fea-8705-0169f65d0c0e" providerId="ADAL" clId="{FD5E66A9-D36E-40B5-9161-8BB75765BB68}" dt="2025-10-14T03:10:13.589" v="5126" actId="20577"/>
          <ac:spMkLst>
            <pc:docMk/>
            <pc:sldMk cId="3494630388" sldId="2147471363"/>
            <ac:spMk id="3" creationId="{E6993746-A424-4F09-867F-B919F4E18ECB}"/>
          </ac:spMkLst>
        </pc:spChg>
        <pc:spChg chg="mod">
          <ac:chgData name="John Paserba" userId="77bd6c8a-d0c1-4fea-8705-0169f65d0c0e" providerId="ADAL" clId="{FD5E66A9-D36E-40B5-9161-8BB75765BB68}" dt="2025-10-14T03:11:18.981" v="5160" actId="20577"/>
          <ac:spMkLst>
            <pc:docMk/>
            <pc:sldMk cId="3494630388" sldId="2147471363"/>
            <ac:spMk id="3328002" creationId="{00000000-0000-0000-0000-000000000000}"/>
          </ac:spMkLst>
        </pc:spChg>
      </pc:sldChg>
      <pc:sldChg chg="del">
        <pc:chgData name="John Paserba" userId="77bd6c8a-d0c1-4fea-8705-0169f65d0c0e" providerId="ADAL" clId="{FD5E66A9-D36E-40B5-9161-8BB75765BB68}" dt="2025-10-14T03:06:07.909" v="4988" actId="47"/>
        <pc:sldMkLst>
          <pc:docMk/>
          <pc:sldMk cId="4140170611" sldId="2147471364"/>
        </pc:sldMkLst>
      </pc:sldChg>
      <pc:sldChg chg="modSp mod">
        <pc:chgData name="John Paserba" userId="77bd6c8a-d0c1-4fea-8705-0169f65d0c0e" providerId="ADAL" clId="{FD5E66A9-D36E-40B5-9161-8BB75765BB68}" dt="2025-10-14T03:11:13.647" v="5158" actId="20577"/>
        <pc:sldMkLst>
          <pc:docMk/>
          <pc:sldMk cId="3228429271" sldId="2147471365"/>
        </pc:sldMkLst>
        <pc:spChg chg="mod">
          <ac:chgData name="John Paserba" userId="77bd6c8a-d0c1-4fea-8705-0169f65d0c0e" providerId="ADAL" clId="{FD5E66A9-D36E-40B5-9161-8BB75765BB68}" dt="2025-10-14T03:10:18.399" v="5127" actId="6549"/>
          <ac:spMkLst>
            <pc:docMk/>
            <pc:sldMk cId="3228429271" sldId="2147471365"/>
            <ac:spMk id="3" creationId="{E6993746-A424-4F09-867F-B919F4E18ECB}"/>
          </ac:spMkLst>
        </pc:spChg>
        <pc:spChg chg="mod">
          <ac:chgData name="John Paserba" userId="77bd6c8a-d0c1-4fea-8705-0169f65d0c0e" providerId="ADAL" clId="{FD5E66A9-D36E-40B5-9161-8BB75765BB68}" dt="2025-10-14T03:11:13.647" v="5158" actId="20577"/>
          <ac:spMkLst>
            <pc:docMk/>
            <pc:sldMk cId="3228429271" sldId="2147471365"/>
            <ac:spMk id="3328002" creationId="{00000000-0000-0000-0000-000000000000}"/>
          </ac:spMkLst>
        </pc:spChg>
      </pc:sldChg>
      <pc:sldChg chg="del">
        <pc:chgData name="John Paserba" userId="77bd6c8a-d0c1-4fea-8705-0169f65d0c0e" providerId="ADAL" clId="{FD5E66A9-D36E-40B5-9161-8BB75765BB68}" dt="2025-10-14T03:06:10.920" v="4989" actId="47"/>
        <pc:sldMkLst>
          <pc:docMk/>
          <pc:sldMk cId="133888039" sldId="2147471367"/>
        </pc:sldMkLst>
      </pc:sldChg>
      <pc:sldChg chg="modSp mod">
        <pc:chgData name="John Paserba" userId="77bd6c8a-d0c1-4fea-8705-0169f65d0c0e" providerId="ADAL" clId="{FD5E66A9-D36E-40B5-9161-8BB75765BB68}" dt="2025-10-14T03:11:10.031" v="5156" actId="20577"/>
        <pc:sldMkLst>
          <pc:docMk/>
          <pc:sldMk cId="3051881803" sldId="2147471368"/>
        </pc:sldMkLst>
        <pc:spChg chg="mod">
          <ac:chgData name="John Paserba" userId="77bd6c8a-d0c1-4fea-8705-0169f65d0c0e" providerId="ADAL" clId="{FD5E66A9-D36E-40B5-9161-8BB75765BB68}" dt="2025-10-14T03:11:00.282" v="5151" actId="20577"/>
          <ac:spMkLst>
            <pc:docMk/>
            <pc:sldMk cId="3051881803" sldId="2147471368"/>
            <ac:spMk id="3" creationId="{E6993746-A424-4F09-867F-B919F4E18ECB}"/>
          </ac:spMkLst>
        </pc:spChg>
        <pc:spChg chg="mod">
          <ac:chgData name="John Paserba" userId="77bd6c8a-d0c1-4fea-8705-0169f65d0c0e" providerId="ADAL" clId="{FD5E66A9-D36E-40B5-9161-8BB75765BB68}" dt="2025-10-14T03:11:10.031" v="5156" actId="20577"/>
          <ac:spMkLst>
            <pc:docMk/>
            <pc:sldMk cId="3051881803" sldId="2147471368"/>
            <ac:spMk id="3328002" creationId="{00000000-0000-0000-0000-000000000000}"/>
          </ac:spMkLst>
        </pc:spChg>
      </pc:sldChg>
      <pc:sldChg chg="del">
        <pc:chgData name="John Paserba" userId="77bd6c8a-d0c1-4fea-8705-0169f65d0c0e" providerId="ADAL" clId="{FD5E66A9-D36E-40B5-9161-8BB75765BB68}" dt="2025-10-14T03:06:18.152" v="4990" actId="47"/>
        <pc:sldMkLst>
          <pc:docMk/>
          <pc:sldMk cId="2533029226" sldId="2147471369"/>
        </pc:sldMkLst>
      </pc:sldChg>
      <pc:sldChg chg="modSp mod">
        <pc:chgData name="John Paserba" userId="77bd6c8a-d0c1-4fea-8705-0169f65d0c0e" providerId="ADAL" clId="{FD5E66A9-D36E-40B5-9161-8BB75765BB68}" dt="2025-10-14T03:12:56.397" v="5244" actId="20577"/>
        <pc:sldMkLst>
          <pc:docMk/>
          <pc:sldMk cId="195241491" sldId="2147471370"/>
        </pc:sldMkLst>
        <pc:spChg chg="mod">
          <ac:chgData name="John Paserba" userId="77bd6c8a-d0c1-4fea-8705-0169f65d0c0e" providerId="ADAL" clId="{FD5E66A9-D36E-40B5-9161-8BB75765BB68}" dt="2025-10-14T03:12:56.397" v="5244" actId="20577"/>
          <ac:spMkLst>
            <pc:docMk/>
            <pc:sldMk cId="195241491" sldId="2147471370"/>
            <ac:spMk id="3" creationId="{E6993746-A424-4F09-867F-B919F4E18ECB}"/>
          </ac:spMkLst>
        </pc:spChg>
        <pc:spChg chg="mod">
          <ac:chgData name="John Paserba" userId="77bd6c8a-d0c1-4fea-8705-0169f65d0c0e" providerId="ADAL" clId="{FD5E66A9-D36E-40B5-9161-8BB75765BB68}" dt="2025-10-14T03:11:26.771" v="5161"/>
          <ac:spMkLst>
            <pc:docMk/>
            <pc:sldMk cId="195241491" sldId="2147471370"/>
            <ac:spMk id="3328002" creationId="{00000000-0000-0000-0000-000000000000}"/>
          </ac:spMkLst>
        </pc:spChg>
      </pc:sldChg>
      <pc:sldChg chg="del">
        <pc:chgData name="John Paserba" userId="77bd6c8a-d0c1-4fea-8705-0169f65d0c0e" providerId="ADAL" clId="{FD5E66A9-D36E-40B5-9161-8BB75765BB68}" dt="2025-10-14T03:06:23.047" v="4991" actId="47"/>
        <pc:sldMkLst>
          <pc:docMk/>
          <pc:sldMk cId="4170103928" sldId="2147471371"/>
        </pc:sldMkLst>
      </pc:sldChg>
      <pc:sldChg chg="del">
        <pc:chgData name="John Paserba" userId="77bd6c8a-d0c1-4fea-8705-0169f65d0c0e" providerId="ADAL" clId="{FD5E66A9-D36E-40B5-9161-8BB75765BB68}" dt="2025-10-14T03:06:25.366" v="4992" actId="47"/>
        <pc:sldMkLst>
          <pc:docMk/>
          <pc:sldMk cId="2676973762" sldId="2147471372"/>
        </pc:sldMkLst>
      </pc:sldChg>
      <pc:sldChg chg="modSp mod">
        <pc:chgData name="John Paserba" userId="77bd6c8a-d0c1-4fea-8705-0169f65d0c0e" providerId="ADAL" clId="{FD5E66A9-D36E-40B5-9161-8BB75765BB68}" dt="2025-10-13T02:04:20.186" v="3847" actId="207"/>
        <pc:sldMkLst>
          <pc:docMk/>
          <pc:sldMk cId="1873279609" sldId="2147471380"/>
        </pc:sldMkLst>
        <pc:spChg chg="mod">
          <ac:chgData name="John Paserba" userId="77bd6c8a-d0c1-4fea-8705-0169f65d0c0e" providerId="ADAL" clId="{FD5E66A9-D36E-40B5-9161-8BB75765BB68}" dt="2025-10-13T00:11:13.717" v="3080"/>
          <ac:spMkLst>
            <pc:docMk/>
            <pc:sldMk cId="1873279609" sldId="2147471380"/>
            <ac:spMk id="2" creationId="{00000000-0000-0000-0000-000000000000}"/>
          </ac:spMkLst>
        </pc:spChg>
        <pc:spChg chg="mod">
          <ac:chgData name="John Paserba" userId="77bd6c8a-d0c1-4fea-8705-0169f65d0c0e" providerId="ADAL" clId="{FD5E66A9-D36E-40B5-9161-8BB75765BB68}" dt="2025-10-13T02:04:13.573" v="3845" actId="207"/>
          <ac:spMkLst>
            <pc:docMk/>
            <pc:sldMk cId="1873279609" sldId="2147471380"/>
            <ac:spMk id="23" creationId="{59A26AAF-A089-4681-81BD-699636C480CE}"/>
          </ac:spMkLst>
        </pc:spChg>
        <pc:spChg chg="mod">
          <ac:chgData name="John Paserba" userId="77bd6c8a-d0c1-4fea-8705-0169f65d0c0e" providerId="ADAL" clId="{FD5E66A9-D36E-40B5-9161-8BB75765BB68}" dt="2025-10-13T02:04:17.052" v="3846" actId="207"/>
          <ac:spMkLst>
            <pc:docMk/>
            <pc:sldMk cId="1873279609" sldId="2147471380"/>
            <ac:spMk id="26" creationId="{B5183C01-4D28-473C-BBB4-23C0989FCE45}"/>
          </ac:spMkLst>
        </pc:spChg>
        <pc:spChg chg="mod">
          <ac:chgData name="John Paserba" userId="77bd6c8a-d0c1-4fea-8705-0169f65d0c0e" providerId="ADAL" clId="{FD5E66A9-D36E-40B5-9161-8BB75765BB68}" dt="2025-10-13T02:04:20.186" v="3847" actId="207"/>
          <ac:spMkLst>
            <pc:docMk/>
            <pc:sldMk cId="1873279609" sldId="2147471380"/>
            <ac:spMk id="27" creationId="{74ABD228-B1BB-4C4F-BECC-849A0AEA7960}"/>
          </ac:spMkLst>
        </pc:spChg>
      </pc:sldChg>
      <pc:sldChg chg="modSp add mod">
        <pc:chgData name="John Paserba" userId="77bd6c8a-d0c1-4fea-8705-0169f65d0c0e" providerId="ADAL" clId="{FD5E66A9-D36E-40B5-9161-8BB75765BB68}" dt="2025-10-14T03:45:57.977" v="5490" actId="1076"/>
        <pc:sldMkLst>
          <pc:docMk/>
          <pc:sldMk cId="685293483" sldId="2147471390"/>
        </pc:sldMkLst>
        <pc:spChg chg="mod">
          <ac:chgData name="John Paserba" userId="77bd6c8a-d0c1-4fea-8705-0169f65d0c0e" providerId="ADAL" clId="{FD5E66A9-D36E-40B5-9161-8BB75765BB68}" dt="2025-10-13T02:06:46.012" v="3876" actId="207"/>
          <ac:spMkLst>
            <pc:docMk/>
            <pc:sldMk cId="685293483" sldId="2147471390"/>
            <ac:spMk id="3" creationId="{E6993746-A424-4F09-867F-B919F4E18ECB}"/>
          </ac:spMkLst>
        </pc:spChg>
        <pc:spChg chg="mod">
          <ac:chgData name="John Paserba" userId="77bd6c8a-d0c1-4fea-8705-0169f65d0c0e" providerId="ADAL" clId="{FD5E66A9-D36E-40B5-9161-8BB75765BB68}" dt="2025-10-14T03:45:57.977" v="5490" actId="1076"/>
          <ac:spMkLst>
            <pc:docMk/>
            <pc:sldMk cId="685293483" sldId="2147471390"/>
            <ac:spMk id="3328002" creationId="{00000000-0000-0000-0000-000000000000}"/>
          </ac:spMkLst>
        </pc:spChg>
      </pc:sldChg>
      <pc:sldChg chg="modSp add mod">
        <pc:chgData name="John Paserba" userId="77bd6c8a-d0c1-4fea-8705-0169f65d0c0e" providerId="ADAL" clId="{FD5E66A9-D36E-40B5-9161-8BB75765BB68}" dt="2025-10-13T02:06:55.753" v="3878" actId="207"/>
        <pc:sldMkLst>
          <pc:docMk/>
          <pc:sldMk cId="4193241168" sldId="2147471391"/>
        </pc:sldMkLst>
        <pc:spChg chg="mod">
          <ac:chgData name="John Paserba" userId="77bd6c8a-d0c1-4fea-8705-0169f65d0c0e" providerId="ADAL" clId="{FD5E66A9-D36E-40B5-9161-8BB75765BB68}" dt="2025-10-13T02:06:55.753" v="3878" actId="207"/>
          <ac:spMkLst>
            <pc:docMk/>
            <pc:sldMk cId="4193241168" sldId="2147471391"/>
            <ac:spMk id="3" creationId="{E6993746-A424-4F09-867F-B919F4E18ECB}"/>
          </ac:spMkLst>
        </pc:spChg>
        <pc:spChg chg="mod">
          <ac:chgData name="John Paserba" userId="77bd6c8a-d0c1-4fea-8705-0169f65d0c0e" providerId="ADAL" clId="{FD5E66A9-D36E-40B5-9161-8BB75765BB68}" dt="2025-10-13T00:24:00.063" v="3174"/>
          <ac:spMkLst>
            <pc:docMk/>
            <pc:sldMk cId="4193241168" sldId="2147471391"/>
            <ac:spMk id="3328002" creationId="{00000000-0000-0000-0000-000000000000}"/>
          </ac:spMkLst>
        </pc:spChg>
      </pc:sldChg>
      <pc:sldChg chg="modSp add mod">
        <pc:chgData name="John Paserba" userId="77bd6c8a-d0c1-4fea-8705-0169f65d0c0e" providerId="ADAL" clId="{FD5E66A9-D36E-40B5-9161-8BB75765BB68}" dt="2025-10-13T02:08:27.433" v="3903" actId="207"/>
        <pc:sldMkLst>
          <pc:docMk/>
          <pc:sldMk cId="2607991234" sldId="2147471394"/>
        </pc:sldMkLst>
        <pc:spChg chg="mod">
          <ac:chgData name="John Paserba" userId="77bd6c8a-d0c1-4fea-8705-0169f65d0c0e" providerId="ADAL" clId="{FD5E66A9-D36E-40B5-9161-8BB75765BB68}" dt="2025-10-13T02:08:27.433" v="3903" actId="207"/>
          <ac:spMkLst>
            <pc:docMk/>
            <pc:sldMk cId="2607991234" sldId="2147471394"/>
            <ac:spMk id="3" creationId="{E6993746-A424-4F09-867F-B919F4E18ECB}"/>
          </ac:spMkLst>
        </pc:spChg>
        <pc:spChg chg="mod">
          <ac:chgData name="John Paserba" userId="77bd6c8a-d0c1-4fea-8705-0169f65d0c0e" providerId="ADAL" clId="{FD5E66A9-D36E-40B5-9161-8BB75765BB68}" dt="2025-10-13T00:24:23.870" v="3182"/>
          <ac:spMkLst>
            <pc:docMk/>
            <pc:sldMk cId="2607991234" sldId="2147471394"/>
            <ac:spMk id="3328002" creationId="{00000000-0000-0000-0000-000000000000}"/>
          </ac:spMkLst>
        </pc:spChg>
      </pc:sldChg>
      <pc:sldChg chg="modSp add mod">
        <pc:chgData name="John Paserba" userId="77bd6c8a-d0c1-4fea-8705-0169f65d0c0e" providerId="ADAL" clId="{FD5E66A9-D36E-40B5-9161-8BB75765BB68}" dt="2025-10-14T03:27:36.796" v="5344" actId="20577"/>
        <pc:sldMkLst>
          <pc:docMk/>
          <pc:sldMk cId="2990581354" sldId="2147471395"/>
        </pc:sldMkLst>
        <pc:spChg chg="mod">
          <ac:chgData name="John Paserba" userId="77bd6c8a-d0c1-4fea-8705-0169f65d0c0e" providerId="ADAL" clId="{FD5E66A9-D36E-40B5-9161-8BB75765BB68}" dt="2025-10-13T00:24:42.172" v="3186"/>
          <ac:spMkLst>
            <pc:docMk/>
            <pc:sldMk cId="2990581354" sldId="2147471395"/>
            <ac:spMk id="3328002" creationId="{00000000-0000-0000-0000-000000000000}"/>
          </ac:spMkLst>
        </pc:spChg>
        <pc:graphicFrameChg chg="mod modGraphic">
          <ac:chgData name="John Paserba" userId="77bd6c8a-d0c1-4fea-8705-0169f65d0c0e" providerId="ADAL" clId="{FD5E66A9-D36E-40B5-9161-8BB75765BB68}" dt="2025-10-14T03:27:36.796" v="5344" actId="20577"/>
          <ac:graphicFrameMkLst>
            <pc:docMk/>
            <pc:sldMk cId="2990581354" sldId="2147471395"/>
            <ac:graphicFrameMk id="9" creationId="{BD9FCBD1-20D4-4C5C-A448-3D57926DD3DD}"/>
          </ac:graphicFrameMkLst>
        </pc:graphicFrameChg>
      </pc:sldChg>
      <pc:sldChg chg="modSp add mod">
        <pc:chgData name="John Paserba" userId="77bd6c8a-d0c1-4fea-8705-0169f65d0c0e" providerId="ADAL" clId="{FD5E66A9-D36E-40B5-9161-8BB75765BB68}" dt="2025-10-13T02:09:13.434" v="3913" actId="207"/>
        <pc:sldMkLst>
          <pc:docMk/>
          <pc:sldMk cId="319735379" sldId="2147471396"/>
        </pc:sldMkLst>
        <pc:spChg chg="mod">
          <ac:chgData name="John Paserba" userId="77bd6c8a-d0c1-4fea-8705-0169f65d0c0e" providerId="ADAL" clId="{FD5E66A9-D36E-40B5-9161-8BB75765BB68}" dt="2025-10-13T02:09:13.434" v="3913" actId="207"/>
          <ac:spMkLst>
            <pc:docMk/>
            <pc:sldMk cId="319735379" sldId="2147471396"/>
            <ac:spMk id="3" creationId="{E6993746-A424-4F09-867F-B919F4E18ECB}"/>
          </ac:spMkLst>
        </pc:spChg>
        <pc:spChg chg="mod">
          <ac:chgData name="John Paserba" userId="77bd6c8a-d0c1-4fea-8705-0169f65d0c0e" providerId="ADAL" clId="{FD5E66A9-D36E-40B5-9161-8BB75765BB68}" dt="2025-10-13T00:25:05.618" v="3191"/>
          <ac:spMkLst>
            <pc:docMk/>
            <pc:sldMk cId="319735379" sldId="2147471396"/>
            <ac:spMk id="3328002" creationId="{00000000-0000-0000-0000-000000000000}"/>
          </ac:spMkLst>
        </pc:spChg>
        <pc:picChg chg="mod">
          <ac:chgData name="John Paserba" userId="77bd6c8a-d0c1-4fea-8705-0169f65d0c0e" providerId="ADAL" clId="{FD5E66A9-D36E-40B5-9161-8BB75765BB68}" dt="2025-10-13T00:42:18.613" v="3344" actId="14100"/>
          <ac:picMkLst>
            <pc:docMk/>
            <pc:sldMk cId="319735379" sldId="2147471396"/>
            <ac:picMk id="7" creationId="{7A9D565C-46B2-4DC6-BAC9-CC4B269B6F36}"/>
          </ac:picMkLst>
        </pc:picChg>
      </pc:sldChg>
      <pc:sldChg chg="delSp modSp add mod">
        <pc:chgData name="John Paserba" userId="77bd6c8a-d0c1-4fea-8705-0169f65d0c0e" providerId="ADAL" clId="{FD5E66A9-D36E-40B5-9161-8BB75765BB68}" dt="2025-10-13T02:09:23.311" v="3916" actId="207"/>
        <pc:sldMkLst>
          <pc:docMk/>
          <pc:sldMk cId="38863386" sldId="2147471397"/>
        </pc:sldMkLst>
        <pc:spChg chg="mod">
          <ac:chgData name="John Paserba" userId="77bd6c8a-d0c1-4fea-8705-0169f65d0c0e" providerId="ADAL" clId="{FD5E66A9-D36E-40B5-9161-8BB75765BB68}" dt="2025-10-13T02:09:23.311" v="3916" actId="207"/>
          <ac:spMkLst>
            <pc:docMk/>
            <pc:sldMk cId="38863386" sldId="2147471397"/>
            <ac:spMk id="3" creationId="{E6993746-A424-4F09-867F-B919F4E18ECB}"/>
          </ac:spMkLst>
        </pc:spChg>
        <pc:spChg chg="del mod">
          <ac:chgData name="John Paserba" userId="77bd6c8a-d0c1-4fea-8705-0169f65d0c0e" providerId="ADAL" clId="{FD5E66A9-D36E-40B5-9161-8BB75765BB68}" dt="2025-10-13T00:43:59.114" v="3359" actId="478"/>
          <ac:spMkLst>
            <pc:docMk/>
            <pc:sldMk cId="38863386" sldId="2147471397"/>
            <ac:spMk id="7" creationId="{301E2BF1-9584-418D-8C79-DC904A25B85E}"/>
          </ac:spMkLst>
        </pc:spChg>
        <pc:spChg chg="mod">
          <ac:chgData name="John Paserba" userId="77bd6c8a-d0c1-4fea-8705-0169f65d0c0e" providerId="ADAL" clId="{FD5E66A9-D36E-40B5-9161-8BB75765BB68}" dt="2025-10-13T00:25:09.992" v="3192"/>
          <ac:spMkLst>
            <pc:docMk/>
            <pc:sldMk cId="38863386" sldId="2147471397"/>
            <ac:spMk id="3328002" creationId="{00000000-0000-0000-0000-000000000000}"/>
          </ac:spMkLst>
        </pc:spChg>
      </pc:sldChg>
      <pc:sldChg chg="modSp add mod">
        <pc:chgData name="John Paserba" userId="77bd6c8a-d0c1-4fea-8705-0169f65d0c0e" providerId="ADAL" clId="{FD5E66A9-D36E-40B5-9161-8BB75765BB68}" dt="2025-10-13T00:55:11.047" v="3466" actId="113"/>
        <pc:sldMkLst>
          <pc:docMk/>
          <pc:sldMk cId="1373961495" sldId="2147471399"/>
        </pc:sldMkLst>
        <pc:spChg chg="mod">
          <ac:chgData name="John Paserba" userId="77bd6c8a-d0c1-4fea-8705-0169f65d0c0e" providerId="ADAL" clId="{FD5E66A9-D36E-40B5-9161-8BB75765BB68}" dt="2025-10-13T00:55:11.047" v="3466" actId="113"/>
          <ac:spMkLst>
            <pc:docMk/>
            <pc:sldMk cId="1373961495" sldId="2147471399"/>
            <ac:spMk id="3" creationId="{E6993746-A424-4F09-867F-B919F4E18ECB}"/>
          </ac:spMkLst>
        </pc:spChg>
        <pc:spChg chg="mod">
          <ac:chgData name="John Paserba" userId="77bd6c8a-d0c1-4fea-8705-0169f65d0c0e" providerId="ADAL" clId="{FD5E66A9-D36E-40B5-9161-8BB75765BB68}" dt="2025-10-13T00:48:23.354" v="3402"/>
          <ac:spMkLst>
            <pc:docMk/>
            <pc:sldMk cId="1373961495" sldId="2147471399"/>
            <ac:spMk id="3328002" creationId="{00000000-0000-0000-0000-000000000000}"/>
          </ac:spMkLst>
        </pc:spChg>
      </pc:sldChg>
      <pc:sldChg chg="modSp add mod">
        <pc:chgData name="John Paserba" userId="77bd6c8a-d0c1-4fea-8705-0169f65d0c0e" providerId="ADAL" clId="{FD5E66A9-D36E-40B5-9161-8BB75765BB68}" dt="2025-10-13T02:11:35.035" v="3945" actId="207"/>
        <pc:sldMkLst>
          <pc:docMk/>
          <pc:sldMk cId="612862457" sldId="2147471401"/>
        </pc:sldMkLst>
        <pc:spChg chg="mod">
          <ac:chgData name="John Paserba" userId="77bd6c8a-d0c1-4fea-8705-0169f65d0c0e" providerId="ADAL" clId="{FD5E66A9-D36E-40B5-9161-8BB75765BB68}" dt="2025-10-13T02:11:35.035" v="3945" actId="207"/>
          <ac:spMkLst>
            <pc:docMk/>
            <pc:sldMk cId="612862457" sldId="2147471401"/>
            <ac:spMk id="3" creationId="{E6993746-A424-4F09-867F-B919F4E18ECB}"/>
          </ac:spMkLst>
        </pc:spChg>
        <pc:spChg chg="mod">
          <ac:chgData name="John Paserba" userId="77bd6c8a-d0c1-4fea-8705-0169f65d0c0e" providerId="ADAL" clId="{FD5E66A9-D36E-40B5-9161-8BB75765BB68}" dt="2025-10-13T00:48:38.690" v="3407"/>
          <ac:spMkLst>
            <pc:docMk/>
            <pc:sldMk cId="612862457" sldId="2147471401"/>
            <ac:spMk id="3328002" creationId="{00000000-0000-0000-0000-000000000000}"/>
          </ac:spMkLst>
        </pc:spChg>
      </pc:sldChg>
      <pc:sldChg chg="modSp add mod">
        <pc:chgData name="John Paserba" userId="77bd6c8a-d0c1-4fea-8705-0169f65d0c0e" providerId="ADAL" clId="{FD5E66A9-D36E-40B5-9161-8BB75765BB68}" dt="2025-10-13T02:12:07.215" v="3955" actId="207"/>
        <pc:sldMkLst>
          <pc:docMk/>
          <pc:sldMk cId="2996227156" sldId="2147471402"/>
        </pc:sldMkLst>
        <pc:spChg chg="mod">
          <ac:chgData name="John Paserba" userId="77bd6c8a-d0c1-4fea-8705-0169f65d0c0e" providerId="ADAL" clId="{FD5E66A9-D36E-40B5-9161-8BB75765BB68}" dt="2025-10-13T02:12:07.215" v="3955" actId="207"/>
          <ac:spMkLst>
            <pc:docMk/>
            <pc:sldMk cId="2996227156" sldId="2147471402"/>
            <ac:spMk id="3" creationId="{E6993746-A424-4F09-867F-B919F4E18ECB}"/>
          </ac:spMkLst>
        </pc:spChg>
        <pc:spChg chg="mod">
          <ac:chgData name="John Paserba" userId="77bd6c8a-d0c1-4fea-8705-0169f65d0c0e" providerId="ADAL" clId="{FD5E66A9-D36E-40B5-9161-8BB75765BB68}" dt="2025-10-13T00:48:47.977" v="3410"/>
          <ac:spMkLst>
            <pc:docMk/>
            <pc:sldMk cId="2996227156" sldId="2147471402"/>
            <ac:spMk id="3328002" creationId="{00000000-0000-0000-0000-000000000000}"/>
          </ac:spMkLst>
        </pc:spChg>
      </pc:sldChg>
      <pc:sldChg chg="modSp add mod">
        <pc:chgData name="John Paserba" userId="77bd6c8a-d0c1-4fea-8705-0169f65d0c0e" providerId="ADAL" clId="{FD5E66A9-D36E-40B5-9161-8BB75765BB68}" dt="2025-10-13T02:12:20.472" v="3958" actId="207"/>
        <pc:sldMkLst>
          <pc:docMk/>
          <pc:sldMk cId="3510514369" sldId="2147471403"/>
        </pc:sldMkLst>
        <pc:spChg chg="mod">
          <ac:chgData name="John Paserba" userId="77bd6c8a-d0c1-4fea-8705-0169f65d0c0e" providerId="ADAL" clId="{FD5E66A9-D36E-40B5-9161-8BB75765BB68}" dt="2025-10-13T02:12:20.472" v="3958" actId="207"/>
          <ac:spMkLst>
            <pc:docMk/>
            <pc:sldMk cId="3510514369" sldId="2147471403"/>
            <ac:spMk id="3" creationId="{E6993746-A424-4F09-867F-B919F4E18ECB}"/>
          </ac:spMkLst>
        </pc:spChg>
        <pc:spChg chg="mod">
          <ac:chgData name="John Paserba" userId="77bd6c8a-d0c1-4fea-8705-0169f65d0c0e" providerId="ADAL" clId="{FD5E66A9-D36E-40B5-9161-8BB75765BB68}" dt="2025-10-13T00:48:51.036" v="3411"/>
          <ac:spMkLst>
            <pc:docMk/>
            <pc:sldMk cId="3510514369" sldId="2147471403"/>
            <ac:spMk id="3328002" creationId="{00000000-0000-0000-0000-000000000000}"/>
          </ac:spMkLst>
        </pc:spChg>
      </pc:sldChg>
      <pc:sldChg chg="modSp add mod">
        <pc:chgData name="John Paserba" userId="77bd6c8a-d0c1-4fea-8705-0169f65d0c0e" providerId="ADAL" clId="{FD5E66A9-D36E-40B5-9161-8BB75765BB68}" dt="2025-10-13T02:11:55.637" v="3951" actId="207"/>
        <pc:sldMkLst>
          <pc:docMk/>
          <pc:sldMk cId="3178934198" sldId="2147471409"/>
        </pc:sldMkLst>
        <pc:spChg chg="mod">
          <ac:chgData name="John Paserba" userId="77bd6c8a-d0c1-4fea-8705-0169f65d0c0e" providerId="ADAL" clId="{FD5E66A9-D36E-40B5-9161-8BB75765BB68}" dt="2025-10-13T02:11:55.637" v="3951" actId="207"/>
          <ac:spMkLst>
            <pc:docMk/>
            <pc:sldMk cId="3178934198" sldId="2147471409"/>
            <ac:spMk id="3" creationId="{E6993746-A424-4F09-867F-B919F4E18ECB}"/>
          </ac:spMkLst>
        </pc:spChg>
        <pc:spChg chg="mod">
          <ac:chgData name="John Paserba" userId="77bd6c8a-d0c1-4fea-8705-0169f65d0c0e" providerId="ADAL" clId="{FD5E66A9-D36E-40B5-9161-8BB75765BB68}" dt="2025-10-13T00:48:44.670" v="3409"/>
          <ac:spMkLst>
            <pc:docMk/>
            <pc:sldMk cId="3178934198" sldId="2147471409"/>
            <ac:spMk id="3328002" creationId="{00000000-0000-0000-0000-000000000000}"/>
          </ac:spMkLst>
        </pc:spChg>
        <pc:picChg chg="mod">
          <ac:chgData name="John Paserba" userId="77bd6c8a-d0c1-4fea-8705-0169f65d0c0e" providerId="ADAL" clId="{FD5E66A9-D36E-40B5-9161-8BB75765BB68}" dt="2025-10-13T01:04:16.123" v="3590" actId="1076"/>
          <ac:picMkLst>
            <pc:docMk/>
            <pc:sldMk cId="3178934198" sldId="2147471409"/>
            <ac:picMk id="8" creationId="{65F73B14-9E4A-4679-8F1B-7E93B6426BA4}"/>
          </ac:picMkLst>
        </pc:picChg>
      </pc:sldChg>
      <pc:sldChg chg="addSp modSp mod">
        <pc:chgData name="John Paserba" userId="77bd6c8a-d0c1-4fea-8705-0169f65d0c0e" providerId="ADAL" clId="{FD5E66A9-D36E-40B5-9161-8BB75765BB68}" dt="2025-10-12T23:03:14.627" v="2876"/>
        <pc:sldMkLst>
          <pc:docMk/>
          <pc:sldMk cId="3498029312" sldId="2147471414"/>
        </pc:sldMkLst>
        <pc:spChg chg="add mod">
          <ac:chgData name="John Paserba" userId="77bd6c8a-d0c1-4fea-8705-0169f65d0c0e" providerId="ADAL" clId="{FD5E66A9-D36E-40B5-9161-8BB75765BB68}" dt="2025-10-12T17:59:28.160" v="921" actId="20577"/>
          <ac:spMkLst>
            <pc:docMk/>
            <pc:sldMk cId="3498029312" sldId="2147471414"/>
            <ac:spMk id="12" creationId="{10B77945-C573-4883-ADF1-0D215F3FE358}"/>
          </ac:spMkLst>
        </pc:spChg>
        <pc:spChg chg="mod">
          <ac:chgData name="John Paserba" userId="77bd6c8a-d0c1-4fea-8705-0169f65d0c0e" providerId="ADAL" clId="{FD5E66A9-D36E-40B5-9161-8BB75765BB68}" dt="2025-10-12T23:03:14.627" v="2876"/>
          <ac:spMkLst>
            <pc:docMk/>
            <pc:sldMk cId="3498029312" sldId="2147471414"/>
            <ac:spMk id="19" creationId="{00000000-0000-0000-0000-000000000000}"/>
          </ac:spMkLst>
        </pc:spChg>
      </pc:sldChg>
      <pc:sldChg chg="modSp add">
        <pc:chgData name="John Paserba" userId="77bd6c8a-d0c1-4fea-8705-0169f65d0c0e" providerId="ADAL" clId="{FD5E66A9-D36E-40B5-9161-8BB75765BB68}" dt="2025-10-13T00:25:22.697" v="3193"/>
        <pc:sldMkLst>
          <pc:docMk/>
          <pc:sldMk cId="1204246054" sldId="2147471417"/>
        </pc:sldMkLst>
        <pc:spChg chg="mod">
          <ac:chgData name="John Paserba" userId="77bd6c8a-d0c1-4fea-8705-0169f65d0c0e" providerId="ADAL" clId="{FD5E66A9-D36E-40B5-9161-8BB75765BB68}" dt="2025-10-13T00:25:22.697" v="3193"/>
          <ac:spMkLst>
            <pc:docMk/>
            <pc:sldMk cId="1204246054" sldId="2147471417"/>
            <ac:spMk id="2" creationId="{6D8A165E-458A-41C5-8EC0-ED887338CD4B}"/>
          </ac:spMkLst>
        </pc:spChg>
      </pc:sldChg>
      <pc:sldChg chg="modSp add mod">
        <pc:chgData name="John Paserba" userId="77bd6c8a-d0c1-4fea-8705-0169f65d0c0e" providerId="ADAL" clId="{FD5E66A9-D36E-40B5-9161-8BB75765BB68}" dt="2025-10-14T03:25:14.652" v="5281" actId="20577"/>
        <pc:sldMkLst>
          <pc:docMk/>
          <pc:sldMk cId="2283781631" sldId="2147471418"/>
        </pc:sldMkLst>
        <pc:spChg chg="mod">
          <ac:chgData name="John Paserba" userId="77bd6c8a-d0c1-4fea-8705-0169f65d0c0e" providerId="ADAL" clId="{FD5E66A9-D36E-40B5-9161-8BB75765BB68}" dt="2025-10-14T03:25:14.652" v="5281" actId="20577"/>
          <ac:spMkLst>
            <pc:docMk/>
            <pc:sldMk cId="2283781631" sldId="2147471418"/>
            <ac:spMk id="3" creationId="{E6993746-A424-4F09-867F-B919F4E18ECB}"/>
          </ac:spMkLst>
        </pc:spChg>
        <pc:spChg chg="mod">
          <ac:chgData name="John Paserba" userId="77bd6c8a-d0c1-4fea-8705-0169f65d0c0e" providerId="ADAL" clId="{FD5E66A9-D36E-40B5-9161-8BB75765BB68}" dt="2025-10-13T00:23:53.244" v="3173"/>
          <ac:spMkLst>
            <pc:docMk/>
            <pc:sldMk cId="2283781631" sldId="2147471418"/>
            <ac:spMk id="3328002" creationId="{00000000-0000-0000-0000-000000000000}"/>
          </ac:spMkLst>
        </pc:spChg>
      </pc:sldChg>
      <pc:sldChg chg="modSp">
        <pc:chgData name="John Paserba" userId="77bd6c8a-d0c1-4fea-8705-0169f65d0c0e" providerId="ADAL" clId="{FD5E66A9-D36E-40B5-9161-8BB75765BB68}" dt="2025-10-13T00:20:06.394" v="3165"/>
        <pc:sldMkLst>
          <pc:docMk/>
          <pc:sldMk cId="920816538" sldId="2147471419"/>
        </pc:sldMkLst>
        <pc:spChg chg="mod">
          <ac:chgData name="John Paserba" userId="77bd6c8a-d0c1-4fea-8705-0169f65d0c0e" providerId="ADAL" clId="{FD5E66A9-D36E-40B5-9161-8BB75765BB68}" dt="2025-10-13T00:20:06.394" v="3165"/>
          <ac:spMkLst>
            <pc:docMk/>
            <pc:sldMk cId="920816538" sldId="2147471419"/>
            <ac:spMk id="3328002" creationId="{00000000-0000-0000-0000-000000000000}"/>
          </ac:spMkLst>
        </pc:spChg>
      </pc:sldChg>
      <pc:sldChg chg="addSp modSp add">
        <pc:chgData name="John Paserba" userId="77bd6c8a-d0c1-4fea-8705-0169f65d0c0e" providerId="ADAL" clId="{FD5E66A9-D36E-40B5-9161-8BB75765BB68}" dt="2025-10-14T03:46:41.159" v="5491"/>
        <pc:sldMkLst>
          <pc:docMk/>
          <pc:sldMk cId="3275254523" sldId="2147471420"/>
        </pc:sldMkLst>
        <pc:spChg chg="add mod">
          <ac:chgData name="John Paserba" userId="77bd6c8a-d0c1-4fea-8705-0169f65d0c0e" providerId="ADAL" clId="{FD5E66A9-D36E-40B5-9161-8BB75765BB68}" dt="2025-10-14T02:34:35.787" v="4978"/>
          <ac:spMkLst>
            <pc:docMk/>
            <pc:sldMk cId="3275254523" sldId="2147471420"/>
            <ac:spMk id="17" creationId="{F2FB7E3D-C8DD-4CA2-B056-B33CEA3FD899}"/>
          </ac:spMkLst>
        </pc:spChg>
        <pc:spChg chg="mod">
          <ac:chgData name="John Paserba" userId="77bd6c8a-d0c1-4fea-8705-0169f65d0c0e" providerId="ADAL" clId="{FD5E66A9-D36E-40B5-9161-8BB75765BB68}" dt="2025-10-14T03:46:41.159" v="5491"/>
          <ac:spMkLst>
            <pc:docMk/>
            <pc:sldMk cId="3275254523" sldId="2147471420"/>
            <ac:spMk id="19" creationId="{00000000-0000-0000-0000-000000000000}"/>
          </ac:spMkLst>
        </pc:spChg>
      </pc:sldChg>
      <pc:sldChg chg="addSp modSp add">
        <pc:chgData name="John Paserba" userId="77bd6c8a-d0c1-4fea-8705-0169f65d0c0e" providerId="ADAL" clId="{FD5E66A9-D36E-40B5-9161-8BB75765BB68}" dt="2025-10-14T03:46:45.164" v="5492"/>
        <pc:sldMkLst>
          <pc:docMk/>
          <pc:sldMk cId="2976868708" sldId="2147471422"/>
        </pc:sldMkLst>
        <pc:spChg chg="add mod">
          <ac:chgData name="John Paserba" userId="77bd6c8a-d0c1-4fea-8705-0169f65d0c0e" providerId="ADAL" clId="{FD5E66A9-D36E-40B5-9161-8BB75765BB68}" dt="2025-10-14T02:34:37.081" v="4979"/>
          <ac:spMkLst>
            <pc:docMk/>
            <pc:sldMk cId="2976868708" sldId="2147471422"/>
            <ac:spMk id="12" creationId="{7C7B39B3-674B-42EB-B691-C301E1724F21}"/>
          </ac:spMkLst>
        </pc:spChg>
        <pc:spChg chg="mod">
          <ac:chgData name="John Paserba" userId="77bd6c8a-d0c1-4fea-8705-0169f65d0c0e" providerId="ADAL" clId="{FD5E66A9-D36E-40B5-9161-8BB75765BB68}" dt="2025-10-14T03:46:45.164" v="5492"/>
          <ac:spMkLst>
            <pc:docMk/>
            <pc:sldMk cId="2976868708" sldId="2147471422"/>
            <ac:spMk id="19" creationId="{00000000-0000-0000-0000-000000000000}"/>
          </ac:spMkLst>
        </pc:spChg>
      </pc:sldChg>
      <pc:sldChg chg="addSp modSp add">
        <pc:chgData name="John Paserba" userId="77bd6c8a-d0c1-4fea-8705-0169f65d0c0e" providerId="ADAL" clId="{FD5E66A9-D36E-40B5-9161-8BB75765BB68}" dt="2025-10-14T03:46:50.845" v="5493"/>
        <pc:sldMkLst>
          <pc:docMk/>
          <pc:sldMk cId="1511705425" sldId="2147471423"/>
        </pc:sldMkLst>
        <pc:spChg chg="add mod">
          <ac:chgData name="John Paserba" userId="77bd6c8a-d0c1-4fea-8705-0169f65d0c0e" providerId="ADAL" clId="{FD5E66A9-D36E-40B5-9161-8BB75765BB68}" dt="2025-10-14T02:34:39.158" v="4980"/>
          <ac:spMkLst>
            <pc:docMk/>
            <pc:sldMk cId="1511705425" sldId="2147471423"/>
            <ac:spMk id="5" creationId="{29A6365B-BD5D-4726-B3D3-DD56ECE84B9B}"/>
          </ac:spMkLst>
        </pc:spChg>
        <pc:spChg chg="mod">
          <ac:chgData name="John Paserba" userId="77bd6c8a-d0c1-4fea-8705-0169f65d0c0e" providerId="ADAL" clId="{FD5E66A9-D36E-40B5-9161-8BB75765BB68}" dt="2025-10-14T03:46:50.845" v="5493"/>
          <ac:spMkLst>
            <pc:docMk/>
            <pc:sldMk cId="1511705425" sldId="2147471423"/>
            <ac:spMk id="19" creationId="{00000000-0000-0000-0000-000000000000}"/>
          </ac:spMkLst>
        </pc:spChg>
      </pc:sldChg>
      <pc:sldChg chg="modSp add">
        <pc:chgData name="John Paserba" userId="77bd6c8a-d0c1-4fea-8705-0169f65d0c0e" providerId="ADAL" clId="{FD5E66A9-D36E-40B5-9161-8BB75765BB68}" dt="2025-10-13T00:48:30.317" v="3404"/>
        <pc:sldMkLst>
          <pc:docMk/>
          <pc:sldMk cId="1441617278" sldId="2147471424"/>
        </pc:sldMkLst>
        <pc:spChg chg="mod">
          <ac:chgData name="John Paserba" userId="77bd6c8a-d0c1-4fea-8705-0169f65d0c0e" providerId="ADAL" clId="{FD5E66A9-D36E-40B5-9161-8BB75765BB68}" dt="2025-10-13T00:48:30.317" v="3404"/>
          <ac:spMkLst>
            <pc:docMk/>
            <pc:sldMk cId="1441617278" sldId="2147471424"/>
            <ac:spMk id="3328002" creationId="{00000000-0000-0000-0000-000000000000}"/>
          </ac:spMkLst>
        </pc:spChg>
      </pc:sldChg>
      <pc:sldChg chg="addSp modSp add mod">
        <pc:chgData name="John Paserba" userId="77bd6c8a-d0c1-4fea-8705-0169f65d0c0e" providerId="ADAL" clId="{FD5E66A9-D36E-40B5-9161-8BB75765BB68}" dt="2025-10-14T03:28:49.598" v="5345" actId="1076"/>
        <pc:sldMkLst>
          <pc:docMk/>
          <pc:sldMk cId="623707261" sldId="2147471425"/>
        </pc:sldMkLst>
        <pc:spChg chg="mod">
          <ac:chgData name="John Paserba" userId="77bd6c8a-d0c1-4fea-8705-0169f65d0c0e" providerId="ADAL" clId="{FD5E66A9-D36E-40B5-9161-8BB75765BB68}" dt="2025-10-13T00:48:08.286" v="3399"/>
          <ac:spMkLst>
            <pc:docMk/>
            <pc:sldMk cId="623707261" sldId="2147471425"/>
            <ac:spMk id="2" creationId="{00000000-0000-0000-0000-000000000000}"/>
          </ac:spMkLst>
        </pc:spChg>
        <pc:spChg chg="add mod">
          <ac:chgData name="John Paserba" userId="77bd6c8a-d0c1-4fea-8705-0169f65d0c0e" providerId="ADAL" clId="{FD5E66A9-D36E-40B5-9161-8BB75765BB68}" dt="2025-10-14T03:28:49.598" v="5345" actId="1076"/>
          <ac:spMkLst>
            <pc:docMk/>
            <pc:sldMk cId="623707261" sldId="2147471425"/>
            <ac:spMk id="21" creationId="{A2477078-63AD-462B-BFC8-637EAD405153}"/>
          </ac:spMkLst>
        </pc:spChg>
      </pc:sldChg>
      <pc:sldChg chg="modSp add mod">
        <pc:chgData name="John Paserba" userId="77bd6c8a-d0c1-4fea-8705-0169f65d0c0e" providerId="ADAL" clId="{FD5E66A9-D36E-40B5-9161-8BB75765BB68}" dt="2025-10-12T22:07:43.856" v="2130" actId="20577"/>
        <pc:sldMkLst>
          <pc:docMk/>
          <pc:sldMk cId="1427769353" sldId="2147471426"/>
        </pc:sldMkLst>
        <pc:spChg chg="mod">
          <ac:chgData name="John Paserba" userId="77bd6c8a-d0c1-4fea-8705-0169f65d0c0e" providerId="ADAL" clId="{FD5E66A9-D36E-40B5-9161-8BB75765BB68}" dt="2025-10-12T22:07:43.856" v="2130" actId="20577"/>
          <ac:spMkLst>
            <pc:docMk/>
            <pc:sldMk cId="1427769353" sldId="2147471426"/>
            <ac:spMk id="12" creationId="{F45E667D-D9ED-4BE1-999E-2A4766484A8F}"/>
          </ac:spMkLst>
        </pc:spChg>
      </pc:sldChg>
      <pc:sldChg chg="addSp modSp add mod">
        <pc:chgData name="John Paserba" userId="77bd6c8a-d0c1-4fea-8705-0169f65d0c0e" providerId="ADAL" clId="{FD5E66A9-D36E-40B5-9161-8BB75765BB68}" dt="2025-10-13T00:56:15.822" v="3516" actId="255"/>
        <pc:sldMkLst>
          <pc:docMk/>
          <pc:sldMk cId="3658783816" sldId="2147471428"/>
        </pc:sldMkLst>
        <pc:spChg chg="add mod">
          <ac:chgData name="John Paserba" userId="77bd6c8a-d0c1-4fea-8705-0169f65d0c0e" providerId="ADAL" clId="{FD5E66A9-D36E-40B5-9161-8BB75765BB68}" dt="2025-10-13T00:46:07.126" v="3391" actId="20577"/>
          <ac:spMkLst>
            <pc:docMk/>
            <pc:sldMk cId="3658783816" sldId="2147471428"/>
            <ac:spMk id="12" creationId="{06E87BC8-3F09-4319-8D24-04266A642D4A}"/>
          </ac:spMkLst>
        </pc:spChg>
        <pc:spChg chg="mod">
          <ac:chgData name="John Paserba" userId="77bd6c8a-d0c1-4fea-8705-0169f65d0c0e" providerId="ADAL" clId="{FD5E66A9-D36E-40B5-9161-8BB75765BB68}" dt="2025-10-13T00:56:15.822" v="3516" actId="255"/>
          <ac:spMkLst>
            <pc:docMk/>
            <pc:sldMk cId="3658783816" sldId="2147471428"/>
            <ac:spMk id="19" creationId="{00000000-0000-0000-0000-000000000000}"/>
          </ac:spMkLst>
        </pc:spChg>
        <pc:picChg chg="add mod">
          <ac:chgData name="John Paserba" userId="77bd6c8a-d0c1-4fea-8705-0169f65d0c0e" providerId="ADAL" clId="{FD5E66A9-D36E-40B5-9161-8BB75765BB68}" dt="2025-10-13T00:56:01.870" v="3512"/>
          <ac:picMkLst>
            <pc:docMk/>
            <pc:sldMk cId="3658783816" sldId="2147471428"/>
            <ac:picMk id="13" creationId="{3D7220DA-5D37-47EA-9D84-2D9A62C4457E}"/>
          </ac:picMkLst>
        </pc:picChg>
      </pc:sldChg>
      <pc:sldChg chg="modSp add mod">
        <pc:chgData name="John Paserba" userId="77bd6c8a-d0c1-4fea-8705-0169f65d0c0e" providerId="ADAL" clId="{FD5E66A9-D36E-40B5-9161-8BB75765BB68}" dt="2025-10-13T02:08:11.924" v="3899" actId="20577"/>
        <pc:sldMkLst>
          <pc:docMk/>
          <pc:sldMk cId="4059234087" sldId="2147471429"/>
        </pc:sldMkLst>
        <pc:spChg chg="mod">
          <ac:chgData name="John Paserba" userId="77bd6c8a-d0c1-4fea-8705-0169f65d0c0e" providerId="ADAL" clId="{FD5E66A9-D36E-40B5-9161-8BB75765BB68}" dt="2025-10-13T02:08:11.924" v="3899" actId="20577"/>
          <ac:spMkLst>
            <pc:docMk/>
            <pc:sldMk cId="4059234087" sldId="2147471429"/>
            <ac:spMk id="4" creationId="{C2C99258-52AB-4386-BD92-908479CB2924}"/>
          </ac:spMkLst>
        </pc:spChg>
        <pc:spChg chg="mod">
          <ac:chgData name="John Paserba" userId="77bd6c8a-d0c1-4fea-8705-0169f65d0c0e" providerId="ADAL" clId="{FD5E66A9-D36E-40B5-9161-8BB75765BB68}" dt="2025-10-13T00:24:19.473" v="3181"/>
          <ac:spMkLst>
            <pc:docMk/>
            <pc:sldMk cId="4059234087" sldId="2147471429"/>
            <ac:spMk id="8" creationId="{4F66D455-6FBF-484B-B826-6C56E6B13C0D}"/>
          </ac:spMkLst>
        </pc:spChg>
      </pc:sldChg>
      <pc:sldChg chg="modSp add mod">
        <pc:chgData name="John Paserba" userId="77bd6c8a-d0c1-4fea-8705-0169f65d0c0e" providerId="ADAL" clId="{FD5E66A9-D36E-40B5-9161-8BB75765BB68}" dt="2025-10-13T02:08:49.872" v="3908" actId="207"/>
        <pc:sldMkLst>
          <pc:docMk/>
          <pc:sldMk cId="1141237820" sldId="2147471430"/>
        </pc:sldMkLst>
        <pc:spChg chg="mod">
          <ac:chgData name="John Paserba" userId="77bd6c8a-d0c1-4fea-8705-0169f65d0c0e" providerId="ADAL" clId="{FD5E66A9-D36E-40B5-9161-8BB75765BB68}" dt="2025-10-13T00:24:52.334" v="3188"/>
          <ac:spMkLst>
            <pc:docMk/>
            <pc:sldMk cId="1141237820" sldId="2147471430"/>
            <ac:spMk id="2" creationId="{6D8A165E-458A-41C5-8EC0-ED887338CD4B}"/>
          </ac:spMkLst>
        </pc:spChg>
        <pc:spChg chg="mod">
          <ac:chgData name="John Paserba" userId="77bd6c8a-d0c1-4fea-8705-0169f65d0c0e" providerId="ADAL" clId="{FD5E66A9-D36E-40B5-9161-8BB75765BB68}" dt="2025-10-13T02:08:49.872" v="3908" actId="207"/>
          <ac:spMkLst>
            <pc:docMk/>
            <pc:sldMk cId="1141237820" sldId="2147471430"/>
            <ac:spMk id="4" creationId="{C2C99258-52AB-4386-BD92-908479CB2924}"/>
          </ac:spMkLst>
        </pc:spChg>
      </pc:sldChg>
      <pc:sldChg chg="modSp add mod">
        <pc:chgData name="John Paserba" userId="77bd6c8a-d0c1-4fea-8705-0169f65d0c0e" providerId="ADAL" clId="{FD5E66A9-D36E-40B5-9161-8BB75765BB68}" dt="2025-10-12T22:07:15.413" v="2124" actId="20577"/>
        <pc:sldMkLst>
          <pc:docMk/>
          <pc:sldMk cId="2682349257" sldId="2147471431"/>
        </pc:sldMkLst>
        <pc:spChg chg="mod">
          <ac:chgData name="John Paserba" userId="77bd6c8a-d0c1-4fea-8705-0169f65d0c0e" providerId="ADAL" clId="{FD5E66A9-D36E-40B5-9161-8BB75765BB68}" dt="2025-10-12T22:07:15.413" v="2124" actId="20577"/>
          <ac:spMkLst>
            <pc:docMk/>
            <pc:sldMk cId="2682349257" sldId="2147471431"/>
            <ac:spMk id="12" creationId="{F45E667D-D9ED-4BE1-999E-2A4766484A8F}"/>
          </ac:spMkLst>
        </pc:spChg>
      </pc:sldChg>
      <pc:sldChg chg="addSp modSp add mod">
        <pc:chgData name="John Paserba" userId="77bd6c8a-d0c1-4fea-8705-0169f65d0c0e" providerId="ADAL" clId="{FD5E66A9-D36E-40B5-9161-8BB75765BB68}" dt="2025-10-12T20:38:02.611" v="1309" actId="14100"/>
        <pc:sldMkLst>
          <pc:docMk/>
          <pc:sldMk cId="2579604733" sldId="2147471482"/>
        </pc:sldMkLst>
        <pc:picChg chg="add mod">
          <ac:chgData name="John Paserba" userId="77bd6c8a-d0c1-4fea-8705-0169f65d0c0e" providerId="ADAL" clId="{FD5E66A9-D36E-40B5-9161-8BB75765BB68}" dt="2025-10-12T20:38:02.611" v="1309" actId="14100"/>
          <ac:picMkLst>
            <pc:docMk/>
            <pc:sldMk cId="2579604733" sldId="2147471482"/>
            <ac:picMk id="7" creationId="{CE371D9D-9204-42F4-9E4D-13CBD971E2D1}"/>
          </ac:picMkLst>
        </pc:picChg>
      </pc:sldChg>
      <pc:sldChg chg="addSp modSp add mod">
        <pc:chgData name="John Paserba" userId="77bd6c8a-d0c1-4fea-8705-0169f65d0c0e" providerId="ADAL" clId="{FD5E66A9-D36E-40B5-9161-8BB75765BB68}" dt="2025-10-12T20:36:22.688" v="1302" actId="1076"/>
        <pc:sldMkLst>
          <pc:docMk/>
          <pc:sldMk cId="738952954" sldId="2147471483"/>
        </pc:sldMkLst>
        <pc:picChg chg="add mod">
          <ac:chgData name="John Paserba" userId="77bd6c8a-d0c1-4fea-8705-0169f65d0c0e" providerId="ADAL" clId="{FD5E66A9-D36E-40B5-9161-8BB75765BB68}" dt="2025-10-12T20:36:22.688" v="1302" actId="1076"/>
          <ac:picMkLst>
            <pc:docMk/>
            <pc:sldMk cId="738952954" sldId="2147471483"/>
            <ac:picMk id="7" creationId="{E4D386D1-9134-409B-A7A6-0E558F410960}"/>
          </ac:picMkLst>
        </pc:picChg>
      </pc:sldChg>
      <pc:sldChg chg="addSp delSp modSp add mod">
        <pc:chgData name="John Paserba" userId="77bd6c8a-d0c1-4fea-8705-0169f65d0c0e" providerId="ADAL" clId="{FD5E66A9-D36E-40B5-9161-8BB75765BB68}" dt="2025-10-13T00:27:53.470" v="3200" actId="1076"/>
        <pc:sldMkLst>
          <pc:docMk/>
          <pc:sldMk cId="2160944429" sldId="2147471485"/>
        </pc:sldMkLst>
        <pc:spChg chg="mod">
          <ac:chgData name="John Paserba" userId="77bd6c8a-d0c1-4fea-8705-0169f65d0c0e" providerId="ADAL" clId="{FD5E66A9-D36E-40B5-9161-8BB75765BB68}" dt="2025-10-13T00:27:49.157" v="3198" actId="14100"/>
          <ac:spMkLst>
            <pc:docMk/>
            <pc:sldMk cId="2160944429" sldId="2147471485"/>
            <ac:spMk id="2" creationId="{24EFA49A-D6F0-94EB-2E4A-46AC510574DD}"/>
          </ac:spMkLst>
        </pc:spChg>
        <pc:picChg chg="add del mod">
          <ac:chgData name="John Paserba" userId="77bd6c8a-d0c1-4fea-8705-0169f65d0c0e" providerId="ADAL" clId="{FD5E66A9-D36E-40B5-9161-8BB75765BB68}" dt="2025-10-13T00:27:36.202" v="3195" actId="478"/>
          <ac:picMkLst>
            <pc:docMk/>
            <pc:sldMk cId="2160944429" sldId="2147471485"/>
            <ac:picMk id="3" creationId="{0BE3D37B-0E07-42FB-920F-17F8E07BF37A}"/>
          </ac:picMkLst>
        </pc:picChg>
        <pc:picChg chg="add mod">
          <ac:chgData name="John Paserba" userId="77bd6c8a-d0c1-4fea-8705-0169f65d0c0e" providerId="ADAL" clId="{FD5E66A9-D36E-40B5-9161-8BB75765BB68}" dt="2025-10-13T00:27:53.470" v="3200" actId="1076"/>
          <ac:picMkLst>
            <pc:docMk/>
            <pc:sldMk cId="2160944429" sldId="2147471485"/>
            <ac:picMk id="7" creationId="{B8B70719-2CC7-477D-9052-D3D6787D9638}"/>
          </ac:picMkLst>
        </pc:picChg>
      </pc:sldChg>
      <pc:sldChg chg="addSp modSp add mod">
        <pc:chgData name="John Paserba" userId="77bd6c8a-d0c1-4fea-8705-0169f65d0c0e" providerId="ADAL" clId="{FD5E66A9-D36E-40B5-9161-8BB75765BB68}" dt="2025-10-13T00:47:22.015" v="3394" actId="1076"/>
        <pc:sldMkLst>
          <pc:docMk/>
          <pc:sldMk cId="1243136271" sldId="2147471486"/>
        </pc:sldMkLst>
        <pc:picChg chg="add mod">
          <ac:chgData name="John Paserba" userId="77bd6c8a-d0c1-4fea-8705-0169f65d0c0e" providerId="ADAL" clId="{FD5E66A9-D36E-40B5-9161-8BB75765BB68}" dt="2025-10-12T20:39:13.413" v="1316" actId="1076"/>
          <ac:picMkLst>
            <pc:docMk/>
            <pc:sldMk cId="1243136271" sldId="2147471486"/>
            <ac:picMk id="7" creationId="{56A97FAB-D0F7-4C64-B7FE-1DED324BEDBD}"/>
          </ac:picMkLst>
        </pc:picChg>
        <pc:picChg chg="add mod">
          <ac:chgData name="John Paserba" userId="77bd6c8a-d0c1-4fea-8705-0169f65d0c0e" providerId="ADAL" clId="{FD5E66A9-D36E-40B5-9161-8BB75765BB68}" dt="2025-10-13T00:47:22.015" v="3394" actId="1076"/>
          <ac:picMkLst>
            <pc:docMk/>
            <pc:sldMk cId="1243136271" sldId="2147471486"/>
            <ac:picMk id="8" creationId="{8D649C5B-5CC3-49C2-81DD-2A4A145C109D}"/>
          </ac:picMkLst>
        </pc:picChg>
      </pc:sldChg>
      <pc:sldChg chg="addSp modSp add mod">
        <pc:chgData name="John Paserba" userId="77bd6c8a-d0c1-4fea-8705-0169f65d0c0e" providerId="ADAL" clId="{FD5E66A9-D36E-40B5-9161-8BB75765BB68}" dt="2025-10-12T20:39:20.552" v="1317" actId="14100"/>
        <pc:sldMkLst>
          <pc:docMk/>
          <pc:sldMk cId="36691321" sldId="2147471487"/>
        </pc:sldMkLst>
        <pc:spChg chg="mod">
          <ac:chgData name="John Paserba" userId="77bd6c8a-d0c1-4fea-8705-0169f65d0c0e" providerId="ADAL" clId="{FD5E66A9-D36E-40B5-9161-8BB75765BB68}" dt="2025-10-12T20:37:02.827" v="1306" actId="14100"/>
          <ac:spMkLst>
            <pc:docMk/>
            <pc:sldMk cId="36691321" sldId="2147471487"/>
            <ac:spMk id="2" creationId="{24EFA49A-D6F0-94EB-2E4A-46AC510574DD}"/>
          </ac:spMkLst>
        </pc:spChg>
        <pc:picChg chg="add mod">
          <ac:chgData name="John Paserba" userId="77bd6c8a-d0c1-4fea-8705-0169f65d0c0e" providerId="ADAL" clId="{FD5E66A9-D36E-40B5-9161-8BB75765BB68}" dt="2025-10-12T20:39:20.552" v="1317" actId="14100"/>
          <ac:picMkLst>
            <pc:docMk/>
            <pc:sldMk cId="36691321" sldId="2147471487"/>
            <ac:picMk id="3" creationId="{E5C7A4F3-CB5E-4A99-973F-D43659E1DAD5}"/>
          </ac:picMkLst>
        </pc:picChg>
      </pc:sldChg>
      <pc:sldChg chg="addSp delSp modSp add del mod">
        <pc:chgData name="John Paserba" userId="77bd6c8a-d0c1-4fea-8705-0169f65d0c0e" providerId="ADAL" clId="{FD5E66A9-D36E-40B5-9161-8BB75765BB68}" dt="2025-10-12T22:55:46.401" v="2783" actId="47"/>
        <pc:sldMkLst>
          <pc:docMk/>
          <pc:sldMk cId="626359095" sldId="2147471497"/>
        </pc:sldMkLst>
        <pc:spChg chg="mod">
          <ac:chgData name="John Paserba" userId="77bd6c8a-d0c1-4fea-8705-0169f65d0c0e" providerId="ADAL" clId="{FD5E66A9-D36E-40B5-9161-8BB75765BB68}" dt="2025-10-12T20:42:38.253" v="1332"/>
          <ac:spMkLst>
            <pc:docMk/>
            <pc:sldMk cId="626359095" sldId="2147471497"/>
            <ac:spMk id="9" creationId="{58758731-E27C-4F23-86F8-32DD400A3371}"/>
          </ac:spMkLst>
        </pc:spChg>
        <pc:spChg chg="mod">
          <ac:chgData name="John Paserba" userId="77bd6c8a-d0c1-4fea-8705-0169f65d0c0e" providerId="ADAL" clId="{FD5E66A9-D36E-40B5-9161-8BB75765BB68}" dt="2025-10-12T20:42:38.253" v="1332"/>
          <ac:spMkLst>
            <pc:docMk/>
            <pc:sldMk cId="626359095" sldId="2147471497"/>
            <ac:spMk id="10" creationId="{B6E16E08-AEE2-43C3-A57C-8D0336B8E8FC}"/>
          </ac:spMkLst>
        </pc:spChg>
        <pc:spChg chg="mod">
          <ac:chgData name="John Paserba" userId="77bd6c8a-d0c1-4fea-8705-0169f65d0c0e" providerId="ADAL" clId="{FD5E66A9-D36E-40B5-9161-8BB75765BB68}" dt="2025-10-12T20:42:38.253" v="1332"/>
          <ac:spMkLst>
            <pc:docMk/>
            <pc:sldMk cId="626359095" sldId="2147471497"/>
            <ac:spMk id="14" creationId="{E86DD002-A138-43E4-BDD2-7B56BE344BC8}"/>
          </ac:spMkLst>
        </pc:spChg>
        <pc:spChg chg="mod">
          <ac:chgData name="John Paserba" userId="77bd6c8a-d0c1-4fea-8705-0169f65d0c0e" providerId="ADAL" clId="{FD5E66A9-D36E-40B5-9161-8BB75765BB68}" dt="2025-10-12T20:42:38.253" v="1332"/>
          <ac:spMkLst>
            <pc:docMk/>
            <pc:sldMk cId="626359095" sldId="2147471497"/>
            <ac:spMk id="17" creationId="{7CC7ECAE-B0B7-460C-8047-A99DE1F3120D}"/>
          </ac:spMkLst>
        </pc:spChg>
        <pc:spChg chg="mod">
          <ac:chgData name="John Paserba" userId="77bd6c8a-d0c1-4fea-8705-0169f65d0c0e" providerId="ADAL" clId="{FD5E66A9-D36E-40B5-9161-8BB75765BB68}" dt="2025-10-12T20:42:38.253" v="1332"/>
          <ac:spMkLst>
            <pc:docMk/>
            <pc:sldMk cId="626359095" sldId="2147471497"/>
            <ac:spMk id="18" creationId="{DEBBD46D-A401-41BF-BB8A-469442C1F135}"/>
          </ac:spMkLst>
        </pc:spChg>
        <pc:spChg chg="mod">
          <ac:chgData name="John Paserba" userId="77bd6c8a-d0c1-4fea-8705-0169f65d0c0e" providerId="ADAL" clId="{FD5E66A9-D36E-40B5-9161-8BB75765BB68}" dt="2025-10-12T20:42:38.253" v="1332"/>
          <ac:spMkLst>
            <pc:docMk/>
            <pc:sldMk cId="626359095" sldId="2147471497"/>
            <ac:spMk id="21" creationId="{7FFE3C36-0768-4F4F-92BC-5B5C7945E239}"/>
          </ac:spMkLst>
        </pc:spChg>
        <pc:spChg chg="mod">
          <ac:chgData name="John Paserba" userId="77bd6c8a-d0c1-4fea-8705-0169f65d0c0e" providerId="ADAL" clId="{FD5E66A9-D36E-40B5-9161-8BB75765BB68}" dt="2025-10-12T20:42:38.253" v="1332"/>
          <ac:spMkLst>
            <pc:docMk/>
            <pc:sldMk cId="626359095" sldId="2147471497"/>
            <ac:spMk id="22" creationId="{6C91E1FB-3DE5-4FD2-B540-C81A80806960}"/>
          </ac:spMkLst>
        </pc:spChg>
        <pc:spChg chg="mod">
          <ac:chgData name="John Paserba" userId="77bd6c8a-d0c1-4fea-8705-0169f65d0c0e" providerId="ADAL" clId="{FD5E66A9-D36E-40B5-9161-8BB75765BB68}" dt="2025-10-12T20:42:38.253" v="1332"/>
          <ac:spMkLst>
            <pc:docMk/>
            <pc:sldMk cId="626359095" sldId="2147471497"/>
            <ac:spMk id="23" creationId="{63BF9EE7-AA6B-40A0-B41D-0FE443FBB526}"/>
          </ac:spMkLst>
        </pc:spChg>
        <pc:spChg chg="mod">
          <ac:chgData name="John Paserba" userId="77bd6c8a-d0c1-4fea-8705-0169f65d0c0e" providerId="ADAL" clId="{FD5E66A9-D36E-40B5-9161-8BB75765BB68}" dt="2025-10-12T20:42:38.253" v="1332"/>
          <ac:spMkLst>
            <pc:docMk/>
            <pc:sldMk cId="626359095" sldId="2147471497"/>
            <ac:spMk id="24" creationId="{6BF3B032-1D0A-4D39-A1E5-B73EC45B3CB5}"/>
          </ac:spMkLst>
        </pc:spChg>
        <pc:spChg chg="mod">
          <ac:chgData name="John Paserba" userId="77bd6c8a-d0c1-4fea-8705-0169f65d0c0e" providerId="ADAL" clId="{FD5E66A9-D36E-40B5-9161-8BB75765BB68}" dt="2025-10-12T20:42:38.253" v="1332"/>
          <ac:spMkLst>
            <pc:docMk/>
            <pc:sldMk cId="626359095" sldId="2147471497"/>
            <ac:spMk id="25" creationId="{F0C7CCB5-E785-42CA-B019-ABAC94867752}"/>
          </ac:spMkLst>
        </pc:spChg>
        <pc:spChg chg="mod">
          <ac:chgData name="John Paserba" userId="77bd6c8a-d0c1-4fea-8705-0169f65d0c0e" providerId="ADAL" clId="{FD5E66A9-D36E-40B5-9161-8BB75765BB68}" dt="2025-10-12T20:42:38.253" v="1332"/>
          <ac:spMkLst>
            <pc:docMk/>
            <pc:sldMk cId="626359095" sldId="2147471497"/>
            <ac:spMk id="26" creationId="{4618F694-C515-4013-A151-4BD3E11E3A2F}"/>
          </ac:spMkLst>
        </pc:spChg>
        <pc:spChg chg="mod">
          <ac:chgData name="John Paserba" userId="77bd6c8a-d0c1-4fea-8705-0169f65d0c0e" providerId="ADAL" clId="{FD5E66A9-D36E-40B5-9161-8BB75765BB68}" dt="2025-10-12T20:42:38.253" v="1332"/>
          <ac:spMkLst>
            <pc:docMk/>
            <pc:sldMk cId="626359095" sldId="2147471497"/>
            <ac:spMk id="27" creationId="{041C1B12-E955-4CEB-8302-EA26CC43B2DE}"/>
          </ac:spMkLst>
        </pc:spChg>
        <pc:spChg chg="mod">
          <ac:chgData name="John Paserba" userId="77bd6c8a-d0c1-4fea-8705-0169f65d0c0e" providerId="ADAL" clId="{FD5E66A9-D36E-40B5-9161-8BB75765BB68}" dt="2025-10-12T20:42:38.253" v="1332"/>
          <ac:spMkLst>
            <pc:docMk/>
            <pc:sldMk cId="626359095" sldId="2147471497"/>
            <ac:spMk id="28" creationId="{C6988F69-21B9-411A-9B97-E32F89E2A047}"/>
          </ac:spMkLst>
        </pc:spChg>
        <pc:spChg chg="mod">
          <ac:chgData name="John Paserba" userId="77bd6c8a-d0c1-4fea-8705-0169f65d0c0e" providerId="ADAL" clId="{FD5E66A9-D36E-40B5-9161-8BB75765BB68}" dt="2025-10-12T20:42:38.253" v="1332"/>
          <ac:spMkLst>
            <pc:docMk/>
            <pc:sldMk cId="626359095" sldId="2147471497"/>
            <ac:spMk id="29" creationId="{7FBDA71B-6C53-46FD-9418-ECBA41188080}"/>
          </ac:spMkLst>
        </pc:spChg>
        <pc:spChg chg="mod">
          <ac:chgData name="John Paserba" userId="77bd6c8a-d0c1-4fea-8705-0169f65d0c0e" providerId="ADAL" clId="{FD5E66A9-D36E-40B5-9161-8BB75765BB68}" dt="2025-10-12T20:42:47.154" v="1336"/>
          <ac:spMkLst>
            <pc:docMk/>
            <pc:sldMk cId="626359095" sldId="2147471497"/>
            <ac:spMk id="32" creationId="{C75E1A66-3423-45C5-AF80-DC6FA1324E30}"/>
          </ac:spMkLst>
        </pc:spChg>
        <pc:spChg chg="mod">
          <ac:chgData name="John Paserba" userId="77bd6c8a-d0c1-4fea-8705-0169f65d0c0e" providerId="ADAL" clId="{FD5E66A9-D36E-40B5-9161-8BB75765BB68}" dt="2025-10-12T20:42:47.154" v="1336"/>
          <ac:spMkLst>
            <pc:docMk/>
            <pc:sldMk cId="626359095" sldId="2147471497"/>
            <ac:spMk id="33" creationId="{66BA65C5-6432-4442-B8B6-4A854DF2EAB8}"/>
          </ac:spMkLst>
        </pc:spChg>
        <pc:spChg chg="mod">
          <ac:chgData name="John Paserba" userId="77bd6c8a-d0c1-4fea-8705-0169f65d0c0e" providerId="ADAL" clId="{FD5E66A9-D36E-40B5-9161-8BB75765BB68}" dt="2025-10-12T20:42:47.154" v="1336"/>
          <ac:spMkLst>
            <pc:docMk/>
            <pc:sldMk cId="626359095" sldId="2147471497"/>
            <ac:spMk id="37" creationId="{4BDB1184-7E5E-4B61-A1C4-DDB192F63F16}"/>
          </ac:spMkLst>
        </pc:spChg>
        <pc:spChg chg="mod">
          <ac:chgData name="John Paserba" userId="77bd6c8a-d0c1-4fea-8705-0169f65d0c0e" providerId="ADAL" clId="{FD5E66A9-D36E-40B5-9161-8BB75765BB68}" dt="2025-10-12T20:42:47.154" v="1336"/>
          <ac:spMkLst>
            <pc:docMk/>
            <pc:sldMk cId="626359095" sldId="2147471497"/>
            <ac:spMk id="40" creationId="{346A4B45-075F-4948-8E5D-78E1501C0B6B}"/>
          </ac:spMkLst>
        </pc:spChg>
        <pc:spChg chg="mod">
          <ac:chgData name="John Paserba" userId="77bd6c8a-d0c1-4fea-8705-0169f65d0c0e" providerId="ADAL" clId="{FD5E66A9-D36E-40B5-9161-8BB75765BB68}" dt="2025-10-12T20:42:47.154" v="1336"/>
          <ac:spMkLst>
            <pc:docMk/>
            <pc:sldMk cId="626359095" sldId="2147471497"/>
            <ac:spMk id="41" creationId="{A1DF4E1B-4A0F-4862-8119-4B837C523FFC}"/>
          </ac:spMkLst>
        </pc:spChg>
        <pc:spChg chg="mod">
          <ac:chgData name="John Paserba" userId="77bd6c8a-d0c1-4fea-8705-0169f65d0c0e" providerId="ADAL" clId="{FD5E66A9-D36E-40B5-9161-8BB75765BB68}" dt="2025-10-12T20:42:47.154" v="1336"/>
          <ac:spMkLst>
            <pc:docMk/>
            <pc:sldMk cId="626359095" sldId="2147471497"/>
            <ac:spMk id="44" creationId="{131D5922-1D39-4F9F-9B40-5E1DDB56E852}"/>
          </ac:spMkLst>
        </pc:spChg>
        <pc:spChg chg="mod">
          <ac:chgData name="John Paserba" userId="77bd6c8a-d0c1-4fea-8705-0169f65d0c0e" providerId="ADAL" clId="{FD5E66A9-D36E-40B5-9161-8BB75765BB68}" dt="2025-10-12T20:42:47.154" v="1336"/>
          <ac:spMkLst>
            <pc:docMk/>
            <pc:sldMk cId="626359095" sldId="2147471497"/>
            <ac:spMk id="45" creationId="{DC0FA2AA-1E4D-4C18-9159-EAEDFBA9FE0C}"/>
          </ac:spMkLst>
        </pc:spChg>
        <pc:spChg chg="mod">
          <ac:chgData name="John Paserba" userId="77bd6c8a-d0c1-4fea-8705-0169f65d0c0e" providerId="ADAL" clId="{FD5E66A9-D36E-40B5-9161-8BB75765BB68}" dt="2025-10-12T20:42:47.154" v="1336"/>
          <ac:spMkLst>
            <pc:docMk/>
            <pc:sldMk cId="626359095" sldId="2147471497"/>
            <ac:spMk id="46" creationId="{6A78235C-2FB0-460C-89B4-3416FD62AE21}"/>
          </ac:spMkLst>
        </pc:spChg>
        <pc:spChg chg="mod">
          <ac:chgData name="John Paserba" userId="77bd6c8a-d0c1-4fea-8705-0169f65d0c0e" providerId="ADAL" clId="{FD5E66A9-D36E-40B5-9161-8BB75765BB68}" dt="2025-10-12T20:42:47.154" v="1336"/>
          <ac:spMkLst>
            <pc:docMk/>
            <pc:sldMk cId="626359095" sldId="2147471497"/>
            <ac:spMk id="47" creationId="{CF08EA5E-E801-4B9C-9459-39AD5888237B}"/>
          </ac:spMkLst>
        </pc:spChg>
        <pc:spChg chg="mod">
          <ac:chgData name="John Paserba" userId="77bd6c8a-d0c1-4fea-8705-0169f65d0c0e" providerId="ADAL" clId="{FD5E66A9-D36E-40B5-9161-8BB75765BB68}" dt="2025-10-12T20:42:47.154" v="1336"/>
          <ac:spMkLst>
            <pc:docMk/>
            <pc:sldMk cId="626359095" sldId="2147471497"/>
            <ac:spMk id="48" creationId="{ED4047B4-A29E-48E6-AB19-E9E4B7EB8503}"/>
          </ac:spMkLst>
        </pc:spChg>
        <pc:spChg chg="mod">
          <ac:chgData name="John Paserba" userId="77bd6c8a-d0c1-4fea-8705-0169f65d0c0e" providerId="ADAL" clId="{FD5E66A9-D36E-40B5-9161-8BB75765BB68}" dt="2025-10-12T20:42:47.154" v="1336"/>
          <ac:spMkLst>
            <pc:docMk/>
            <pc:sldMk cId="626359095" sldId="2147471497"/>
            <ac:spMk id="49" creationId="{93C3D059-6549-4201-ACDC-1EDE9AB5A335}"/>
          </ac:spMkLst>
        </pc:spChg>
        <pc:spChg chg="mod">
          <ac:chgData name="John Paserba" userId="77bd6c8a-d0c1-4fea-8705-0169f65d0c0e" providerId="ADAL" clId="{FD5E66A9-D36E-40B5-9161-8BB75765BB68}" dt="2025-10-12T20:42:47.154" v="1336"/>
          <ac:spMkLst>
            <pc:docMk/>
            <pc:sldMk cId="626359095" sldId="2147471497"/>
            <ac:spMk id="50" creationId="{D9F4F998-1341-4DBD-85C3-AF2D8D1F278D}"/>
          </ac:spMkLst>
        </pc:spChg>
        <pc:spChg chg="mod">
          <ac:chgData name="John Paserba" userId="77bd6c8a-d0c1-4fea-8705-0169f65d0c0e" providerId="ADAL" clId="{FD5E66A9-D36E-40B5-9161-8BB75765BB68}" dt="2025-10-12T20:42:47.154" v="1336"/>
          <ac:spMkLst>
            <pc:docMk/>
            <pc:sldMk cId="626359095" sldId="2147471497"/>
            <ac:spMk id="51" creationId="{3C73B004-8157-4513-813F-EE3A3C594858}"/>
          </ac:spMkLst>
        </pc:spChg>
        <pc:spChg chg="mod">
          <ac:chgData name="John Paserba" userId="77bd6c8a-d0c1-4fea-8705-0169f65d0c0e" providerId="ADAL" clId="{FD5E66A9-D36E-40B5-9161-8BB75765BB68}" dt="2025-10-12T20:42:47.154" v="1336"/>
          <ac:spMkLst>
            <pc:docMk/>
            <pc:sldMk cId="626359095" sldId="2147471497"/>
            <ac:spMk id="52" creationId="{3FDDED65-C99F-40FE-89B2-9EF991236698}"/>
          </ac:spMkLst>
        </pc:spChg>
        <pc:grpChg chg="add del mod">
          <ac:chgData name="John Paserba" userId="77bd6c8a-d0c1-4fea-8705-0169f65d0c0e" providerId="ADAL" clId="{FD5E66A9-D36E-40B5-9161-8BB75765BB68}" dt="2025-10-12T20:42:44.846" v="1335" actId="478"/>
          <ac:grpSpMkLst>
            <pc:docMk/>
            <pc:sldMk cId="626359095" sldId="2147471497"/>
            <ac:grpSpMk id="7" creationId="{315856E2-E6FA-45E0-A04B-12C702E19BD2}"/>
          </ac:grpSpMkLst>
        </pc:grpChg>
        <pc:grpChg chg="mod">
          <ac:chgData name="John Paserba" userId="77bd6c8a-d0c1-4fea-8705-0169f65d0c0e" providerId="ADAL" clId="{FD5E66A9-D36E-40B5-9161-8BB75765BB68}" dt="2025-10-12T20:42:38.253" v="1332"/>
          <ac:grpSpMkLst>
            <pc:docMk/>
            <pc:sldMk cId="626359095" sldId="2147471497"/>
            <ac:grpSpMk id="13" creationId="{21D0D946-FD1C-4B47-8287-B865D2E738CA}"/>
          </ac:grpSpMkLst>
        </pc:grpChg>
        <pc:grpChg chg="mod">
          <ac:chgData name="John Paserba" userId="77bd6c8a-d0c1-4fea-8705-0169f65d0c0e" providerId="ADAL" clId="{FD5E66A9-D36E-40B5-9161-8BB75765BB68}" dt="2025-10-12T20:42:38.253" v="1332"/>
          <ac:grpSpMkLst>
            <pc:docMk/>
            <pc:sldMk cId="626359095" sldId="2147471497"/>
            <ac:grpSpMk id="15" creationId="{45501FC0-6D4F-4FBD-9FDC-89DC54590B98}"/>
          </ac:grpSpMkLst>
        </pc:grpChg>
        <pc:grpChg chg="mod">
          <ac:chgData name="John Paserba" userId="77bd6c8a-d0c1-4fea-8705-0169f65d0c0e" providerId="ADAL" clId="{FD5E66A9-D36E-40B5-9161-8BB75765BB68}" dt="2025-10-12T20:42:38.253" v="1332"/>
          <ac:grpSpMkLst>
            <pc:docMk/>
            <pc:sldMk cId="626359095" sldId="2147471497"/>
            <ac:grpSpMk id="16" creationId="{B006AAE2-514C-43A1-AFE2-C6965EEB064F}"/>
          </ac:grpSpMkLst>
        </pc:grpChg>
        <pc:grpChg chg="mod">
          <ac:chgData name="John Paserba" userId="77bd6c8a-d0c1-4fea-8705-0169f65d0c0e" providerId="ADAL" clId="{FD5E66A9-D36E-40B5-9161-8BB75765BB68}" dt="2025-10-12T20:42:38.253" v="1332"/>
          <ac:grpSpMkLst>
            <pc:docMk/>
            <pc:sldMk cId="626359095" sldId="2147471497"/>
            <ac:grpSpMk id="19" creationId="{AECC1788-7189-4B16-A533-26296DA59F9E}"/>
          </ac:grpSpMkLst>
        </pc:grpChg>
        <pc:grpChg chg="add mod">
          <ac:chgData name="John Paserba" userId="77bd6c8a-d0c1-4fea-8705-0169f65d0c0e" providerId="ADAL" clId="{FD5E66A9-D36E-40B5-9161-8BB75765BB68}" dt="2025-10-12T20:43:00.252" v="1341" actId="14100"/>
          <ac:grpSpMkLst>
            <pc:docMk/>
            <pc:sldMk cId="626359095" sldId="2147471497"/>
            <ac:grpSpMk id="30" creationId="{00B53342-36AA-427F-A63F-8596ADABB65B}"/>
          </ac:grpSpMkLst>
        </pc:grpChg>
        <pc:grpChg chg="mod">
          <ac:chgData name="John Paserba" userId="77bd6c8a-d0c1-4fea-8705-0169f65d0c0e" providerId="ADAL" clId="{FD5E66A9-D36E-40B5-9161-8BB75765BB68}" dt="2025-10-12T20:42:47.154" v="1336"/>
          <ac:grpSpMkLst>
            <pc:docMk/>
            <pc:sldMk cId="626359095" sldId="2147471497"/>
            <ac:grpSpMk id="36" creationId="{17749B2E-76A2-4935-AA5F-063D3041CA31}"/>
          </ac:grpSpMkLst>
        </pc:grpChg>
        <pc:grpChg chg="mod">
          <ac:chgData name="John Paserba" userId="77bd6c8a-d0c1-4fea-8705-0169f65d0c0e" providerId="ADAL" clId="{FD5E66A9-D36E-40B5-9161-8BB75765BB68}" dt="2025-10-12T20:42:47.154" v="1336"/>
          <ac:grpSpMkLst>
            <pc:docMk/>
            <pc:sldMk cId="626359095" sldId="2147471497"/>
            <ac:grpSpMk id="38" creationId="{936CFBE8-9B45-4607-958A-EDA275FFE354}"/>
          </ac:grpSpMkLst>
        </pc:grpChg>
        <pc:grpChg chg="mod">
          <ac:chgData name="John Paserba" userId="77bd6c8a-d0c1-4fea-8705-0169f65d0c0e" providerId="ADAL" clId="{FD5E66A9-D36E-40B5-9161-8BB75765BB68}" dt="2025-10-12T20:42:47.154" v="1336"/>
          <ac:grpSpMkLst>
            <pc:docMk/>
            <pc:sldMk cId="626359095" sldId="2147471497"/>
            <ac:grpSpMk id="39" creationId="{3A99A08D-E442-40B1-9604-3EA7A730FE1B}"/>
          </ac:grpSpMkLst>
        </pc:grpChg>
        <pc:grpChg chg="mod">
          <ac:chgData name="John Paserba" userId="77bd6c8a-d0c1-4fea-8705-0169f65d0c0e" providerId="ADAL" clId="{FD5E66A9-D36E-40B5-9161-8BB75765BB68}" dt="2025-10-12T20:42:47.154" v="1336"/>
          <ac:grpSpMkLst>
            <pc:docMk/>
            <pc:sldMk cId="626359095" sldId="2147471497"/>
            <ac:grpSpMk id="42" creationId="{F9E0D1A1-719C-404D-9EF5-81FEEF37D313}"/>
          </ac:grpSpMkLst>
        </pc:grpChg>
        <pc:picChg chg="mod">
          <ac:chgData name="John Paserba" userId="77bd6c8a-d0c1-4fea-8705-0169f65d0c0e" providerId="ADAL" clId="{FD5E66A9-D36E-40B5-9161-8BB75765BB68}" dt="2025-10-12T20:42:38.253" v="1332"/>
          <ac:picMkLst>
            <pc:docMk/>
            <pc:sldMk cId="626359095" sldId="2147471497"/>
            <ac:picMk id="8" creationId="{EE80A301-A1DC-4B7C-B41D-5481D729B398}"/>
          </ac:picMkLst>
        </pc:picChg>
        <pc:picChg chg="mod">
          <ac:chgData name="John Paserba" userId="77bd6c8a-d0c1-4fea-8705-0169f65d0c0e" providerId="ADAL" clId="{FD5E66A9-D36E-40B5-9161-8BB75765BB68}" dt="2025-10-12T20:42:38.253" v="1332"/>
          <ac:picMkLst>
            <pc:docMk/>
            <pc:sldMk cId="626359095" sldId="2147471497"/>
            <ac:picMk id="11" creationId="{808CBC1C-A212-499C-ADF9-DF6AC3811C8A}"/>
          </ac:picMkLst>
        </pc:picChg>
        <pc:picChg chg="mod">
          <ac:chgData name="John Paserba" userId="77bd6c8a-d0c1-4fea-8705-0169f65d0c0e" providerId="ADAL" clId="{FD5E66A9-D36E-40B5-9161-8BB75765BB68}" dt="2025-10-12T20:42:38.253" v="1332"/>
          <ac:picMkLst>
            <pc:docMk/>
            <pc:sldMk cId="626359095" sldId="2147471497"/>
            <ac:picMk id="12" creationId="{332D9162-1188-4AE8-8581-CDF2ECD82BCA}"/>
          </ac:picMkLst>
        </pc:picChg>
        <pc:picChg chg="mod">
          <ac:chgData name="John Paserba" userId="77bd6c8a-d0c1-4fea-8705-0169f65d0c0e" providerId="ADAL" clId="{FD5E66A9-D36E-40B5-9161-8BB75765BB68}" dt="2025-10-12T20:42:38.253" v="1332"/>
          <ac:picMkLst>
            <pc:docMk/>
            <pc:sldMk cId="626359095" sldId="2147471497"/>
            <ac:picMk id="20" creationId="{A2BCB0EC-AACB-4E96-9591-1AF96BA808C4}"/>
          </ac:picMkLst>
        </pc:picChg>
        <pc:picChg chg="mod">
          <ac:chgData name="John Paserba" userId="77bd6c8a-d0c1-4fea-8705-0169f65d0c0e" providerId="ADAL" clId="{FD5E66A9-D36E-40B5-9161-8BB75765BB68}" dt="2025-10-12T20:42:47.154" v="1336"/>
          <ac:picMkLst>
            <pc:docMk/>
            <pc:sldMk cId="626359095" sldId="2147471497"/>
            <ac:picMk id="31" creationId="{ABFB04A4-86E4-4944-B917-26E93DF55B74}"/>
          </ac:picMkLst>
        </pc:picChg>
        <pc:picChg chg="mod">
          <ac:chgData name="John Paserba" userId="77bd6c8a-d0c1-4fea-8705-0169f65d0c0e" providerId="ADAL" clId="{FD5E66A9-D36E-40B5-9161-8BB75765BB68}" dt="2025-10-12T20:42:47.154" v="1336"/>
          <ac:picMkLst>
            <pc:docMk/>
            <pc:sldMk cId="626359095" sldId="2147471497"/>
            <ac:picMk id="34" creationId="{36798C0D-C777-496F-9A26-888934CC4615}"/>
          </ac:picMkLst>
        </pc:picChg>
        <pc:picChg chg="mod">
          <ac:chgData name="John Paserba" userId="77bd6c8a-d0c1-4fea-8705-0169f65d0c0e" providerId="ADAL" clId="{FD5E66A9-D36E-40B5-9161-8BB75765BB68}" dt="2025-10-12T20:42:47.154" v="1336"/>
          <ac:picMkLst>
            <pc:docMk/>
            <pc:sldMk cId="626359095" sldId="2147471497"/>
            <ac:picMk id="35" creationId="{F29F04AA-8C7C-4B1A-B1C2-24B6FF28FD70}"/>
          </ac:picMkLst>
        </pc:picChg>
        <pc:picChg chg="mod">
          <ac:chgData name="John Paserba" userId="77bd6c8a-d0c1-4fea-8705-0169f65d0c0e" providerId="ADAL" clId="{FD5E66A9-D36E-40B5-9161-8BB75765BB68}" dt="2025-10-12T20:42:47.154" v="1336"/>
          <ac:picMkLst>
            <pc:docMk/>
            <pc:sldMk cId="626359095" sldId="2147471497"/>
            <ac:picMk id="43" creationId="{AD9F37EE-A97D-4573-BCFD-C3993E70FFE8}"/>
          </ac:picMkLst>
        </pc:picChg>
      </pc:sldChg>
      <pc:sldChg chg="modSp mod">
        <pc:chgData name="John Paserba" userId="77bd6c8a-d0c1-4fea-8705-0169f65d0c0e" providerId="ADAL" clId="{FD5E66A9-D36E-40B5-9161-8BB75765BB68}" dt="2025-10-12T22:58:48.765" v="2820" actId="1036"/>
        <pc:sldMkLst>
          <pc:docMk/>
          <pc:sldMk cId="1348948237" sldId="2147471498"/>
        </pc:sldMkLst>
        <pc:spChg chg="ord">
          <ac:chgData name="John Paserba" userId="77bd6c8a-d0c1-4fea-8705-0169f65d0c0e" providerId="ADAL" clId="{FD5E66A9-D36E-40B5-9161-8BB75765BB68}" dt="2025-10-12T22:58:28.280" v="2812" actId="166"/>
          <ac:spMkLst>
            <pc:docMk/>
            <pc:sldMk cId="1348948237" sldId="2147471498"/>
            <ac:spMk id="2" creationId="{3B5B24DB-4E6B-F17F-D97D-26D8E841AD3B}"/>
          </ac:spMkLst>
        </pc:spChg>
        <pc:picChg chg="mod">
          <ac:chgData name="John Paserba" userId="77bd6c8a-d0c1-4fea-8705-0169f65d0c0e" providerId="ADAL" clId="{FD5E66A9-D36E-40B5-9161-8BB75765BB68}" dt="2025-10-12T22:58:48.765" v="2820" actId="1036"/>
          <ac:picMkLst>
            <pc:docMk/>
            <pc:sldMk cId="1348948237" sldId="2147471498"/>
            <ac:picMk id="7" creationId="{755ED73F-A1C3-32E2-E8BB-46765E57D992}"/>
          </ac:picMkLst>
        </pc:picChg>
      </pc:sldChg>
      <pc:sldChg chg="modSp mod">
        <pc:chgData name="John Paserba" userId="77bd6c8a-d0c1-4fea-8705-0169f65d0c0e" providerId="ADAL" clId="{FD5E66A9-D36E-40B5-9161-8BB75765BB68}" dt="2025-10-13T02:19:41.183" v="4051" actId="207"/>
        <pc:sldMkLst>
          <pc:docMk/>
          <pc:sldMk cId="1509309180" sldId="2147471499"/>
        </pc:sldMkLst>
        <pc:spChg chg="mod">
          <ac:chgData name="John Paserba" userId="77bd6c8a-d0c1-4fea-8705-0169f65d0c0e" providerId="ADAL" clId="{FD5E66A9-D36E-40B5-9161-8BB75765BB68}" dt="2025-10-13T02:19:41.183" v="4051" actId="207"/>
          <ac:spMkLst>
            <pc:docMk/>
            <pc:sldMk cId="1509309180" sldId="2147471499"/>
            <ac:spMk id="3" creationId="{E6993746-A424-4F09-867F-B919F4E18ECB}"/>
          </ac:spMkLst>
        </pc:spChg>
        <pc:spChg chg="mod">
          <ac:chgData name="John Paserba" userId="77bd6c8a-d0c1-4fea-8705-0169f65d0c0e" providerId="ADAL" clId="{FD5E66A9-D36E-40B5-9161-8BB75765BB68}" dt="2025-10-12T22:58:14.580" v="2811" actId="2711"/>
          <ac:spMkLst>
            <pc:docMk/>
            <pc:sldMk cId="1509309180" sldId="2147471499"/>
            <ac:spMk id="3328002" creationId="{00000000-0000-0000-0000-000000000000}"/>
          </ac:spMkLst>
        </pc:spChg>
      </pc:sldChg>
      <pc:sldChg chg="modSp mod">
        <pc:chgData name="John Paserba" userId="77bd6c8a-d0c1-4fea-8705-0169f65d0c0e" providerId="ADAL" clId="{FD5E66A9-D36E-40B5-9161-8BB75765BB68}" dt="2025-10-13T02:14:23.303" v="3982" actId="207"/>
        <pc:sldMkLst>
          <pc:docMk/>
          <pc:sldMk cId="3911101945" sldId="2147471500"/>
        </pc:sldMkLst>
        <pc:spChg chg="mod">
          <ac:chgData name="John Paserba" userId="77bd6c8a-d0c1-4fea-8705-0169f65d0c0e" providerId="ADAL" clId="{FD5E66A9-D36E-40B5-9161-8BB75765BB68}" dt="2025-10-13T02:14:23.303" v="3982" actId="207"/>
          <ac:spMkLst>
            <pc:docMk/>
            <pc:sldMk cId="3911101945" sldId="2147471500"/>
            <ac:spMk id="53" creationId="{743FCCFB-D72E-5E22-B417-6E3A960B4245}"/>
          </ac:spMkLst>
        </pc:spChg>
      </pc:sldChg>
      <pc:sldChg chg="modSp mod">
        <pc:chgData name="John Paserba" userId="77bd6c8a-d0c1-4fea-8705-0169f65d0c0e" providerId="ADAL" clId="{FD5E66A9-D36E-40B5-9161-8BB75765BB68}" dt="2025-10-12T23:01:50.520" v="2855" actId="948"/>
        <pc:sldMkLst>
          <pc:docMk/>
          <pc:sldMk cId="2193624052" sldId="2147471501"/>
        </pc:sldMkLst>
        <pc:spChg chg="mod">
          <ac:chgData name="John Paserba" userId="77bd6c8a-d0c1-4fea-8705-0169f65d0c0e" providerId="ADAL" clId="{FD5E66A9-D36E-40B5-9161-8BB75765BB68}" dt="2025-10-12T23:01:50.520" v="2855" actId="948"/>
          <ac:spMkLst>
            <pc:docMk/>
            <pc:sldMk cId="2193624052" sldId="2147471501"/>
            <ac:spMk id="3" creationId="{C34EAD1A-7378-4A51-963A-AF9A40C8BC6A}"/>
          </ac:spMkLst>
        </pc:spChg>
      </pc:sldChg>
      <pc:sldChg chg="addSp modSp mod">
        <pc:chgData name="John Paserba" userId="77bd6c8a-d0c1-4fea-8705-0169f65d0c0e" providerId="ADAL" clId="{FD5E66A9-D36E-40B5-9161-8BB75765BB68}" dt="2025-10-13T02:14:01.721" v="3976" actId="207"/>
        <pc:sldMkLst>
          <pc:docMk/>
          <pc:sldMk cId="1750250529" sldId="2147471504"/>
        </pc:sldMkLst>
        <pc:spChg chg="mod">
          <ac:chgData name="John Paserba" userId="77bd6c8a-d0c1-4fea-8705-0169f65d0c0e" providerId="ADAL" clId="{FD5E66A9-D36E-40B5-9161-8BB75765BB68}" dt="2025-10-12T23:00:39.833" v="2843" actId="164"/>
          <ac:spMkLst>
            <pc:docMk/>
            <pc:sldMk cId="1750250529" sldId="2147471504"/>
            <ac:spMk id="7" creationId="{11D47C2B-29BA-C547-3B49-68B54A04A1EC}"/>
          </ac:spMkLst>
        </pc:spChg>
        <pc:spChg chg="mod">
          <ac:chgData name="John Paserba" userId="77bd6c8a-d0c1-4fea-8705-0169f65d0c0e" providerId="ADAL" clId="{FD5E66A9-D36E-40B5-9161-8BB75765BB68}" dt="2025-10-12T23:00:39.833" v="2843" actId="164"/>
          <ac:spMkLst>
            <pc:docMk/>
            <pc:sldMk cId="1750250529" sldId="2147471504"/>
            <ac:spMk id="10" creationId="{068CA677-22AE-89C3-A0D5-430635E0C9B2}"/>
          </ac:spMkLst>
        </pc:spChg>
        <pc:spChg chg="mod">
          <ac:chgData name="John Paserba" userId="77bd6c8a-d0c1-4fea-8705-0169f65d0c0e" providerId="ADAL" clId="{FD5E66A9-D36E-40B5-9161-8BB75765BB68}" dt="2025-10-12T23:00:39.833" v="2843" actId="164"/>
          <ac:spMkLst>
            <pc:docMk/>
            <pc:sldMk cId="1750250529" sldId="2147471504"/>
            <ac:spMk id="11" creationId="{47CA5FE7-084A-E8F0-DA87-2E8A8755E1AD}"/>
          </ac:spMkLst>
        </pc:spChg>
        <pc:spChg chg="mod">
          <ac:chgData name="John Paserba" userId="77bd6c8a-d0c1-4fea-8705-0169f65d0c0e" providerId="ADAL" clId="{FD5E66A9-D36E-40B5-9161-8BB75765BB68}" dt="2025-10-12T23:00:39.833" v="2843" actId="164"/>
          <ac:spMkLst>
            <pc:docMk/>
            <pc:sldMk cId="1750250529" sldId="2147471504"/>
            <ac:spMk id="12" creationId="{D8CAC715-B38A-F088-26E0-9690B4C3908E}"/>
          </ac:spMkLst>
        </pc:spChg>
        <pc:spChg chg="mod">
          <ac:chgData name="John Paserba" userId="77bd6c8a-d0c1-4fea-8705-0169f65d0c0e" providerId="ADAL" clId="{FD5E66A9-D36E-40B5-9161-8BB75765BB68}" dt="2025-10-12T23:00:39.833" v="2843" actId="164"/>
          <ac:spMkLst>
            <pc:docMk/>
            <pc:sldMk cId="1750250529" sldId="2147471504"/>
            <ac:spMk id="17" creationId="{E35CA8DD-608F-B070-B15F-3BA89BDD5E28}"/>
          </ac:spMkLst>
        </pc:spChg>
        <pc:spChg chg="mod">
          <ac:chgData name="John Paserba" userId="77bd6c8a-d0c1-4fea-8705-0169f65d0c0e" providerId="ADAL" clId="{FD5E66A9-D36E-40B5-9161-8BB75765BB68}" dt="2025-10-12T23:00:39.833" v="2843" actId="164"/>
          <ac:spMkLst>
            <pc:docMk/>
            <pc:sldMk cId="1750250529" sldId="2147471504"/>
            <ac:spMk id="18" creationId="{929A95E0-85F0-8709-473A-CC57D9975A41}"/>
          </ac:spMkLst>
        </pc:spChg>
        <pc:spChg chg="mod">
          <ac:chgData name="John Paserba" userId="77bd6c8a-d0c1-4fea-8705-0169f65d0c0e" providerId="ADAL" clId="{FD5E66A9-D36E-40B5-9161-8BB75765BB68}" dt="2025-10-12T23:00:39.833" v="2843" actId="164"/>
          <ac:spMkLst>
            <pc:docMk/>
            <pc:sldMk cId="1750250529" sldId="2147471504"/>
            <ac:spMk id="25" creationId="{CEB43408-35E0-64E3-0DF5-FA43846283FD}"/>
          </ac:spMkLst>
        </pc:spChg>
        <pc:spChg chg="mod">
          <ac:chgData name="John Paserba" userId="77bd6c8a-d0c1-4fea-8705-0169f65d0c0e" providerId="ADAL" clId="{FD5E66A9-D36E-40B5-9161-8BB75765BB68}" dt="2025-10-12T23:00:39.833" v="2843" actId="164"/>
          <ac:spMkLst>
            <pc:docMk/>
            <pc:sldMk cId="1750250529" sldId="2147471504"/>
            <ac:spMk id="32" creationId="{A22EE87D-5F72-19AD-D297-A05D808CE292}"/>
          </ac:spMkLst>
        </pc:spChg>
        <pc:spChg chg="mod">
          <ac:chgData name="John Paserba" userId="77bd6c8a-d0c1-4fea-8705-0169f65d0c0e" providerId="ADAL" clId="{FD5E66A9-D36E-40B5-9161-8BB75765BB68}" dt="2025-10-12T23:00:39.833" v="2843" actId="164"/>
          <ac:spMkLst>
            <pc:docMk/>
            <pc:sldMk cId="1750250529" sldId="2147471504"/>
            <ac:spMk id="33" creationId="{BF4A4530-2ACF-FE87-D67E-368D83550552}"/>
          </ac:spMkLst>
        </pc:spChg>
        <pc:spChg chg="mod">
          <ac:chgData name="John Paserba" userId="77bd6c8a-d0c1-4fea-8705-0169f65d0c0e" providerId="ADAL" clId="{FD5E66A9-D36E-40B5-9161-8BB75765BB68}" dt="2025-10-12T23:00:39.833" v="2843" actId="164"/>
          <ac:spMkLst>
            <pc:docMk/>
            <pc:sldMk cId="1750250529" sldId="2147471504"/>
            <ac:spMk id="42" creationId="{52B9CDFD-DFA0-71FE-21AA-214FE1A8F1F4}"/>
          </ac:spMkLst>
        </pc:spChg>
        <pc:spChg chg="mod">
          <ac:chgData name="John Paserba" userId="77bd6c8a-d0c1-4fea-8705-0169f65d0c0e" providerId="ADAL" clId="{FD5E66A9-D36E-40B5-9161-8BB75765BB68}" dt="2025-10-13T02:14:01.721" v="3976" actId="207"/>
          <ac:spMkLst>
            <pc:docMk/>
            <pc:sldMk cId="1750250529" sldId="2147471504"/>
            <ac:spMk id="53" creationId="{9F2B873A-3ACF-7CE8-621A-69D6EFEB7641}"/>
          </ac:spMkLst>
        </pc:spChg>
        <pc:grpChg chg="add mod">
          <ac:chgData name="John Paserba" userId="77bd6c8a-d0c1-4fea-8705-0169f65d0c0e" providerId="ADAL" clId="{FD5E66A9-D36E-40B5-9161-8BB75765BB68}" dt="2025-10-12T23:00:39.833" v="2843" actId="164"/>
          <ac:grpSpMkLst>
            <pc:docMk/>
            <pc:sldMk cId="1750250529" sldId="2147471504"/>
            <ac:grpSpMk id="3" creationId="{208411DB-62D2-45BB-8688-9BE3CEC72294}"/>
          </ac:grpSpMkLst>
        </pc:grpChg>
        <pc:grpChg chg="mod">
          <ac:chgData name="John Paserba" userId="77bd6c8a-d0c1-4fea-8705-0169f65d0c0e" providerId="ADAL" clId="{FD5E66A9-D36E-40B5-9161-8BB75765BB68}" dt="2025-10-12T23:00:39.833" v="2843" actId="164"/>
          <ac:grpSpMkLst>
            <pc:docMk/>
            <pc:sldMk cId="1750250529" sldId="2147471504"/>
            <ac:grpSpMk id="22" creationId="{B108944E-2BA2-0026-4ED8-EF88D8C296BD}"/>
          </ac:grpSpMkLst>
        </pc:grpChg>
        <pc:grpChg chg="mod">
          <ac:chgData name="John Paserba" userId="77bd6c8a-d0c1-4fea-8705-0169f65d0c0e" providerId="ADAL" clId="{FD5E66A9-D36E-40B5-9161-8BB75765BB68}" dt="2025-10-12T23:00:39.833" v="2843" actId="164"/>
          <ac:grpSpMkLst>
            <pc:docMk/>
            <pc:sldMk cId="1750250529" sldId="2147471504"/>
            <ac:grpSpMk id="26" creationId="{BE4153C3-EE37-3D1F-5D9B-EBD8039CBF11}"/>
          </ac:grpSpMkLst>
        </pc:grpChg>
        <pc:grpChg chg="mod">
          <ac:chgData name="John Paserba" userId="77bd6c8a-d0c1-4fea-8705-0169f65d0c0e" providerId="ADAL" clId="{FD5E66A9-D36E-40B5-9161-8BB75765BB68}" dt="2025-10-12T23:00:39.833" v="2843" actId="164"/>
          <ac:grpSpMkLst>
            <pc:docMk/>
            <pc:sldMk cId="1750250529" sldId="2147471504"/>
            <ac:grpSpMk id="29" creationId="{D0822D48-A5F9-75D2-179F-71055DB2EAE2}"/>
          </ac:grpSpMkLst>
        </pc:grpChg>
        <pc:grpChg chg="mod">
          <ac:chgData name="John Paserba" userId="77bd6c8a-d0c1-4fea-8705-0169f65d0c0e" providerId="ADAL" clId="{FD5E66A9-D36E-40B5-9161-8BB75765BB68}" dt="2025-10-12T23:00:39.833" v="2843" actId="164"/>
          <ac:grpSpMkLst>
            <pc:docMk/>
            <pc:sldMk cId="1750250529" sldId="2147471504"/>
            <ac:grpSpMk id="38" creationId="{3D3F11C2-CFC7-FB55-BE7D-8EA749C7AAD0}"/>
          </ac:grpSpMkLst>
        </pc:grpChg>
        <pc:picChg chg="mod">
          <ac:chgData name="John Paserba" userId="77bd6c8a-d0c1-4fea-8705-0169f65d0c0e" providerId="ADAL" clId="{FD5E66A9-D36E-40B5-9161-8BB75765BB68}" dt="2025-10-13T00:07:01.337" v="3040" actId="14100"/>
          <ac:picMkLst>
            <pc:docMk/>
            <pc:sldMk cId="1750250529" sldId="2147471504"/>
            <ac:picMk id="2" creationId="{69223959-5A4D-BA0E-0756-9A6C2904D16D}"/>
          </ac:picMkLst>
        </pc:picChg>
        <pc:picChg chg="mod">
          <ac:chgData name="John Paserba" userId="77bd6c8a-d0c1-4fea-8705-0169f65d0c0e" providerId="ADAL" clId="{FD5E66A9-D36E-40B5-9161-8BB75765BB68}" dt="2025-10-12T23:00:39.833" v="2843" actId="164"/>
          <ac:picMkLst>
            <pc:docMk/>
            <pc:sldMk cId="1750250529" sldId="2147471504"/>
            <ac:picMk id="9" creationId="{0307F200-99DF-3DC2-7BD3-F13DA1AFE703}"/>
          </ac:picMkLst>
        </pc:picChg>
        <pc:picChg chg="mod">
          <ac:chgData name="John Paserba" userId="77bd6c8a-d0c1-4fea-8705-0169f65d0c0e" providerId="ADAL" clId="{FD5E66A9-D36E-40B5-9161-8BB75765BB68}" dt="2025-10-12T23:00:39.833" v="2843" actId="164"/>
          <ac:picMkLst>
            <pc:docMk/>
            <pc:sldMk cId="1750250529" sldId="2147471504"/>
            <ac:picMk id="41" creationId="{FD7C1523-4ABB-49B4-0E03-E4112E121FB7}"/>
          </ac:picMkLst>
        </pc:picChg>
      </pc:sldChg>
      <pc:sldChg chg="addSp modSp mod">
        <pc:chgData name="John Paserba" userId="77bd6c8a-d0c1-4fea-8705-0169f65d0c0e" providerId="ADAL" clId="{FD5E66A9-D36E-40B5-9161-8BB75765BB68}" dt="2025-10-12T22:43:41.011" v="2689" actId="20577"/>
        <pc:sldMkLst>
          <pc:docMk/>
          <pc:sldMk cId="2231163395" sldId="2147471510"/>
        </pc:sldMkLst>
        <pc:spChg chg="add mod">
          <ac:chgData name="John Paserba" userId="77bd6c8a-d0c1-4fea-8705-0169f65d0c0e" providerId="ADAL" clId="{FD5E66A9-D36E-40B5-9161-8BB75765BB68}" dt="2025-10-12T22:43:41.011" v="2689" actId="20577"/>
          <ac:spMkLst>
            <pc:docMk/>
            <pc:sldMk cId="2231163395" sldId="2147471510"/>
            <ac:spMk id="6" creationId="{1C7B0979-71CD-44A0-AF44-1DEB33897176}"/>
          </ac:spMkLst>
        </pc:spChg>
      </pc:sldChg>
      <pc:sldChg chg="addSp delSp modSp mod">
        <pc:chgData name="John Paserba" userId="77bd6c8a-d0c1-4fea-8705-0169f65d0c0e" providerId="ADAL" clId="{FD5E66A9-D36E-40B5-9161-8BB75765BB68}" dt="2025-10-12T22:43:54.114" v="2692"/>
        <pc:sldMkLst>
          <pc:docMk/>
          <pc:sldMk cId="3820929825" sldId="2147471516"/>
        </pc:sldMkLst>
        <pc:spChg chg="del">
          <ac:chgData name="John Paserba" userId="77bd6c8a-d0c1-4fea-8705-0169f65d0c0e" providerId="ADAL" clId="{FD5E66A9-D36E-40B5-9161-8BB75765BB68}" dt="2025-10-12T22:43:48.001" v="2691" actId="478"/>
          <ac:spMkLst>
            <pc:docMk/>
            <pc:sldMk cId="3820929825" sldId="2147471516"/>
            <ac:spMk id="6" creationId="{4B5E8259-D315-4BA4-86AA-5E88676A786E}"/>
          </ac:spMkLst>
        </pc:spChg>
        <pc:spChg chg="add mod">
          <ac:chgData name="John Paserba" userId="77bd6c8a-d0c1-4fea-8705-0169f65d0c0e" providerId="ADAL" clId="{FD5E66A9-D36E-40B5-9161-8BB75765BB68}" dt="2025-10-12T22:43:54.114" v="2692"/>
          <ac:spMkLst>
            <pc:docMk/>
            <pc:sldMk cId="3820929825" sldId="2147471516"/>
            <ac:spMk id="7" creationId="{772AE292-CCCE-4F77-A330-1E7D281ACC10}"/>
          </ac:spMkLst>
        </pc:spChg>
        <pc:picChg chg="del">
          <ac:chgData name="John Paserba" userId="77bd6c8a-d0c1-4fea-8705-0169f65d0c0e" providerId="ADAL" clId="{FD5E66A9-D36E-40B5-9161-8BB75765BB68}" dt="2025-10-12T22:43:46.013" v="2690" actId="478"/>
          <ac:picMkLst>
            <pc:docMk/>
            <pc:sldMk cId="3820929825" sldId="2147471516"/>
            <ac:picMk id="1030" creationId="{ECB7FDF2-1B63-406E-9E44-6B6705809A1B}"/>
          </ac:picMkLst>
        </pc:picChg>
      </pc:sldChg>
      <pc:sldChg chg="modSp mod">
        <pc:chgData name="John Paserba" userId="77bd6c8a-d0c1-4fea-8705-0169f65d0c0e" providerId="ADAL" clId="{FD5E66A9-D36E-40B5-9161-8BB75765BB68}" dt="2025-10-12T23:17:27.867" v="2993"/>
        <pc:sldMkLst>
          <pc:docMk/>
          <pc:sldMk cId="1528537165" sldId="2147471545"/>
        </pc:sldMkLst>
        <pc:spChg chg="mod">
          <ac:chgData name="John Paserba" userId="77bd6c8a-d0c1-4fea-8705-0169f65d0c0e" providerId="ADAL" clId="{FD5E66A9-D36E-40B5-9161-8BB75765BB68}" dt="2025-10-12T23:17:27.867" v="2993"/>
          <ac:spMkLst>
            <pc:docMk/>
            <pc:sldMk cId="1528537165" sldId="2147471545"/>
            <ac:spMk id="12" creationId="{7637F54C-2D4B-44A5-B3F7-1642BB564316}"/>
          </ac:spMkLst>
        </pc:spChg>
      </pc:sldChg>
      <pc:sldChg chg="modSp mod ord">
        <pc:chgData name="John Paserba" userId="77bd6c8a-d0c1-4fea-8705-0169f65d0c0e" providerId="ADAL" clId="{FD5E66A9-D36E-40B5-9161-8BB75765BB68}" dt="2025-10-12T20:28:33.352" v="1287" actId="20577"/>
        <pc:sldMkLst>
          <pc:docMk/>
          <pc:sldMk cId="2692168719" sldId="2147471548"/>
        </pc:sldMkLst>
        <pc:spChg chg="mod">
          <ac:chgData name="John Paserba" userId="77bd6c8a-d0c1-4fea-8705-0169f65d0c0e" providerId="ADAL" clId="{FD5E66A9-D36E-40B5-9161-8BB75765BB68}" dt="2025-10-12T20:28:33.352" v="1287" actId="20577"/>
          <ac:spMkLst>
            <pc:docMk/>
            <pc:sldMk cId="2692168719" sldId="2147471548"/>
            <ac:spMk id="12" creationId="{F45E667D-D9ED-4BE1-999E-2A4766484A8F}"/>
          </ac:spMkLst>
        </pc:spChg>
      </pc:sldChg>
      <pc:sldChg chg="addSp delSp modSp mod">
        <pc:chgData name="John Paserba" userId="77bd6c8a-d0c1-4fea-8705-0169f65d0c0e" providerId="ADAL" clId="{FD5E66A9-D36E-40B5-9161-8BB75765BB68}" dt="2025-10-12T22:44:10.547" v="2696"/>
        <pc:sldMkLst>
          <pc:docMk/>
          <pc:sldMk cId="3823917263" sldId="2147471561"/>
        </pc:sldMkLst>
        <pc:spChg chg="del">
          <ac:chgData name="John Paserba" userId="77bd6c8a-d0c1-4fea-8705-0169f65d0c0e" providerId="ADAL" clId="{FD5E66A9-D36E-40B5-9161-8BB75765BB68}" dt="2025-10-12T22:44:04.284" v="2694" actId="478"/>
          <ac:spMkLst>
            <pc:docMk/>
            <pc:sldMk cId="3823917263" sldId="2147471561"/>
            <ac:spMk id="3" creationId="{E6993746-A424-4F09-867F-B919F4E18ECB}"/>
          </ac:spMkLst>
        </pc:spChg>
        <pc:spChg chg="add del mod">
          <ac:chgData name="John Paserba" userId="77bd6c8a-d0c1-4fea-8705-0169f65d0c0e" providerId="ADAL" clId="{FD5E66A9-D36E-40B5-9161-8BB75765BB68}" dt="2025-10-12T22:44:09.556" v="2695" actId="478"/>
          <ac:spMkLst>
            <pc:docMk/>
            <pc:sldMk cId="3823917263" sldId="2147471561"/>
            <ac:spMk id="6" creationId="{FFE174F5-4F83-44B6-B781-43858CA33C2C}"/>
          </ac:spMkLst>
        </pc:spChg>
        <pc:spChg chg="add mod">
          <ac:chgData name="John Paserba" userId="77bd6c8a-d0c1-4fea-8705-0169f65d0c0e" providerId="ADAL" clId="{FD5E66A9-D36E-40B5-9161-8BB75765BB68}" dt="2025-10-12T22:44:10.547" v="2696"/>
          <ac:spMkLst>
            <pc:docMk/>
            <pc:sldMk cId="3823917263" sldId="2147471561"/>
            <ac:spMk id="12" creationId="{F581F7F5-3BB4-4852-8015-2D100B4AE1B3}"/>
          </ac:spMkLst>
        </pc:spChg>
        <pc:picChg chg="del">
          <ac:chgData name="John Paserba" userId="77bd6c8a-d0c1-4fea-8705-0169f65d0c0e" providerId="ADAL" clId="{FD5E66A9-D36E-40B5-9161-8BB75765BB68}" dt="2025-10-12T22:44:00.339" v="2693" actId="478"/>
          <ac:picMkLst>
            <pc:docMk/>
            <pc:sldMk cId="3823917263" sldId="2147471561"/>
            <ac:picMk id="7" creationId="{08939430-EBED-4CAD-A1F4-4BF6CBB3FAC1}"/>
          </ac:picMkLst>
        </pc:picChg>
        <pc:picChg chg="del">
          <ac:chgData name="John Paserba" userId="77bd6c8a-d0c1-4fea-8705-0169f65d0c0e" providerId="ADAL" clId="{FD5E66A9-D36E-40B5-9161-8BB75765BB68}" dt="2025-10-12T22:44:00.339" v="2693" actId="478"/>
          <ac:picMkLst>
            <pc:docMk/>
            <pc:sldMk cId="3823917263" sldId="2147471561"/>
            <ac:picMk id="9" creationId="{85329D05-6901-4D2F-AB98-C1DBA93552C0}"/>
          </ac:picMkLst>
        </pc:picChg>
        <pc:picChg chg="del">
          <ac:chgData name="John Paserba" userId="77bd6c8a-d0c1-4fea-8705-0169f65d0c0e" providerId="ADAL" clId="{FD5E66A9-D36E-40B5-9161-8BB75765BB68}" dt="2025-10-12T22:44:00.339" v="2693" actId="478"/>
          <ac:picMkLst>
            <pc:docMk/>
            <pc:sldMk cId="3823917263" sldId="2147471561"/>
            <ac:picMk id="11" creationId="{32E2AFB5-4654-4036-A220-77AB0D7BE8F6}"/>
          </ac:picMkLst>
        </pc:picChg>
      </pc:sldChg>
      <pc:sldChg chg="addSp delSp modSp mod">
        <pc:chgData name="John Paserba" userId="77bd6c8a-d0c1-4fea-8705-0169f65d0c0e" providerId="ADAL" clId="{FD5E66A9-D36E-40B5-9161-8BB75765BB68}" dt="2025-10-12T22:44:22.717" v="2700"/>
        <pc:sldMkLst>
          <pc:docMk/>
          <pc:sldMk cId="1930684240" sldId="2147471563"/>
        </pc:sldMkLst>
        <pc:spChg chg="del">
          <ac:chgData name="John Paserba" userId="77bd6c8a-d0c1-4fea-8705-0169f65d0c0e" providerId="ADAL" clId="{FD5E66A9-D36E-40B5-9161-8BB75765BB68}" dt="2025-10-12T22:44:20.217" v="2698" actId="478"/>
          <ac:spMkLst>
            <pc:docMk/>
            <pc:sldMk cId="1930684240" sldId="2147471563"/>
            <ac:spMk id="3" creationId="{E6993746-A424-4F09-867F-B919F4E18ECB}"/>
          </ac:spMkLst>
        </pc:spChg>
        <pc:spChg chg="add del mod">
          <ac:chgData name="John Paserba" userId="77bd6c8a-d0c1-4fea-8705-0169f65d0c0e" providerId="ADAL" clId="{FD5E66A9-D36E-40B5-9161-8BB75765BB68}" dt="2025-10-12T22:44:21.773" v="2699" actId="478"/>
          <ac:spMkLst>
            <pc:docMk/>
            <pc:sldMk cId="1930684240" sldId="2147471563"/>
            <ac:spMk id="6" creationId="{7FA56566-8738-4268-ABA4-2DBD73BBAE80}"/>
          </ac:spMkLst>
        </pc:spChg>
        <pc:spChg chg="add mod">
          <ac:chgData name="John Paserba" userId="77bd6c8a-d0c1-4fea-8705-0169f65d0c0e" providerId="ADAL" clId="{FD5E66A9-D36E-40B5-9161-8BB75765BB68}" dt="2025-10-12T22:44:22.717" v="2700"/>
          <ac:spMkLst>
            <pc:docMk/>
            <pc:sldMk cId="1930684240" sldId="2147471563"/>
            <ac:spMk id="10" creationId="{38CB4168-B135-4A82-B737-8CC7EA0EF6C6}"/>
          </ac:spMkLst>
        </pc:spChg>
        <pc:picChg chg="del">
          <ac:chgData name="John Paserba" userId="77bd6c8a-d0c1-4fea-8705-0169f65d0c0e" providerId="ADAL" clId="{FD5E66A9-D36E-40B5-9161-8BB75765BB68}" dt="2025-10-12T22:44:17.371" v="2697" actId="478"/>
          <ac:picMkLst>
            <pc:docMk/>
            <pc:sldMk cId="1930684240" sldId="2147471563"/>
            <ac:picMk id="9" creationId="{8EF748BF-CDBF-4ACA-A1AD-452776F8FC1F}"/>
          </ac:picMkLst>
        </pc:picChg>
      </pc:sldChg>
      <pc:sldChg chg="modSp mod">
        <pc:chgData name="John Paserba" userId="77bd6c8a-d0c1-4fea-8705-0169f65d0c0e" providerId="ADAL" clId="{FD5E66A9-D36E-40B5-9161-8BB75765BB68}" dt="2025-10-13T02:18:32.089" v="4047" actId="20577"/>
        <pc:sldMkLst>
          <pc:docMk/>
          <pc:sldMk cId="3459218475" sldId="2147471566"/>
        </pc:sldMkLst>
        <pc:spChg chg="mod">
          <ac:chgData name="John Paserba" userId="77bd6c8a-d0c1-4fea-8705-0169f65d0c0e" providerId="ADAL" clId="{FD5E66A9-D36E-40B5-9161-8BB75765BB68}" dt="2025-10-13T02:18:32.089" v="4047" actId="20577"/>
          <ac:spMkLst>
            <pc:docMk/>
            <pc:sldMk cId="3459218475" sldId="2147471566"/>
            <ac:spMk id="12" creationId="{F45E667D-D9ED-4BE1-999E-2A4766484A8F}"/>
          </ac:spMkLst>
        </pc:spChg>
      </pc:sldChg>
      <pc:sldChg chg="addSp modSp mod">
        <pc:chgData name="John Paserba" userId="77bd6c8a-d0c1-4fea-8705-0169f65d0c0e" providerId="ADAL" clId="{FD5E66A9-D36E-40B5-9161-8BB75765BB68}" dt="2025-10-12T22:37:52.525" v="2651" actId="1076"/>
        <pc:sldMkLst>
          <pc:docMk/>
          <pc:sldMk cId="1850612918" sldId="2147471573"/>
        </pc:sldMkLst>
        <pc:spChg chg="mod">
          <ac:chgData name="John Paserba" userId="77bd6c8a-d0c1-4fea-8705-0169f65d0c0e" providerId="ADAL" clId="{FD5E66A9-D36E-40B5-9161-8BB75765BB68}" dt="2025-10-12T22:37:33.655" v="2647" actId="14100"/>
          <ac:spMkLst>
            <pc:docMk/>
            <pc:sldMk cId="1850612918" sldId="2147471573"/>
            <ac:spMk id="2" creationId="{24EFA49A-D6F0-94EB-2E4A-46AC510574DD}"/>
          </ac:spMkLst>
        </pc:spChg>
        <pc:picChg chg="add mod">
          <ac:chgData name="John Paserba" userId="77bd6c8a-d0c1-4fea-8705-0169f65d0c0e" providerId="ADAL" clId="{FD5E66A9-D36E-40B5-9161-8BB75765BB68}" dt="2025-10-12T22:36:55.022" v="2642" actId="1076"/>
          <ac:picMkLst>
            <pc:docMk/>
            <pc:sldMk cId="1850612918" sldId="2147471573"/>
            <ac:picMk id="7" creationId="{CE1990A2-908E-449D-B1DE-2322D474B6A9}"/>
          </ac:picMkLst>
        </pc:picChg>
        <pc:picChg chg="add mod">
          <ac:chgData name="John Paserba" userId="77bd6c8a-d0c1-4fea-8705-0169f65d0c0e" providerId="ADAL" clId="{FD5E66A9-D36E-40B5-9161-8BB75765BB68}" dt="2025-10-12T22:36:39.092" v="2639" actId="14100"/>
          <ac:picMkLst>
            <pc:docMk/>
            <pc:sldMk cId="1850612918" sldId="2147471573"/>
            <ac:picMk id="8" creationId="{08638679-D5A5-4A6F-999B-9BEAEE9A2C1C}"/>
          </ac:picMkLst>
        </pc:picChg>
        <pc:picChg chg="add mod">
          <ac:chgData name="John Paserba" userId="77bd6c8a-d0c1-4fea-8705-0169f65d0c0e" providerId="ADAL" clId="{FD5E66A9-D36E-40B5-9161-8BB75765BB68}" dt="2025-10-12T22:37:47.651" v="2650" actId="1076"/>
          <ac:picMkLst>
            <pc:docMk/>
            <pc:sldMk cId="1850612918" sldId="2147471573"/>
            <ac:picMk id="9" creationId="{F198A563-DB13-4D47-8E5C-2FDD1940BCAC}"/>
          </ac:picMkLst>
        </pc:picChg>
        <pc:picChg chg="add mod">
          <ac:chgData name="John Paserba" userId="77bd6c8a-d0c1-4fea-8705-0169f65d0c0e" providerId="ADAL" clId="{FD5E66A9-D36E-40B5-9161-8BB75765BB68}" dt="2025-10-12T22:37:52.525" v="2651" actId="1076"/>
          <ac:picMkLst>
            <pc:docMk/>
            <pc:sldMk cId="1850612918" sldId="2147471573"/>
            <ac:picMk id="10" creationId="{46F951B7-49C8-4D12-A1F3-EB8D831B65D7}"/>
          </ac:picMkLst>
        </pc:picChg>
      </pc:sldChg>
      <pc:sldChg chg="modSp mod">
        <pc:chgData name="John Paserba" userId="77bd6c8a-d0c1-4fea-8705-0169f65d0c0e" providerId="ADAL" clId="{FD5E66A9-D36E-40B5-9161-8BB75765BB68}" dt="2025-10-12T22:06:23.698" v="2117" actId="207"/>
        <pc:sldMkLst>
          <pc:docMk/>
          <pc:sldMk cId="649508728" sldId="2147471574"/>
        </pc:sldMkLst>
        <pc:spChg chg="mod">
          <ac:chgData name="John Paserba" userId="77bd6c8a-d0c1-4fea-8705-0169f65d0c0e" providerId="ADAL" clId="{FD5E66A9-D36E-40B5-9161-8BB75765BB68}" dt="2025-10-12T22:06:23.698" v="2117" actId="207"/>
          <ac:spMkLst>
            <pc:docMk/>
            <pc:sldMk cId="649508728" sldId="2147471574"/>
            <ac:spMk id="19" creationId="{CCEA4183-008C-4174-BF47-AA0AAD582D35}"/>
          </ac:spMkLst>
        </pc:spChg>
        <pc:spChg chg="mod">
          <ac:chgData name="John Paserba" userId="77bd6c8a-d0c1-4fea-8705-0169f65d0c0e" providerId="ADAL" clId="{FD5E66A9-D36E-40B5-9161-8BB75765BB68}" dt="2025-10-12T21:44:40.597" v="1875" actId="20577"/>
          <ac:spMkLst>
            <pc:docMk/>
            <pc:sldMk cId="649508728" sldId="2147471574"/>
            <ac:spMk id="21" creationId="{FE4B2705-C7C6-4EE0-9E21-FED3D5C31F03}"/>
          </ac:spMkLst>
        </pc:spChg>
        <pc:picChg chg="mod">
          <ac:chgData name="John Paserba" userId="77bd6c8a-d0c1-4fea-8705-0169f65d0c0e" providerId="ADAL" clId="{FD5E66A9-D36E-40B5-9161-8BB75765BB68}" dt="2025-10-12T21:44:50.632" v="1905" actId="1035"/>
          <ac:picMkLst>
            <pc:docMk/>
            <pc:sldMk cId="649508728" sldId="2147471574"/>
            <ac:picMk id="11" creationId="{E9B566AF-061E-271D-4EF4-6CE02943F336}"/>
          </ac:picMkLst>
        </pc:picChg>
        <pc:picChg chg="mod">
          <ac:chgData name="John Paserba" userId="77bd6c8a-d0c1-4fea-8705-0169f65d0c0e" providerId="ADAL" clId="{FD5E66A9-D36E-40B5-9161-8BB75765BB68}" dt="2025-10-12T21:44:50.632" v="1905" actId="1035"/>
          <ac:picMkLst>
            <pc:docMk/>
            <pc:sldMk cId="649508728" sldId="2147471574"/>
            <ac:picMk id="2050" creationId="{8F32CB6D-36D4-45BF-A381-835F3AB8B61F}"/>
          </ac:picMkLst>
        </pc:picChg>
      </pc:sldChg>
      <pc:sldChg chg="addSp modSp add mod">
        <pc:chgData name="John Paserba" userId="77bd6c8a-d0c1-4fea-8705-0169f65d0c0e" providerId="ADAL" clId="{FD5E66A9-D36E-40B5-9161-8BB75765BB68}" dt="2025-10-12T20:38:30.595" v="1312" actId="14100"/>
        <pc:sldMkLst>
          <pc:docMk/>
          <pc:sldMk cId="3752514244" sldId="2147471613"/>
        </pc:sldMkLst>
        <pc:picChg chg="add mod">
          <ac:chgData name="John Paserba" userId="77bd6c8a-d0c1-4fea-8705-0169f65d0c0e" providerId="ADAL" clId="{FD5E66A9-D36E-40B5-9161-8BB75765BB68}" dt="2025-10-12T20:38:30.595" v="1312" actId="14100"/>
          <ac:picMkLst>
            <pc:docMk/>
            <pc:sldMk cId="3752514244" sldId="2147471613"/>
            <ac:picMk id="7" creationId="{75E7D175-AF52-434A-8AF8-313DB1D6F5E8}"/>
          </ac:picMkLst>
        </pc:picChg>
      </pc:sldChg>
      <pc:sldChg chg="addSp modSp mod">
        <pc:chgData name="John Paserba" userId="77bd6c8a-d0c1-4fea-8705-0169f65d0c0e" providerId="ADAL" clId="{FD5E66A9-D36E-40B5-9161-8BB75765BB68}" dt="2025-10-13T00:13:05.456" v="3105" actId="20577"/>
        <pc:sldMkLst>
          <pc:docMk/>
          <pc:sldMk cId="4056519351" sldId="2147471625"/>
        </pc:sldMkLst>
        <pc:spChg chg="add mod">
          <ac:chgData name="John Paserba" userId="77bd6c8a-d0c1-4fea-8705-0169f65d0c0e" providerId="ADAL" clId="{FD5E66A9-D36E-40B5-9161-8BB75765BB68}" dt="2025-10-13T00:13:05.456" v="3105" actId="20577"/>
          <ac:spMkLst>
            <pc:docMk/>
            <pc:sldMk cId="4056519351" sldId="2147471625"/>
            <ac:spMk id="14" creationId="{27BCD840-5BE1-47E9-B953-6FE0CB382D14}"/>
          </ac:spMkLst>
        </pc:spChg>
      </pc:sldChg>
      <pc:sldChg chg="modSp mod">
        <pc:chgData name="John Paserba" userId="77bd6c8a-d0c1-4fea-8705-0169f65d0c0e" providerId="ADAL" clId="{FD5E66A9-D36E-40B5-9161-8BB75765BB68}" dt="2025-10-12T22:43:00.937" v="2680" actId="20577"/>
        <pc:sldMkLst>
          <pc:docMk/>
          <pc:sldMk cId="2068436623" sldId="2147471665"/>
        </pc:sldMkLst>
        <pc:spChg chg="mod">
          <ac:chgData name="John Paserba" userId="77bd6c8a-d0c1-4fea-8705-0169f65d0c0e" providerId="ADAL" clId="{FD5E66A9-D36E-40B5-9161-8BB75765BB68}" dt="2025-10-12T22:43:00.937" v="2680" actId="20577"/>
          <ac:spMkLst>
            <pc:docMk/>
            <pc:sldMk cId="2068436623" sldId="2147471665"/>
            <ac:spMk id="3" creationId="{E6993746-A424-4F09-867F-B919F4E18ECB}"/>
          </ac:spMkLst>
        </pc:spChg>
      </pc:sldChg>
      <pc:sldChg chg="addSp delSp modSp mod">
        <pc:chgData name="John Paserba" userId="77bd6c8a-d0c1-4fea-8705-0169f65d0c0e" providerId="ADAL" clId="{FD5E66A9-D36E-40B5-9161-8BB75765BB68}" dt="2025-10-12T23:17:48.212" v="2995"/>
        <pc:sldMkLst>
          <pc:docMk/>
          <pc:sldMk cId="2660546268" sldId="2147471669"/>
        </pc:sldMkLst>
        <pc:spChg chg="mod">
          <ac:chgData name="John Paserba" userId="77bd6c8a-d0c1-4fea-8705-0169f65d0c0e" providerId="ADAL" clId="{FD5E66A9-D36E-40B5-9161-8BB75765BB68}" dt="2025-10-12T23:17:48.212" v="2995"/>
          <ac:spMkLst>
            <pc:docMk/>
            <pc:sldMk cId="2660546268" sldId="2147471669"/>
            <ac:spMk id="8" creationId="{37CEEF7E-3CE8-42D1-AEB0-A2514859CE49}"/>
          </ac:spMkLst>
        </pc:spChg>
        <pc:spChg chg="mod">
          <ac:chgData name="John Paserba" userId="77bd6c8a-d0c1-4fea-8705-0169f65d0c0e" providerId="ADAL" clId="{FD5E66A9-D36E-40B5-9161-8BB75765BB68}" dt="2025-10-12T23:09:32.735" v="2912"/>
          <ac:spMkLst>
            <pc:docMk/>
            <pc:sldMk cId="2660546268" sldId="2147471669"/>
            <ac:spMk id="10" creationId="{75B57218-A840-4752-9924-801D43AC9F09}"/>
          </ac:spMkLst>
        </pc:spChg>
        <pc:grpChg chg="add del mod">
          <ac:chgData name="John Paserba" userId="77bd6c8a-d0c1-4fea-8705-0169f65d0c0e" providerId="ADAL" clId="{FD5E66A9-D36E-40B5-9161-8BB75765BB68}" dt="2025-10-12T23:09:35.385" v="2913"/>
          <ac:grpSpMkLst>
            <pc:docMk/>
            <pc:sldMk cId="2660546268" sldId="2147471669"/>
            <ac:grpSpMk id="9" creationId="{5B373112-1A44-44D6-9BB2-0D87F116FACD}"/>
          </ac:grpSpMkLst>
        </pc:grpChg>
        <pc:picChg chg="mod">
          <ac:chgData name="John Paserba" userId="77bd6c8a-d0c1-4fea-8705-0169f65d0c0e" providerId="ADAL" clId="{FD5E66A9-D36E-40B5-9161-8BB75765BB68}" dt="2025-10-12T23:09:32.735" v="2912"/>
          <ac:picMkLst>
            <pc:docMk/>
            <pc:sldMk cId="2660546268" sldId="2147471669"/>
            <ac:picMk id="11" creationId="{D95911AF-C09C-424B-93F3-D33438019C25}"/>
          </ac:picMkLst>
        </pc:picChg>
      </pc:sldChg>
      <pc:sldChg chg="add ord">
        <pc:chgData name="John Paserba" userId="77bd6c8a-d0c1-4fea-8705-0169f65d0c0e" providerId="ADAL" clId="{FD5E66A9-D36E-40B5-9161-8BB75765BB68}" dt="2025-10-12T20:53:19.728" v="1554"/>
        <pc:sldMkLst>
          <pc:docMk/>
          <pc:sldMk cId="1790755209" sldId="2147471672"/>
        </pc:sldMkLst>
      </pc:sldChg>
      <pc:sldChg chg="ord">
        <pc:chgData name="John Paserba" userId="77bd6c8a-d0c1-4fea-8705-0169f65d0c0e" providerId="ADAL" clId="{FD5E66A9-D36E-40B5-9161-8BB75765BB68}" dt="2025-10-12T03:19:04.157" v="13"/>
        <pc:sldMkLst>
          <pc:docMk/>
          <pc:sldMk cId="967086952" sldId="2147471680"/>
        </pc:sldMkLst>
      </pc:sldChg>
      <pc:sldChg chg="ord">
        <pc:chgData name="John Paserba" userId="77bd6c8a-d0c1-4fea-8705-0169f65d0c0e" providerId="ADAL" clId="{FD5E66A9-D36E-40B5-9161-8BB75765BB68}" dt="2025-10-12T03:19:04.157" v="13"/>
        <pc:sldMkLst>
          <pc:docMk/>
          <pc:sldMk cId="3651935271" sldId="2147471682"/>
        </pc:sldMkLst>
      </pc:sldChg>
      <pc:sldChg chg="addSp delSp modSp mod">
        <pc:chgData name="John Paserba" userId="77bd6c8a-d0c1-4fea-8705-0169f65d0c0e" providerId="ADAL" clId="{FD5E66A9-D36E-40B5-9161-8BB75765BB68}" dt="2025-10-14T01:16:09.441" v="4637"/>
        <pc:sldMkLst>
          <pc:docMk/>
          <pc:sldMk cId="3727219174" sldId="2147471683"/>
        </pc:sldMkLst>
        <pc:spChg chg="add del mod">
          <ac:chgData name="John Paserba" userId="77bd6c8a-d0c1-4fea-8705-0169f65d0c0e" providerId="ADAL" clId="{FD5E66A9-D36E-40B5-9161-8BB75765BB68}" dt="2025-10-14T01:14:04.739" v="4628" actId="478"/>
          <ac:spMkLst>
            <pc:docMk/>
            <pc:sldMk cId="3727219174" sldId="2147471683"/>
            <ac:spMk id="4" creationId="{51200BA4-DB25-4919-BBCA-5157BB4FD3B3}"/>
          </ac:spMkLst>
        </pc:spChg>
        <pc:graphicFrameChg chg="add del mod">
          <ac:chgData name="John Paserba" userId="77bd6c8a-d0c1-4fea-8705-0169f65d0c0e" providerId="ADAL" clId="{FD5E66A9-D36E-40B5-9161-8BB75765BB68}" dt="2025-10-14T01:16:07.196" v="4636"/>
          <ac:graphicFrameMkLst>
            <pc:docMk/>
            <pc:sldMk cId="3727219174" sldId="2147471683"/>
            <ac:graphicFrameMk id="3" creationId="{A90E5560-8545-47FE-8290-896632D3B107}"/>
          </ac:graphicFrameMkLst>
        </pc:graphicFrameChg>
        <pc:picChg chg="add del ord">
          <ac:chgData name="John Paserba" userId="77bd6c8a-d0c1-4fea-8705-0169f65d0c0e" providerId="ADAL" clId="{FD5E66A9-D36E-40B5-9161-8BB75765BB68}" dt="2025-10-14T01:14:07.213" v="4629" actId="478"/>
          <ac:picMkLst>
            <pc:docMk/>
            <pc:sldMk cId="3727219174" sldId="2147471683"/>
            <ac:picMk id="2" creationId="{2AA1C7DA-0119-43E1-BB30-8C9A8BDE9E47}"/>
          </ac:picMkLst>
        </pc:picChg>
        <pc:picChg chg="del">
          <ac:chgData name="John Paserba" userId="77bd6c8a-d0c1-4fea-8705-0169f65d0c0e" providerId="ADAL" clId="{FD5E66A9-D36E-40B5-9161-8BB75765BB68}" dt="2025-10-13T04:14:47.905" v="4087" actId="478"/>
          <ac:picMkLst>
            <pc:docMk/>
            <pc:sldMk cId="3727219174" sldId="2147471683"/>
            <ac:picMk id="3" creationId="{270DFDDD-9E26-4B5A-B44D-753DDC6FAE38}"/>
          </ac:picMkLst>
        </pc:picChg>
        <pc:picChg chg="add">
          <ac:chgData name="John Paserba" userId="77bd6c8a-d0c1-4fea-8705-0169f65d0c0e" providerId="ADAL" clId="{FD5E66A9-D36E-40B5-9161-8BB75765BB68}" dt="2025-10-14T01:16:09.441" v="4637"/>
          <ac:picMkLst>
            <pc:docMk/>
            <pc:sldMk cId="3727219174" sldId="2147471683"/>
            <ac:picMk id="5" creationId="{7DC97514-8C89-420E-907F-8B5C310A980B}"/>
          </ac:picMkLst>
        </pc:picChg>
      </pc:sldChg>
      <pc:sldChg chg="addSp delSp modSp mod">
        <pc:chgData name="John Paserba" userId="77bd6c8a-d0c1-4fea-8705-0169f65d0c0e" providerId="ADAL" clId="{FD5E66A9-D36E-40B5-9161-8BB75765BB68}" dt="2025-10-14T01:16:53.571" v="4638"/>
        <pc:sldMkLst>
          <pc:docMk/>
          <pc:sldMk cId="333539668" sldId="2147471684"/>
        </pc:sldMkLst>
        <pc:spChg chg="add del mod">
          <ac:chgData name="John Paserba" userId="77bd6c8a-d0c1-4fea-8705-0169f65d0c0e" providerId="ADAL" clId="{FD5E66A9-D36E-40B5-9161-8BB75765BB68}" dt="2025-10-14T01:14:09.365" v="4630" actId="478"/>
          <ac:spMkLst>
            <pc:docMk/>
            <pc:sldMk cId="333539668" sldId="2147471684"/>
            <ac:spMk id="3" creationId="{DB9CB5DD-5C94-481A-872D-94F96027980B}"/>
          </ac:spMkLst>
        </pc:spChg>
        <pc:picChg chg="del">
          <ac:chgData name="John Paserba" userId="77bd6c8a-d0c1-4fea-8705-0169f65d0c0e" providerId="ADAL" clId="{FD5E66A9-D36E-40B5-9161-8BB75765BB68}" dt="2025-10-13T04:14:00.530" v="4076" actId="478"/>
          <ac:picMkLst>
            <pc:docMk/>
            <pc:sldMk cId="333539668" sldId="2147471684"/>
            <ac:picMk id="2" creationId="{BD0CC11C-B794-4477-BF20-9416B51563CA}"/>
          </ac:picMkLst>
        </pc:picChg>
        <pc:picChg chg="add">
          <ac:chgData name="John Paserba" userId="77bd6c8a-d0c1-4fea-8705-0169f65d0c0e" providerId="ADAL" clId="{FD5E66A9-D36E-40B5-9161-8BB75765BB68}" dt="2025-10-14T01:16:53.571" v="4638"/>
          <ac:picMkLst>
            <pc:docMk/>
            <pc:sldMk cId="333539668" sldId="2147471684"/>
            <ac:picMk id="2" creationId="{CF78092B-72FD-490C-8942-AE983B4C16A9}"/>
          </ac:picMkLst>
        </pc:picChg>
        <pc:picChg chg="add del ord">
          <ac:chgData name="John Paserba" userId="77bd6c8a-d0c1-4fea-8705-0169f65d0c0e" providerId="ADAL" clId="{FD5E66A9-D36E-40B5-9161-8BB75765BB68}" dt="2025-10-14T01:14:10.555" v="4631" actId="478"/>
          <ac:picMkLst>
            <pc:docMk/>
            <pc:sldMk cId="333539668" sldId="2147471684"/>
            <ac:picMk id="4" creationId="{FC4E56E6-BB43-4C76-9A61-A619910F6528}"/>
          </ac:picMkLst>
        </pc:picChg>
      </pc:sldChg>
      <pc:sldChg chg="addSp delSp modSp mod">
        <pc:chgData name="John Paserba" userId="77bd6c8a-d0c1-4fea-8705-0169f65d0c0e" providerId="ADAL" clId="{FD5E66A9-D36E-40B5-9161-8BB75765BB68}" dt="2025-10-14T01:17:24.949" v="4639"/>
        <pc:sldMkLst>
          <pc:docMk/>
          <pc:sldMk cId="1741024592" sldId="2147471685"/>
        </pc:sldMkLst>
        <pc:spChg chg="add del mod">
          <ac:chgData name="John Paserba" userId="77bd6c8a-d0c1-4fea-8705-0169f65d0c0e" providerId="ADAL" clId="{FD5E66A9-D36E-40B5-9161-8BB75765BB68}" dt="2025-10-14T01:14:13.505" v="4632" actId="478"/>
          <ac:spMkLst>
            <pc:docMk/>
            <pc:sldMk cId="1741024592" sldId="2147471685"/>
            <ac:spMk id="3" creationId="{7A6930A7-5A01-4384-8EB4-6A81FBD015E1}"/>
          </ac:spMkLst>
        </pc:spChg>
        <pc:picChg chg="add">
          <ac:chgData name="John Paserba" userId="77bd6c8a-d0c1-4fea-8705-0169f65d0c0e" providerId="ADAL" clId="{FD5E66A9-D36E-40B5-9161-8BB75765BB68}" dt="2025-10-14T01:17:24.949" v="4639"/>
          <ac:picMkLst>
            <pc:docMk/>
            <pc:sldMk cId="1741024592" sldId="2147471685"/>
            <ac:picMk id="2" creationId="{35DB8B8D-C2D8-4ABE-A7F2-C54E1048360D}"/>
          </ac:picMkLst>
        </pc:picChg>
        <pc:picChg chg="del">
          <ac:chgData name="John Paserba" userId="77bd6c8a-d0c1-4fea-8705-0169f65d0c0e" providerId="ADAL" clId="{FD5E66A9-D36E-40B5-9161-8BB75765BB68}" dt="2025-10-13T04:13:33.212" v="4063" actId="478"/>
          <ac:picMkLst>
            <pc:docMk/>
            <pc:sldMk cId="1741024592" sldId="2147471685"/>
            <ac:picMk id="2" creationId="{558C132B-2F0B-4D5D-84EF-67665B05D399}"/>
          </ac:picMkLst>
        </pc:picChg>
        <pc:picChg chg="add del mod ord">
          <ac:chgData name="John Paserba" userId="77bd6c8a-d0c1-4fea-8705-0169f65d0c0e" providerId="ADAL" clId="{FD5E66A9-D36E-40B5-9161-8BB75765BB68}" dt="2025-10-14T01:14:14.635" v="4633" actId="478"/>
          <ac:picMkLst>
            <pc:docMk/>
            <pc:sldMk cId="1741024592" sldId="2147471685"/>
            <ac:picMk id="4" creationId="{BF581E11-B43F-4DEE-827D-54B537E0FA1B}"/>
          </ac:picMkLst>
        </pc:picChg>
      </pc:sldChg>
      <pc:sldChg chg="ord">
        <pc:chgData name="John Paserba" userId="77bd6c8a-d0c1-4fea-8705-0169f65d0c0e" providerId="ADAL" clId="{FD5E66A9-D36E-40B5-9161-8BB75765BB68}" dt="2025-10-12T03:19:04.157" v="13"/>
        <pc:sldMkLst>
          <pc:docMk/>
          <pc:sldMk cId="1079165612" sldId="2147471688"/>
        </pc:sldMkLst>
      </pc:sldChg>
      <pc:sldChg chg="ord">
        <pc:chgData name="John Paserba" userId="77bd6c8a-d0c1-4fea-8705-0169f65d0c0e" providerId="ADAL" clId="{FD5E66A9-D36E-40B5-9161-8BB75765BB68}" dt="2025-10-12T03:19:04.157" v="13"/>
        <pc:sldMkLst>
          <pc:docMk/>
          <pc:sldMk cId="2725648120" sldId="2147471696"/>
        </pc:sldMkLst>
      </pc:sldChg>
      <pc:sldChg chg="modSp mod">
        <pc:chgData name="John Paserba" userId="77bd6c8a-d0c1-4fea-8705-0169f65d0c0e" providerId="ADAL" clId="{FD5E66A9-D36E-40B5-9161-8BB75765BB68}" dt="2025-10-12T22:16:00.746" v="2205" actId="14100"/>
        <pc:sldMkLst>
          <pc:docMk/>
          <pc:sldMk cId="73387506" sldId="2147471703"/>
        </pc:sldMkLst>
        <pc:spChg chg="mod">
          <ac:chgData name="John Paserba" userId="77bd6c8a-d0c1-4fea-8705-0169f65d0c0e" providerId="ADAL" clId="{FD5E66A9-D36E-40B5-9161-8BB75765BB68}" dt="2025-10-12T21:32:30.895" v="1711" actId="14100"/>
          <ac:spMkLst>
            <pc:docMk/>
            <pc:sldMk cId="73387506" sldId="2147471703"/>
            <ac:spMk id="17" creationId="{BC9168BC-A63D-4F23-8D88-97AD7425B559}"/>
          </ac:spMkLst>
        </pc:spChg>
        <pc:spChg chg="mod">
          <ac:chgData name="John Paserba" userId="77bd6c8a-d0c1-4fea-8705-0169f65d0c0e" providerId="ADAL" clId="{FD5E66A9-D36E-40B5-9161-8BB75765BB68}" dt="2025-10-12T22:16:00.746" v="2205" actId="14100"/>
          <ac:spMkLst>
            <pc:docMk/>
            <pc:sldMk cId="73387506" sldId="2147471703"/>
            <ac:spMk id="19" creationId="{77415779-61B5-45C4-A901-6ECCE7F9A619}"/>
          </ac:spMkLst>
        </pc:spChg>
        <pc:spChg chg="mod">
          <ac:chgData name="John Paserba" userId="77bd6c8a-d0c1-4fea-8705-0169f65d0c0e" providerId="ADAL" clId="{FD5E66A9-D36E-40B5-9161-8BB75765BB68}" dt="2025-10-12T21:18:08.358" v="1602" actId="2711"/>
          <ac:spMkLst>
            <pc:docMk/>
            <pc:sldMk cId="73387506" sldId="2147471703"/>
            <ac:spMk id="3328002" creationId="{00000000-0000-0000-0000-000000000000}"/>
          </ac:spMkLst>
        </pc:spChg>
      </pc:sldChg>
      <pc:sldChg chg="addSp modSp mod">
        <pc:chgData name="John Paserba" userId="77bd6c8a-d0c1-4fea-8705-0169f65d0c0e" providerId="ADAL" clId="{FD5E66A9-D36E-40B5-9161-8BB75765BB68}" dt="2025-10-12T22:53:50.013" v="2782" actId="1038"/>
        <pc:sldMkLst>
          <pc:docMk/>
          <pc:sldMk cId="3082573837" sldId="2147471705"/>
        </pc:sldMkLst>
        <pc:picChg chg="add mod">
          <ac:chgData name="John Paserba" userId="77bd6c8a-d0c1-4fea-8705-0169f65d0c0e" providerId="ADAL" clId="{FD5E66A9-D36E-40B5-9161-8BB75765BB68}" dt="2025-10-12T22:53:24.622" v="2768" actId="1076"/>
          <ac:picMkLst>
            <pc:docMk/>
            <pc:sldMk cId="3082573837" sldId="2147471705"/>
            <ac:picMk id="3" creationId="{1BA8202B-4F9F-4CFB-B014-AC8516F3E31F}"/>
          </ac:picMkLst>
        </pc:picChg>
        <pc:picChg chg="add mod ord">
          <ac:chgData name="John Paserba" userId="77bd6c8a-d0c1-4fea-8705-0169f65d0c0e" providerId="ADAL" clId="{FD5E66A9-D36E-40B5-9161-8BB75765BB68}" dt="2025-10-12T22:53:50.013" v="2782" actId="1038"/>
          <ac:picMkLst>
            <pc:docMk/>
            <pc:sldMk cId="3082573837" sldId="2147471705"/>
            <ac:picMk id="7" creationId="{9E37F5B3-12E7-4964-B971-352FE16B457A}"/>
          </ac:picMkLst>
        </pc:picChg>
        <pc:picChg chg="add mod">
          <ac:chgData name="John Paserba" userId="77bd6c8a-d0c1-4fea-8705-0169f65d0c0e" providerId="ADAL" clId="{FD5E66A9-D36E-40B5-9161-8BB75765BB68}" dt="2025-10-12T22:53:47.635" v="2780" actId="1036"/>
          <ac:picMkLst>
            <pc:docMk/>
            <pc:sldMk cId="3082573837" sldId="2147471705"/>
            <ac:picMk id="8" creationId="{38A5E186-2E45-46B0-B0CD-5773E9986FCC}"/>
          </ac:picMkLst>
        </pc:picChg>
      </pc:sldChg>
      <pc:sldChg chg="modSp mod">
        <pc:chgData name="John Paserba" userId="77bd6c8a-d0c1-4fea-8705-0169f65d0c0e" providerId="ADAL" clId="{FD5E66A9-D36E-40B5-9161-8BB75765BB68}" dt="2025-10-13T02:14:47.497" v="3986" actId="207"/>
        <pc:sldMkLst>
          <pc:docMk/>
          <pc:sldMk cId="3558142149" sldId="2147471710"/>
        </pc:sldMkLst>
        <pc:spChg chg="mod">
          <ac:chgData name="John Paserba" userId="77bd6c8a-d0c1-4fea-8705-0169f65d0c0e" providerId="ADAL" clId="{FD5E66A9-D36E-40B5-9161-8BB75765BB68}" dt="2025-10-13T02:14:47.497" v="3986" actId="207"/>
          <ac:spMkLst>
            <pc:docMk/>
            <pc:sldMk cId="3558142149" sldId="2147471710"/>
            <ac:spMk id="9" creationId="{BAAF9788-3882-7FD4-A043-13E164D06B60}"/>
          </ac:spMkLst>
        </pc:spChg>
      </pc:sldChg>
      <pc:sldChg chg="ord">
        <pc:chgData name="John Paserba" userId="77bd6c8a-d0c1-4fea-8705-0169f65d0c0e" providerId="ADAL" clId="{FD5E66A9-D36E-40B5-9161-8BB75765BB68}" dt="2025-10-12T03:19:04.157" v="13"/>
        <pc:sldMkLst>
          <pc:docMk/>
          <pc:sldMk cId="1676387962" sldId="2147471712"/>
        </pc:sldMkLst>
      </pc:sldChg>
      <pc:sldChg chg="ord">
        <pc:chgData name="John Paserba" userId="77bd6c8a-d0c1-4fea-8705-0169f65d0c0e" providerId="ADAL" clId="{FD5E66A9-D36E-40B5-9161-8BB75765BB68}" dt="2025-10-12T03:19:04.157" v="13"/>
        <pc:sldMkLst>
          <pc:docMk/>
          <pc:sldMk cId="237403609" sldId="2147471713"/>
        </pc:sldMkLst>
      </pc:sldChg>
      <pc:sldChg chg="ord">
        <pc:chgData name="John Paserba" userId="77bd6c8a-d0c1-4fea-8705-0169f65d0c0e" providerId="ADAL" clId="{FD5E66A9-D36E-40B5-9161-8BB75765BB68}" dt="2025-10-12T03:19:04.157" v="13"/>
        <pc:sldMkLst>
          <pc:docMk/>
          <pc:sldMk cId="1444063717" sldId="2147471714"/>
        </pc:sldMkLst>
      </pc:sldChg>
      <pc:sldChg chg="ord">
        <pc:chgData name="John Paserba" userId="77bd6c8a-d0c1-4fea-8705-0169f65d0c0e" providerId="ADAL" clId="{FD5E66A9-D36E-40B5-9161-8BB75765BB68}" dt="2025-10-12T03:19:04.157" v="13"/>
        <pc:sldMkLst>
          <pc:docMk/>
          <pc:sldMk cId="402333902" sldId="2147471715"/>
        </pc:sldMkLst>
      </pc:sldChg>
      <pc:sldChg chg="ord">
        <pc:chgData name="John Paserba" userId="77bd6c8a-d0c1-4fea-8705-0169f65d0c0e" providerId="ADAL" clId="{FD5E66A9-D36E-40B5-9161-8BB75765BB68}" dt="2025-10-12T03:19:04.157" v="13"/>
        <pc:sldMkLst>
          <pc:docMk/>
          <pc:sldMk cId="1807381905" sldId="2147471722"/>
        </pc:sldMkLst>
      </pc:sldChg>
      <pc:sldChg chg="delSp modSp mod">
        <pc:chgData name="John Paserba" userId="77bd6c8a-d0c1-4fea-8705-0169f65d0c0e" providerId="ADAL" clId="{FD5E66A9-D36E-40B5-9161-8BB75765BB68}" dt="2025-10-14T03:16:09.329" v="5260" actId="478"/>
        <pc:sldMkLst>
          <pc:docMk/>
          <pc:sldMk cId="1020101525" sldId="2147471724"/>
        </pc:sldMkLst>
        <pc:spChg chg="mod">
          <ac:chgData name="John Paserba" userId="77bd6c8a-d0c1-4fea-8705-0169f65d0c0e" providerId="ADAL" clId="{FD5E66A9-D36E-40B5-9161-8BB75765BB68}" dt="2025-10-12T23:17:37.326" v="2994"/>
          <ac:spMkLst>
            <pc:docMk/>
            <pc:sldMk cId="1020101525" sldId="2147471724"/>
            <ac:spMk id="8" creationId="{37CEEF7E-3CE8-42D1-AEB0-A2514859CE49}"/>
          </ac:spMkLst>
        </pc:spChg>
        <pc:spChg chg="del mod">
          <ac:chgData name="John Paserba" userId="77bd6c8a-d0c1-4fea-8705-0169f65d0c0e" providerId="ADAL" clId="{FD5E66A9-D36E-40B5-9161-8BB75765BB68}" dt="2025-10-14T03:16:09.329" v="5260" actId="478"/>
          <ac:spMkLst>
            <pc:docMk/>
            <pc:sldMk cId="1020101525" sldId="2147471724"/>
            <ac:spMk id="10" creationId="{65156316-48BA-49BC-A9BD-1F04977566BE}"/>
          </ac:spMkLst>
        </pc:spChg>
        <pc:picChg chg="del mod">
          <ac:chgData name="John Paserba" userId="77bd6c8a-d0c1-4fea-8705-0169f65d0c0e" providerId="ADAL" clId="{FD5E66A9-D36E-40B5-9161-8BB75765BB68}" dt="2025-10-14T03:16:06.742" v="5259" actId="478"/>
          <ac:picMkLst>
            <pc:docMk/>
            <pc:sldMk cId="1020101525" sldId="2147471724"/>
            <ac:picMk id="7" creationId="{DB24AD92-9597-4C1A-A39D-BFC2FCA8C685}"/>
          </ac:picMkLst>
        </pc:picChg>
      </pc:sldChg>
      <pc:sldChg chg="modSp">
        <pc:chgData name="John Paserba" userId="77bd6c8a-d0c1-4fea-8705-0169f65d0c0e" providerId="ADAL" clId="{FD5E66A9-D36E-40B5-9161-8BB75765BB68}" dt="2025-10-12T23:17:08.442" v="2991"/>
        <pc:sldMkLst>
          <pc:docMk/>
          <pc:sldMk cId="2339610385" sldId="2147471725"/>
        </pc:sldMkLst>
        <pc:spChg chg="mod">
          <ac:chgData name="John Paserba" userId="77bd6c8a-d0c1-4fea-8705-0169f65d0c0e" providerId="ADAL" clId="{FD5E66A9-D36E-40B5-9161-8BB75765BB68}" dt="2025-10-12T23:17:08.442" v="2991"/>
          <ac:spMkLst>
            <pc:docMk/>
            <pc:sldMk cId="2339610385" sldId="2147471725"/>
            <ac:spMk id="12" creationId="{7637F54C-2D4B-44A5-B3F7-1642BB564316}"/>
          </ac:spMkLst>
        </pc:spChg>
      </pc:sldChg>
      <pc:sldChg chg="addSp delSp modSp mod">
        <pc:chgData name="John Paserba" userId="77bd6c8a-d0c1-4fea-8705-0169f65d0c0e" providerId="ADAL" clId="{FD5E66A9-D36E-40B5-9161-8BB75765BB68}" dt="2025-10-14T01:49:27.978" v="4817" actId="255"/>
        <pc:sldMkLst>
          <pc:docMk/>
          <pc:sldMk cId="717567624" sldId="2147471726"/>
        </pc:sldMkLst>
        <pc:spChg chg="add del mod">
          <ac:chgData name="John Paserba" userId="77bd6c8a-d0c1-4fea-8705-0169f65d0c0e" providerId="ADAL" clId="{FD5E66A9-D36E-40B5-9161-8BB75765BB68}" dt="2025-10-14T01:49:11.351" v="4815" actId="478"/>
          <ac:spMkLst>
            <pc:docMk/>
            <pc:sldMk cId="717567624" sldId="2147471726"/>
            <ac:spMk id="17" creationId="{D3413B11-643B-4BAD-AAA4-AC17368C3043}"/>
          </ac:spMkLst>
        </pc:spChg>
        <pc:spChg chg="mod">
          <ac:chgData name="John Paserba" userId="77bd6c8a-d0c1-4fea-8705-0169f65d0c0e" providerId="ADAL" clId="{FD5E66A9-D36E-40B5-9161-8BB75765BB68}" dt="2025-10-12T21:35:52.480" v="1734"/>
          <ac:spMkLst>
            <pc:docMk/>
            <pc:sldMk cId="717567624" sldId="2147471726"/>
            <ac:spMk id="3328002" creationId="{00000000-0000-0000-0000-000000000000}"/>
          </ac:spMkLst>
        </pc:spChg>
        <pc:graphicFrameChg chg="mod">
          <ac:chgData name="John Paserba" userId="77bd6c8a-d0c1-4fea-8705-0169f65d0c0e" providerId="ADAL" clId="{FD5E66A9-D36E-40B5-9161-8BB75765BB68}" dt="2025-10-12T21:34:14.120" v="1719"/>
          <ac:graphicFrameMkLst>
            <pc:docMk/>
            <pc:sldMk cId="717567624" sldId="2147471726"/>
            <ac:graphicFrameMk id="2" creationId="{00000000-0000-0000-0000-000000000000}"/>
          </ac:graphicFrameMkLst>
        </pc:graphicFrameChg>
        <pc:graphicFrameChg chg="modGraphic">
          <ac:chgData name="John Paserba" userId="77bd6c8a-d0c1-4fea-8705-0169f65d0c0e" providerId="ADAL" clId="{FD5E66A9-D36E-40B5-9161-8BB75765BB68}" dt="2025-10-12T16:45:03.994" v="834" actId="20577"/>
          <ac:graphicFrameMkLst>
            <pc:docMk/>
            <pc:sldMk cId="717567624" sldId="2147471726"/>
            <ac:graphicFrameMk id="12" creationId="{00000000-0000-0000-0000-000000000000}"/>
          </ac:graphicFrameMkLst>
        </pc:graphicFrameChg>
        <pc:graphicFrameChg chg="modGraphic">
          <ac:chgData name="John Paserba" userId="77bd6c8a-d0c1-4fea-8705-0169f65d0c0e" providerId="ADAL" clId="{FD5E66A9-D36E-40B5-9161-8BB75765BB68}" dt="2025-10-14T01:49:27.978" v="4817" actId="255"/>
          <ac:graphicFrameMkLst>
            <pc:docMk/>
            <pc:sldMk cId="717567624" sldId="2147471726"/>
            <ac:graphicFrameMk id="16" creationId="{151355DB-8330-463A-ADC2-F2EA31C5757D}"/>
          </ac:graphicFrameMkLst>
        </pc:graphicFrameChg>
      </pc:sldChg>
      <pc:sldChg chg="modSp mod">
        <pc:chgData name="John Paserba" userId="77bd6c8a-d0c1-4fea-8705-0169f65d0c0e" providerId="ADAL" clId="{FD5E66A9-D36E-40B5-9161-8BB75765BB68}" dt="2025-10-13T00:05:43.905" v="3032" actId="14100"/>
        <pc:sldMkLst>
          <pc:docMk/>
          <pc:sldMk cId="115478721" sldId="2147471727"/>
        </pc:sldMkLst>
        <pc:spChg chg="mod">
          <ac:chgData name="John Paserba" userId="77bd6c8a-d0c1-4fea-8705-0169f65d0c0e" providerId="ADAL" clId="{FD5E66A9-D36E-40B5-9161-8BB75765BB68}" dt="2025-10-13T00:05:43.905" v="3032" actId="14100"/>
          <ac:spMkLst>
            <pc:docMk/>
            <pc:sldMk cId="115478721" sldId="2147471727"/>
            <ac:spMk id="8" creationId="{37CEEF7E-3CE8-42D1-AEB0-A2514859CE49}"/>
          </ac:spMkLst>
        </pc:spChg>
        <pc:spChg chg="mod">
          <ac:chgData name="John Paserba" userId="77bd6c8a-d0c1-4fea-8705-0169f65d0c0e" providerId="ADAL" clId="{FD5E66A9-D36E-40B5-9161-8BB75765BB68}" dt="2025-10-12T23:20:52.013" v="3030" actId="20577"/>
          <ac:spMkLst>
            <pc:docMk/>
            <pc:sldMk cId="115478721" sldId="2147471727"/>
            <ac:spMk id="3328002" creationId="{00000000-0000-0000-0000-000000000000}"/>
          </ac:spMkLst>
        </pc:spChg>
      </pc:sldChg>
      <pc:sldChg chg="modSp mod">
        <pc:chgData name="John Paserba" userId="77bd6c8a-d0c1-4fea-8705-0169f65d0c0e" providerId="ADAL" clId="{FD5E66A9-D36E-40B5-9161-8BB75765BB68}" dt="2025-10-12T23:18:36.356" v="3009" actId="1036"/>
        <pc:sldMkLst>
          <pc:docMk/>
          <pc:sldMk cId="1154339187" sldId="2147471728"/>
        </pc:sldMkLst>
        <pc:spChg chg="mod">
          <ac:chgData name="John Paserba" userId="77bd6c8a-d0c1-4fea-8705-0169f65d0c0e" providerId="ADAL" clId="{FD5E66A9-D36E-40B5-9161-8BB75765BB68}" dt="2025-10-12T23:18:31.490" v="2997" actId="1076"/>
          <ac:spMkLst>
            <pc:docMk/>
            <pc:sldMk cId="1154339187" sldId="2147471728"/>
            <ac:spMk id="12" creationId="{7637F54C-2D4B-44A5-B3F7-1642BB564316}"/>
          </ac:spMkLst>
        </pc:spChg>
        <pc:picChg chg="mod">
          <ac:chgData name="John Paserba" userId="77bd6c8a-d0c1-4fea-8705-0169f65d0c0e" providerId="ADAL" clId="{FD5E66A9-D36E-40B5-9161-8BB75765BB68}" dt="2025-10-12T23:18:36.356" v="3009" actId="1036"/>
          <ac:picMkLst>
            <pc:docMk/>
            <pc:sldMk cId="1154339187" sldId="2147471728"/>
            <ac:picMk id="6" creationId="{860CB65A-AE72-49F4-9D04-E057BFADF006}"/>
          </ac:picMkLst>
        </pc:picChg>
      </pc:sldChg>
      <pc:sldChg chg="addSp delSp modSp add del mod">
        <pc:chgData name="John Paserba" userId="77bd6c8a-d0c1-4fea-8705-0169f65d0c0e" providerId="ADAL" clId="{FD5E66A9-D36E-40B5-9161-8BB75765BB68}" dt="2025-10-14T03:23:46.698" v="5278" actId="47"/>
        <pc:sldMkLst>
          <pc:docMk/>
          <pc:sldMk cId="3336411070" sldId="2147471730"/>
        </pc:sldMkLst>
        <pc:spChg chg="del">
          <ac:chgData name="John Paserba" userId="77bd6c8a-d0c1-4fea-8705-0169f65d0c0e" providerId="ADAL" clId="{FD5E66A9-D36E-40B5-9161-8BB75765BB68}" dt="2025-10-13T01:14:42.583" v="3634" actId="478"/>
          <ac:spMkLst>
            <pc:docMk/>
            <pc:sldMk cId="3336411070" sldId="2147471730"/>
            <ac:spMk id="3" creationId="{98ABD7B3-450E-ED6A-F393-7535F3ABD5A7}"/>
          </ac:spMkLst>
        </pc:spChg>
        <pc:spChg chg="mod">
          <ac:chgData name="John Paserba" userId="77bd6c8a-d0c1-4fea-8705-0169f65d0c0e" providerId="ADAL" clId="{FD5E66A9-D36E-40B5-9161-8BB75765BB68}" dt="2025-10-13T02:06:09.435" v="3870" actId="179"/>
          <ac:spMkLst>
            <pc:docMk/>
            <pc:sldMk cId="3336411070" sldId="2147471730"/>
            <ac:spMk id="14" creationId="{F67A0B32-CB8E-18E8-A538-EC2CB4AA4050}"/>
          </ac:spMkLst>
        </pc:spChg>
        <pc:spChg chg="add mod">
          <ac:chgData name="John Paserba" userId="77bd6c8a-d0c1-4fea-8705-0169f65d0c0e" providerId="ADAL" clId="{FD5E66A9-D36E-40B5-9161-8BB75765BB68}" dt="2025-10-13T01:29:00.663" v="3790"/>
          <ac:spMkLst>
            <pc:docMk/>
            <pc:sldMk cId="3336411070" sldId="2147471730"/>
            <ac:spMk id="16" creationId="{FBBB0A29-1CD8-4291-9DD7-C1020B6AC5B2}"/>
          </ac:spMkLst>
        </pc:spChg>
      </pc:sldChg>
      <pc:sldChg chg="modSp add del mod">
        <pc:chgData name="John Paserba" userId="77bd6c8a-d0c1-4fea-8705-0169f65d0c0e" providerId="ADAL" clId="{FD5E66A9-D36E-40B5-9161-8BB75765BB68}" dt="2025-10-14T03:32:42.321" v="5426"/>
        <pc:sldMkLst>
          <pc:docMk/>
          <pc:sldMk cId="3241020159" sldId="2147471733"/>
        </pc:sldMkLst>
        <pc:spChg chg="mod">
          <ac:chgData name="John Paserba" userId="77bd6c8a-d0c1-4fea-8705-0169f65d0c0e" providerId="ADAL" clId="{FD5E66A9-D36E-40B5-9161-8BB75765BB68}" dt="2025-10-14T03:32:42.321" v="5426"/>
          <ac:spMkLst>
            <pc:docMk/>
            <pc:sldMk cId="3241020159" sldId="2147471733"/>
            <ac:spMk id="2" creationId="{B07B3721-1F55-4D8F-9F57-4CA101077307}"/>
          </ac:spMkLst>
        </pc:spChg>
        <pc:spChg chg="mod">
          <ac:chgData name="John Paserba" userId="77bd6c8a-d0c1-4fea-8705-0169f65d0c0e" providerId="ADAL" clId="{FD5E66A9-D36E-40B5-9161-8BB75765BB68}" dt="2025-10-13T02:13:21.285" v="3968" actId="207"/>
          <ac:spMkLst>
            <pc:docMk/>
            <pc:sldMk cId="3241020159" sldId="2147471733"/>
            <ac:spMk id="3" creationId="{D30A53C3-FA98-2C68-7926-30EE45974960}"/>
          </ac:spMkLst>
        </pc:spChg>
      </pc:sldChg>
      <pc:sldChg chg="add del">
        <pc:chgData name="John Paserba" userId="77bd6c8a-d0c1-4fea-8705-0169f65d0c0e" providerId="ADAL" clId="{FD5E66A9-D36E-40B5-9161-8BB75765BB68}" dt="2025-10-14T03:23:51.686" v="5279" actId="47"/>
        <pc:sldMkLst>
          <pc:docMk/>
          <pc:sldMk cId="4056670772" sldId="2147471745"/>
        </pc:sldMkLst>
      </pc:sldChg>
      <pc:sldChg chg="addSp modSp add del mod">
        <pc:chgData name="John Paserba" userId="77bd6c8a-d0c1-4fea-8705-0169f65d0c0e" providerId="ADAL" clId="{FD5E66A9-D36E-40B5-9161-8BB75765BB68}" dt="2025-10-14T03:33:16.353" v="5430"/>
        <pc:sldMkLst>
          <pc:docMk/>
          <pc:sldMk cId="480462522" sldId="2147471748"/>
        </pc:sldMkLst>
        <pc:spChg chg="add mod">
          <ac:chgData name="John Paserba" userId="77bd6c8a-d0c1-4fea-8705-0169f65d0c0e" providerId="ADAL" clId="{FD5E66A9-D36E-40B5-9161-8BB75765BB68}" dt="2025-10-13T01:32:25.922" v="3839" actId="20577"/>
          <ac:spMkLst>
            <pc:docMk/>
            <pc:sldMk cId="480462522" sldId="2147471748"/>
            <ac:spMk id="6" creationId="{F98C8599-7F75-4E3A-B394-7AD04EB444BF}"/>
          </ac:spMkLst>
        </pc:spChg>
        <pc:spChg chg="mod">
          <ac:chgData name="John Paserba" userId="77bd6c8a-d0c1-4fea-8705-0169f65d0c0e" providerId="ADAL" clId="{FD5E66A9-D36E-40B5-9161-8BB75765BB68}" dt="2025-10-14T03:33:16.353" v="5430"/>
          <ac:spMkLst>
            <pc:docMk/>
            <pc:sldMk cId="480462522" sldId="2147471748"/>
            <ac:spMk id="10" creationId="{20130A44-2EFD-B278-AFCA-D63BF13DB9B5}"/>
          </ac:spMkLst>
        </pc:spChg>
      </pc:sldChg>
      <pc:sldChg chg="modSp add del mod">
        <pc:chgData name="John Paserba" userId="77bd6c8a-d0c1-4fea-8705-0169f65d0c0e" providerId="ADAL" clId="{FD5E66A9-D36E-40B5-9161-8BB75765BB68}" dt="2025-10-14T03:33:38.057" v="5432" actId="1076"/>
        <pc:sldMkLst>
          <pc:docMk/>
          <pc:sldMk cId="3970052653" sldId="2147471750"/>
        </pc:sldMkLst>
        <pc:spChg chg="mod">
          <ac:chgData name="John Paserba" userId="77bd6c8a-d0c1-4fea-8705-0169f65d0c0e" providerId="ADAL" clId="{FD5E66A9-D36E-40B5-9161-8BB75765BB68}" dt="2025-10-14T03:33:38.057" v="5432" actId="1076"/>
          <ac:spMkLst>
            <pc:docMk/>
            <pc:sldMk cId="3970052653" sldId="2147471750"/>
            <ac:spMk id="2" creationId="{3886EC70-5D04-9327-5328-EC944E5C503F}"/>
          </ac:spMkLst>
        </pc:spChg>
        <pc:spChg chg="mod">
          <ac:chgData name="John Paserba" userId="77bd6c8a-d0c1-4fea-8705-0169f65d0c0e" providerId="ADAL" clId="{FD5E66A9-D36E-40B5-9161-8BB75765BB68}" dt="2025-10-14T03:31:41.990" v="5389" actId="1035"/>
          <ac:spMkLst>
            <pc:docMk/>
            <pc:sldMk cId="3970052653" sldId="2147471750"/>
            <ac:spMk id="3" creationId="{1D587604-10F7-B798-B728-C93948F935DA}"/>
          </ac:spMkLst>
        </pc:spChg>
        <pc:spChg chg="mod">
          <ac:chgData name="John Paserba" userId="77bd6c8a-d0c1-4fea-8705-0169f65d0c0e" providerId="ADAL" clId="{FD5E66A9-D36E-40B5-9161-8BB75765BB68}" dt="2025-10-14T03:31:55.208" v="5411" actId="1035"/>
          <ac:spMkLst>
            <pc:docMk/>
            <pc:sldMk cId="3970052653" sldId="2147471750"/>
            <ac:spMk id="5" creationId="{B780A12F-B680-91BE-0A3E-862B92D78AE5}"/>
          </ac:spMkLst>
        </pc:spChg>
        <pc:spChg chg="mod">
          <ac:chgData name="John Paserba" userId="77bd6c8a-d0c1-4fea-8705-0169f65d0c0e" providerId="ADAL" clId="{FD5E66A9-D36E-40B5-9161-8BB75765BB68}" dt="2025-10-14T03:31:55.208" v="5411" actId="1035"/>
          <ac:spMkLst>
            <pc:docMk/>
            <pc:sldMk cId="3970052653" sldId="2147471750"/>
            <ac:spMk id="6" creationId="{25C147DD-89CE-E02F-B2AD-B375FACA0859}"/>
          </ac:spMkLst>
        </pc:spChg>
        <pc:spChg chg="mod">
          <ac:chgData name="John Paserba" userId="77bd6c8a-d0c1-4fea-8705-0169f65d0c0e" providerId="ADAL" clId="{FD5E66A9-D36E-40B5-9161-8BB75765BB68}" dt="2025-10-14T03:31:55.208" v="5411" actId="1035"/>
          <ac:spMkLst>
            <pc:docMk/>
            <pc:sldMk cId="3970052653" sldId="2147471750"/>
            <ac:spMk id="7" creationId="{DF720EA4-E520-D5CD-B763-ADF299C0FC19}"/>
          </ac:spMkLst>
        </pc:spChg>
        <pc:spChg chg="mod">
          <ac:chgData name="John Paserba" userId="77bd6c8a-d0c1-4fea-8705-0169f65d0c0e" providerId="ADAL" clId="{FD5E66A9-D36E-40B5-9161-8BB75765BB68}" dt="2025-10-14T03:31:55.208" v="5411" actId="1035"/>
          <ac:spMkLst>
            <pc:docMk/>
            <pc:sldMk cId="3970052653" sldId="2147471750"/>
            <ac:spMk id="8" creationId="{3F5E219F-1447-2106-D02E-73D970C1AEBD}"/>
          </ac:spMkLst>
        </pc:spChg>
        <pc:spChg chg="mod">
          <ac:chgData name="John Paserba" userId="77bd6c8a-d0c1-4fea-8705-0169f65d0c0e" providerId="ADAL" clId="{FD5E66A9-D36E-40B5-9161-8BB75765BB68}" dt="2025-10-14T03:31:55.208" v="5411" actId="1035"/>
          <ac:spMkLst>
            <pc:docMk/>
            <pc:sldMk cId="3970052653" sldId="2147471750"/>
            <ac:spMk id="9" creationId="{387FF389-3101-6644-DBED-84DC824F710F}"/>
          </ac:spMkLst>
        </pc:spChg>
        <pc:spChg chg="mod">
          <ac:chgData name="John Paserba" userId="77bd6c8a-d0c1-4fea-8705-0169f65d0c0e" providerId="ADAL" clId="{FD5E66A9-D36E-40B5-9161-8BB75765BB68}" dt="2025-10-14T03:31:55.208" v="5411" actId="1035"/>
          <ac:spMkLst>
            <pc:docMk/>
            <pc:sldMk cId="3970052653" sldId="2147471750"/>
            <ac:spMk id="10" creationId="{FF74CCE0-630F-F776-C09E-808432EF3306}"/>
          </ac:spMkLst>
        </pc:spChg>
        <pc:spChg chg="mod">
          <ac:chgData name="John Paserba" userId="77bd6c8a-d0c1-4fea-8705-0169f65d0c0e" providerId="ADAL" clId="{FD5E66A9-D36E-40B5-9161-8BB75765BB68}" dt="2025-10-14T03:31:55.208" v="5411" actId="1035"/>
          <ac:spMkLst>
            <pc:docMk/>
            <pc:sldMk cId="3970052653" sldId="2147471750"/>
            <ac:spMk id="11" creationId="{A09E97A2-8BF3-B22B-0DAC-02E590BAC9DC}"/>
          </ac:spMkLst>
        </pc:spChg>
        <pc:spChg chg="mod">
          <ac:chgData name="John Paserba" userId="77bd6c8a-d0c1-4fea-8705-0169f65d0c0e" providerId="ADAL" clId="{FD5E66A9-D36E-40B5-9161-8BB75765BB68}" dt="2025-10-14T03:31:55.208" v="5411" actId="1035"/>
          <ac:spMkLst>
            <pc:docMk/>
            <pc:sldMk cId="3970052653" sldId="2147471750"/>
            <ac:spMk id="12" creationId="{4A4516AE-42CD-8F21-B9A9-5AF74495FD1E}"/>
          </ac:spMkLst>
        </pc:spChg>
        <pc:spChg chg="mod">
          <ac:chgData name="John Paserba" userId="77bd6c8a-d0c1-4fea-8705-0169f65d0c0e" providerId="ADAL" clId="{FD5E66A9-D36E-40B5-9161-8BB75765BB68}" dt="2025-10-14T03:31:55.208" v="5411" actId="1035"/>
          <ac:spMkLst>
            <pc:docMk/>
            <pc:sldMk cId="3970052653" sldId="2147471750"/>
            <ac:spMk id="13" creationId="{B516057A-38F4-B60D-E4B7-E2528243DA31}"/>
          </ac:spMkLst>
        </pc:spChg>
        <pc:spChg chg="mod">
          <ac:chgData name="John Paserba" userId="77bd6c8a-d0c1-4fea-8705-0169f65d0c0e" providerId="ADAL" clId="{FD5E66A9-D36E-40B5-9161-8BB75765BB68}" dt="2025-10-14T03:31:55.208" v="5411" actId="1035"/>
          <ac:spMkLst>
            <pc:docMk/>
            <pc:sldMk cId="3970052653" sldId="2147471750"/>
            <ac:spMk id="20" creationId="{22903C1A-CE12-167E-94A7-32BAA1633464}"/>
          </ac:spMkLst>
        </pc:spChg>
        <pc:spChg chg="mod">
          <ac:chgData name="John Paserba" userId="77bd6c8a-d0c1-4fea-8705-0169f65d0c0e" providerId="ADAL" clId="{FD5E66A9-D36E-40B5-9161-8BB75765BB68}" dt="2025-10-14T03:31:55.208" v="5411" actId="1035"/>
          <ac:spMkLst>
            <pc:docMk/>
            <pc:sldMk cId="3970052653" sldId="2147471750"/>
            <ac:spMk id="21" creationId="{6534D544-485D-6FED-682E-56F85ED7C45A}"/>
          </ac:spMkLst>
        </pc:spChg>
        <pc:spChg chg="mod">
          <ac:chgData name="John Paserba" userId="77bd6c8a-d0c1-4fea-8705-0169f65d0c0e" providerId="ADAL" clId="{FD5E66A9-D36E-40B5-9161-8BB75765BB68}" dt="2025-10-14T03:31:55.208" v="5411" actId="1035"/>
          <ac:spMkLst>
            <pc:docMk/>
            <pc:sldMk cId="3970052653" sldId="2147471750"/>
            <ac:spMk id="26" creationId="{4180DA72-AE85-C8C4-06B7-2AA0F7BB3819}"/>
          </ac:spMkLst>
        </pc:spChg>
        <pc:spChg chg="mod">
          <ac:chgData name="John Paserba" userId="77bd6c8a-d0c1-4fea-8705-0169f65d0c0e" providerId="ADAL" clId="{FD5E66A9-D36E-40B5-9161-8BB75765BB68}" dt="2025-10-14T03:31:55.208" v="5411" actId="1035"/>
          <ac:spMkLst>
            <pc:docMk/>
            <pc:sldMk cId="3970052653" sldId="2147471750"/>
            <ac:spMk id="35" creationId="{1F4665D1-A651-C4FD-C499-B5B5C4DF049D}"/>
          </ac:spMkLst>
        </pc:spChg>
        <pc:spChg chg="mod">
          <ac:chgData name="John Paserba" userId="77bd6c8a-d0c1-4fea-8705-0169f65d0c0e" providerId="ADAL" clId="{FD5E66A9-D36E-40B5-9161-8BB75765BB68}" dt="2025-10-14T03:31:55.208" v="5411" actId="1035"/>
          <ac:spMkLst>
            <pc:docMk/>
            <pc:sldMk cId="3970052653" sldId="2147471750"/>
            <ac:spMk id="46" creationId="{2E7CB76A-173C-F930-EF0A-3B1ABC832A28}"/>
          </ac:spMkLst>
        </pc:spChg>
        <pc:spChg chg="mod">
          <ac:chgData name="John Paserba" userId="77bd6c8a-d0c1-4fea-8705-0169f65d0c0e" providerId="ADAL" clId="{FD5E66A9-D36E-40B5-9161-8BB75765BB68}" dt="2025-10-14T03:31:55.208" v="5411" actId="1035"/>
          <ac:spMkLst>
            <pc:docMk/>
            <pc:sldMk cId="3970052653" sldId="2147471750"/>
            <ac:spMk id="47" creationId="{7938F19D-FE73-77E9-C256-726E64D5478E}"/>
          </ac:spMkLst>
        </pc:spChg>
        <pc:spChg chg="mod">
          <ac:chgData name="John Paserba" userId="77bd6c8a-d0c1-4fea-8705-0169f65d0c0e" providerId="ADAL" clId="{FD5E66A9-D36E-40B5-9161-8BB75765BB68}" dt="2025-10-14T03:31:55.208" v="5411" actId="1035"/>
          <ac:spMkLst>
            <pc:docMk/>
            <pc:sldMk cId="3970052653" sldId="2147471750"/>
            <ac:spMk id="48" creationId="{6AA84499-D851-AFC4-2F1E-6D7C1ABFD50F}"/>
          </ac:spMkLst>
        </pc:spChg>
        <pc:spChg chg="mod">
          <ac:chgData name="John Paserba" userId="77bd6c8a-d0c1-4fea-8705-0169f65d0c0e" providerId="ADAL" clId="{FD5E66A9-D36E-40B5-9161-8BB75765BB68}" dt="2025-10-14T03:31:55.208" v="5411" actId="1035"/>
          <ac:spMkLst>
            <pc:docMk/>
            <pc:sldMk cId="3970052653" sldId="2147471750"/>
            <ac:spMk id="49" creationId="{D4572378-C0EC-6AE6-52A2-4872D3C6AE53}"/>
          </ac:spMkLst>
        </pc:spChg>
        <pc:spChg chg="mod">
          <ac:chgData name="John Paserba" userId="77bd6c8a-d0c1-4fea-8705-0169f65d0c0e" providerId="ADAL" clId="{FD5E66A9-D36E-40B5-9161-8BB75765BB68}" dt="2025-10-14T03:31:55.208" v="5411" actId="1035"/>
          <ac:spMkLst>
            <pc:docMk/>
            <pc:sldMk cId="3970052653" sldId="2147471750"/>
            <ac:spMk id="52" creationId="{9A031F01-FF40-B3E6-9C35-4307631CE6DE}"/>
          </ac:spMkLst>
        </pc:spChg>
        <pc:spChg chg="mod">
          <ac:chgData name="John Paserba" userId="77bd6c8a-d0c1-4fea-8705-0169f65d0c0e" providerId="ADAL" clId="{FD5E66A9-D36E-40B5-9161-8BB75765BB68}" dt="2025-10-14T03:31:55.208" v="5411" actId="1035"/>
          <ac:spMkLst>
            <pc:docMk/>
            <pc:sldMk cId="3970052653" sldId="2147471750"/>
            <ac:spMk id="58" creationId="{E4943C20-7F54-7C51-4D7B-A1500D2A2CD6}"/>
          </ac:spMkLst>
        </pc:spChg>
        <pc:spChg chg="mod">
          <ac:chgData name="John Paserba" userId="77bd6c8a-d0c1-4fea-8705-0169f65d0c0e" providerId="ADAL" clId="{FD5E66A9-D36E-40B5-9161-8BB75765BB68}" dt="2025-10-14T03:31:55.208" v="5411" actId="1035"/>
          <ac:spMkLst>
            <pc:docMk/>
            <pc:sldMk cId="3970052653" sldId="2147471750"/>
            <ac:spMk id="59" creationId="{D9DDE8A3-282A-60AE-6CA2-061F05F3E712}"/>
          </ac:spMkLst>
        </pc:spChg>
        <pc:spChg chg="mod">
          <ac:chgData name="John Paserba" userId="77bd6c8a-d0c1-4fea-8705-0169f65d0c0e" providerId="ADAL" clId="{FD5E66A9-D36E-40B5-9161-8BB75765BB68}" dt="2025-10-14T03:31:55.208" v="5411" actId="1035"/>
          <ac:spMkLst>
            <pc:docMk/>
            <pc:sldMk cId="3970052653" sldId="2147471750"/>
            <ac:spMk id="60" creationId="{9027F0FA-CE3B-F68C-59CF-677021FC988F}"/>
          </ac:spMkLst>
        </pc:spChg>
        <pc:spChg chg="mod">
          <ac:chgData name="John Paserba" userId="77bd6c8a-d0c1-4fea-8705-0169f65d0c0e" providerId="ADAL" clId="{FD5E66A9-D36E-40B5-9161-8BB75765BB68}" dt="2025-10-14T03:31:55.208" v="5411" actId="1035"/>
          <ac:spMkLst>
            <pc:docMk/>
            <pc:sldMk cId="3970052653" sldId="2147471750"/>
            <ac:spMk id="61" creationId="{15420E38-839A-5BA4-2653-57ACC62C32DC}"/>
          </ac:spMkLst>
        </pc:spChg>
        <pc:spChg chg="mod">
          <ac:chgData name="John Paserba" userId="77bd6c8a-d0c1-4fea-8705-0169f65d0c0e" providerId="ADAL" clId="{FD5E66A9-D36E-40B5-9161-8BB75765BB68}" dt="2025-10-14T03:31:55.208" v="5411" actId="1035"/>
          <ac:spMkLst>
            <pc:docMk/>
            <pc:sldMk cId="3970052653" sldId="2147471750"/>
            <ac:spMk id="87" creationId="{E64111E7-2446-9ED1-C01C-7A46ABEB75AA}"/>
          </ac:spMkLst>
        </pc:spChg>
        <pc:spChg chg="mod">
          <ac:chgData name="John Paserba" userId="77bd6c8a-d0c1-4fea-8705-0169f65d0c0e" providerId="ADAL" clId="{FD5E66A9-D36E-40B5-9161-8BB75765BB68}" dt="2025-10-14T03:31:55.208" v="5411" actId="1035"/>
          <ac:spMkLst>
            <pc:docMk/>
            <pc:sldMk cId="3970052653" sldId="2147471750"/>
            <ac:spMk id="88" creationId="{EFA6E0E5-322D-A6F2-4E8A-AC4D3CD06DEC}"/>
          </ac:spMkLst>
        </pc:spChg>
        <pc:spChg chg="mod">
          <ac:chgData name="John Paserba" userId="77bd6c8a-d0c1-4fea-8705-0169f65d0c0e" providerId="ADAL" clId="{FD5E66A9-D36E-40B5-9161-8BB75765BB68}" dt="2025-10-14T03:31:55.208" v="5411" actId="1035"/>
          <ac:spMkLst>
            <pc:docMk/>
            <pc:sldMk cId="3970052653" sldId="2147471750"/>
            <ac:spMk id="89" creationId="{CB75AF12-A5BF-3057-0760-A8DEC37BDAED}"/>
          </ac:spMkLst>
        </pc:spChg>
        <pc:spChg chg="mod">
          <ac:chgData name="John Paserba" userId="77bd6c8a-d0c1-4fea-8705-0169f65d0c0e" providerId="ADAL" clId="{FD5E66A9-D36E-40B5-9161-8BB75765BB68}" dt="2025-10-14T03:31:55.208" v="5411" actId="1035"/>
          <ac:spMkLst>
            <pc:docMk/>
            <pc:sldMk cId="3970052653" sldId="2147471750"/>
            <ac:spMk id="90" creationId="{C913E56C-BCB6-384C-0ECD-8D6A754FBDB8}"/>
          </ac:spMkLst>
        </pc:spChg>
        <pc:spChg chg="mod">
          <ac:chgData name="John Paserba" userId="77bd6c8a-d0c1-4fea-8705-0169f65d0c0e" providerId="ADAL" clId="{FD5E66A9-D36E-40B5-9161-8BB75765BB68}" dt="2025-10-14T03:31:55.208" v="5411" actId="1035"/>
          <ac:spMkLst>
            <pc:docMk/>
            <pc:sldMk cId="3970052653" sldId="2147471750"/>
            <ac:spMk id="93" creationId="{649D5690-D6A3-99FA-0EF0-C5364078B173}"/>
          </ac:spMkLst>
        </pc:spChg>
        <pc:spChg chg="mod">
          <ac:chgData name="John Paserba" userId="77bd6c8a-d0c1-4fea-8705-0169f65d0c0e" providerId="ADAL" clId="{FD5E66A9-D36E-40B5-9161-8BB75765BB68}" dt="2025-10-14T03:31:55.208" v="5411" actId="1035"/>
          <ac:spMkLst>
            <pc:docMk/>
            <pc:sldMk cId="3970052653" sldId="2147471750"/>
            <ac:spMk id="94" creationId="{FA186EF3-C3F3-5448-E46B-C8053EFC679C}"/>
          </ac:spMkLst>
        </pc:spChg>
        <pc:spChg chg="mod">
          <ac:chgData name="John Paserba" userId="77bd6c8a-d0c1-4fea-8705-0169f65d0c0e" providerId="ADAL" clId="{FD5E66A9-D36E-40B5-9161-8BB75765BB68}" dt="2025-10-14T03:31:55.208" v="5411" actId="1035"/>
          <ac:spMkLst>
            <pc:docMk/>
            <pc:sldMk cId="3970052653" sldId="2147471750"/>
            <ac:spMk id="95" creationId="{7334FEA0-6EFD-BF26-E6A2-235A749F37CF}"/>
          </ac:spMkLst>
        </pc:spChg>
        <pc:spChg chg="mod">
          <ac:chgData name="John Paserba" userId="77bd6c8a-d0c1-4fea-8705-0169f65d0c0e" providerId="ADAL" clId="{FD5E66A9-D36E-40B5-9161-8BB75765BB68}" dt="2025-10-14T03:31:55.208" v="5411" actId="1035"/>
          <ac:spMkLst>
            <pc:docMk/>
            <pc:sldMk cId="3970052653" sldId="2147471750"/>
            <ac:spMk id="96" creationId="{D4058D33-B826-20B7-F6CF-ADB6B422B45D}"/>
          </ac:spMkLst>
        </pc:spChg>
        <pc:spChg chg="mod">
          <ac:chgData name="John Paserba" userId="77bd6c8a-d0c1-4fea-8705-0169f65d0c0e" providerId="ADAL" clId="{FD5E66A9-D36E-40B5-9161-8BB75765BB68}" dt="2025-10-14T03:31:55.208" v="5411" actId="1035"/>
          <ac:spMkLst>
            <pc:docMk/>
            <pc:sldMk cId="3970052653" sldId="2147471750"/>
            <ac:spMk id="108" creationId="{C12A072E-38AF-B164-877B-97AAD127EA3C}"/>
          </ac:spMkLst>
        </pc:spChg>
        <pc:spChg chg="mod">
          <ac:chgData name="John Paserba" userId="77bd6c8a-d0c1-4fea-8705-0169f65d0c0e" providerId="ADAL" clId="{FD5E66A9-D36E-40B5-9161-8BB75765BB68}" dt="2025-10-14T03:31:55.208" v="5411" actId="1035"/>
          <ac:spMkLst>
            <pc:docMk/>
            <pc:sldMk cId="3970052653" sldId="2147471750"/>
            <ac:spMk id="109" creationId="{9E07E950-8C8A-2254-79A4-6A64CC138BF9}"/>
          </ac:spMkLst>
        </pc:spChg>
        <pc:spChg chg="mod">
          <ac:chgData name="John Paserba" userId="77bd6c8a-d0c1-4fea-8705-0169f65d0c0e" providerId="ADAL" clId="{FD5E66A9-D36E-40B5-9161-8BB75765BB68}" dt="2025-10-14T03:31:55.208" v="5411" actId="1035"/>
          <ac:spMkLst>
            <pc:docMk/>
            <pc:sldMk cId="3970052653" sldId="2147471750"/>
            <ac:spMk id="115" creationId="{6D834C23-BD63-F885-7784-A5E66A483710}"/>
          </ac:spMkLst>
        </pc:spChg>
        <pc:spChg chg="mod">
          <ac:chgData name="John Paserba" userId="77bd6c8a-d0c1-4fea-8705-0169f65d0c0e" providerId="ADAL" clId="{FD5E66A9-D36E-40B5-9161-8BB75765BB68}" dt="2025-10-14T03:31:55.208" v="5411" actId="1035"/>
          <ac:spMkLst>
            <pc:docMk/>
            <pc:sldMk cId="3970052653" sldId="2147471750"/>
            <ac:spMk id="117" creationId="{427F6053-DA11-7651-0597-42026FF7B06A}"/>
          </ac:spMkLst>
        </pc:spChg>
        <pc:spChg chg="mod">
          <ac:chgData name="John Paserba" userId="77bd6c8a-d0c1-4fea-8705-0169f65d0c0e" providerId="ADAL" clId="{FD5E66A9-D36E-40B5-9161-8BB75765BB68}" dt="2025-10-13T01:19:03.795" v="3681" actId="1036"/>
          <ac:spMkLst>
            <pc:docMk/>
            <pc:sldMk cId="3970052653" sldId="2147471750"/>
            <ac:spMk id="125" creationId="{010B16D7-FA3C-2B38-44E4-5CDC1EEDDFB7}"/>
          </ac:spMkLst>
        </pc:spChg>
        <pc:spChg chg="mod">
          <ac:chgData name="John Paserba" userId="77bd6c8a-d0c1-4fea-8705-0169f65d0c0e" providerId="ADAL" clId="{FD5E66A9-D36E-40B5-9161-8BB75765BB68}" dt="2025-10-13T01:19:03.795" v="3681" actId="1036"/>
          <ac:spMkLst>
            <pc:docMk/>
            <pc:sldMk cId="3970052653" sldId="2147471750"/>
            <ac:spMk id="129" creationId="{002FF512-3659-61EC-1EF4-F6D4BB7E6E14}"/>
          </ac:spMkLst>
        </pc:spChg>
        <pc:spChg chg="mod">
          <ac:chgData name="John Paserba" userId="77bd6c8a-d0c1-4fea-8705-0169f65d0c0e" providerId="ADAL" clId="{FD5E66A9-D36E-40B5-9161-8BB75765BB68}" dt="2025-10-14T03:31:55.208" v="5411" actId="1035"/>
          <ac:spMkLst>
            <pc:docMk/>
            <pc:sldMk cId="3970052653" sldId="2147471750"/>
            <ac:spMk id="132" creationId="{C1399E50-8AB1-76B4-B52E-DD2603EE6B4C}"/>
          </ac:spMkLst>
        </pc:spChg>
        <pc:cxnChg chg="mod">
          <ac:chgData name="John Paserba" userId="77bd6c8a-d0c1-4fea-8705-0169f65d0c0e" providerId="ADAL" clId="{FD5E66A9-D36E-40B5-9161-8BB75765BB68}" dt="2025-10-14T03:31:55.208" v="5411" actId="1035"/>
          <ac:cxnSpMkLst>
            <pc:docMk/>
            <pc:sldMk cId="3970052653" sldId="2147471750"/>
            <ac:cxnSpMk id="14" creationId="{9F7CC347-DE3C-DC9F-19CE-10E8D6307AC7}"/>
          </ac:cxnSpMkLst>
        </pc:cxnChg>
        <pc:cxnChg chg="mod">
          <ac:chgData name="John Paserba" userId="77bd6c8a-d0c1-4fea-8705-0169f65d0c0e" providerId="ADAL" clId="{FD5E66A9-D36E-40B5-9161-8BB75765BB68}" dt="2025-10-14T03:31:55.208" v="5411" actId="1035"/>
          <ac:cxnSpMkLst>
            <pc:docMk/>
            <pc:sldMk cId="3970052653" sldId="2147471750"/>
            <ac:cxnSpMk id="15" creationId="{6DFA6580-FB49-63A0-1D09-F999275D76DE}"/>
          </ac:cxnSpMkLst>
        </pc:cxnChg>
        <pc:cxnChg chg="mod">
          <ac:chgData name="John Paserba" userId="77bd6c8a-d0c1-4fea-8705-0169f65d0c0e" providerId="ADAL" clId="{FD5E66A9-D36E-40B5-9161-8BB75765BB68}" dt="2025-10-13T01:19:03.795" v="3681" actId="1036"/>
          <ac:cxnSpMkLst>
            <pc:docMk/>
            <pc:sldMk cId="3970052653" sldId="2147471750"/>
            <ac:cxnSpMk id="16" creationId="{2DEC1B3D-7278-753D-CEB1-2DC07C06CC89}"/>
          </ac:cxnSpMkLst>
        </pc:cxnChg>
        <pc:cxnChg chg="mod">
          <ac:chgData name="John Paserba" userId="77bd6c8a-d0c1-4fea-8705-0169f65d0c0e" providerId="ADAL" clId="{FD5E66A9-D36E-40B5-9161-8BB75765BB68}" dt="2025-10-14T03:31:55.208" v="5411" actId="1035"/>
          <ac:cxnSpMkLst>
            <pc:docMk/>
            <pc:sldMk cId="3970052653" sldId="2147471750"/>
            <ac:cxnSpMk id="17" creationId="{7B5A85A8-8F84-5537-0CED-67D9331F4336}"/>
          </ac:cxnSpMkLst>
        </pc:cxnChg>
        <pc:cxnChg chg="mod">
          <ac:chgData name="John Paserba" userId="77bd6c8a-d0c1-4fea-8705-0169f65d0c0e" providerId="ADAL" clId="{FD5E66A9-D36E-40B5-9161-8BB75765BB68}" dt="2025-10-14T03:31:55.208" v="5411" actId="1035"/>
          <ac:cxnSpMkLst>
            <pc:docMk/>
            <pc:sldMk cId="3970052653" sldId="2147471750"/>
            <ac:cxnSpMk id="18" creationId="{85A2BF3F-4F18-1C82-2118-E9A74FCDE119}"/>
          </ac:cxnSpMkLst>
        </pc:cxnChg>
        <pc:cxnChg chg="mod">
          <ac:chgData name="John Paserba" userId="77bd6c8a-d0c1-4fea-8705-0169f65d0c0e" providerId="ADAL" clId="{FD5E66A9-D36E-40B5-9161-8BB75765BB68}" dt="2025-10-14T03:31:55.208" v="5411" actId="1035"/>
          <ac:cxnSpMkLst>
            <pc:docMk/>
            <pc:sldMk cId="3970052653" sldId="2147471750"/>
            <ac:cxnSpMk id="19" creationId="{8B85BBF2-7A8B-ADCB-4A65-E94275F4BA7E}"/>
          </ac:cxnSpMkLst>
        </pc:cxnChg>
        <pc:cxnChg chg="mod">
          <ac:chgData name="John Paserba" userId="77bd6c8a-d0c1-4fea-8705-0169f65d0c0e" providerId="ADAL" clId="{FD5E66A9-D36E-40B5-9161-8BB75765BB68}" dt="2025-10-14T03:31:55.208" v="5411" actId="1035"/>
          <ac:cxnSpMkLst>
            <pc:docMk/>
            <pc:sldMk cId="3970052653" sldId="2147471750"/>
            <ac:cxnSpMk id="22" creationId="{69A7E67B-4B71-75A8-A774-5CF71D3F9798}"/>
          </ac:cxnSpMkLst>
        </pc:cxnChg>
        <pc:cxnChg chg="mod">
          <ac:chgData name="John Paserba" userId="77bd6c8a-d0c1-4fea-8705-0169f65d0c0e" providerId="ADAL" clId="{FD5E66A9-D36E-40B5-9161-8BB75765BB68}" dt="2025-10-14T03:31:55.208" v="5411" actId="1035"/>
          <ac:cxnSpMkLst>
            <pc:docMk/>
            <pc:sldMk cId="3970052653" sldId="2147471750"/>
            <ac:cxnSpMk id="23" creationId="{44079031-2CB1-B4E2-1364-F88820A1316C}"/>
          </ac:cxnSpMkLst>
        </pc:cxnChg>
        <pc:cxnChg chg="mod">
          <ac:chgData name="John Paserba" userId="77bd6c8a-d0c1-4fea-8705-0169f65d0c0e" providerId="ADAL" clId="{FD5E66A9-D36E-40B5-9161-8BB75765BB68}" dt="2025-10-14T03:31:55.208" v="5411" actId="1035"/>
          <ac:cxnSpMkLst>
            <pc:docMk/>
            <pc:sldMk cId="3970052653" sldId="2147471750"/>
            <ac:cxnSpMk id="24" creationId="{B6AE619F-0BA5-5357-E9A8-A497E19F5F22}"/>
          </ac:cxnSpMkLst>
        </pc:cxnChg>
        <pc:cxnChg chg="mod">
          <ac:chgData name="John Paserba" userId="77bd6c8a-d0c1-4fea-8705-0169f65d0c0e" providerId="ADAL" clId="{FD5E66A9-D36E-40B5-9161-8BB75765BB68}" dt="2025-10-14T03:31:55.208" v="5411" actId="1035"/>
          <ac:cxnSpMkLst>
            <pc:docMk/>
            <pc:sldMk cId="3970052653" sldId="2147471750"/>
            <ac:cxnSpMk id="28" creationId="{D71857EA-BD7D-4CF8-1CF2-7FC4765782C9}"/>
          </ac:cxnSpMkLst>
        </pc:cxnChg>
        <pc:cxnChg chg="mod">
          <ac:chgData name="John Paserba" userId="77bd6c8a-d0c1-4fea-8705-0169f65d0c0e" providerId="ADAL" clId="{FD5E66A9-D36E-40B5-9161-8BB75765BB68}" dt="2025-10-14T03:31:55.208" v="5411" actId="1035"/>
          <ac:cxnSpMkLst>
            <pc:docMk/>
            <pc:sldMk cId="3970052653" sldId="2147471750"/>
            <ac:cxnSpMk id="29" creationId="{2F94D786-59B4-7B1D-9A69-DFB0F29922DF}"/>
          </ac:cxnSpMkLst>
        </pc:cxnChg>
        <pc:cxnChg chg="mod">
          <ac:chgData name="John Paserba" userId="77bd6c8a-d0c1-4fea-8705-0169f65d0c0e" providerId="ADAL" clId="{FD5E66A9-D36E-40B5-9161-8BB75765BB68}" dt="2025-10-14T03:31:55.208" v="5411" actId="1035"/>
          <ac:cxnSpMkLst>
            <pc:docMk/>
            <pc:sldMk cId="3970052653" sldId="2147471750"/>
            <ac:cxnSpMk id="31" creationId="{A38310B6-643D-BA10-936D-EF092BB25992}"/>
          </ac:cxnSpMkLst>
        </pc:cxnChg>
        <pc:cxnChg chg="mod">
          <ac:chgData name="John Paserba" userId="77bd6c8a-d0c1-4fea-8705-0169f65d0c0e" providerId="ADAL" clId="{FD5E66A9-D36E-40B5-9161-8BB75765BB68}" dt="2025-10-14T03:31:55.208" v="5411" actId="1035"/>
          <ac:cxnSpMkLst>
            <pc:docMk/>
            <pc:sldMk cId="3970052653" sldId="2147471750"/>
            <ac:cxnSpMk id="33" creationId="{C517B0A7-DE33-C38D-25DC-4A90A429E84D}"/>
          </ac:cxnSpMkLst>
        </pc:cxnChg>
        <pc:cxnChg chg="mod">
          <ac:chgData name="John Paserba" userId="77bd6c8a-d0c1-4fea-8705-0169f65d0c0e" providerId="ADAL" clId="{FD5E66A9-D36E-40B5-9161-8BB75765BB68}" dt="2025-10-14T03:31:55.208" v="5411" actId="1035"/>
          <ac:cxnSpMkLst>
            <pc:docMk/>
            <pc:sldMk cId="3970052653" sldId="2147471750"/>
            <ac:cxnSpMk id="36" creationId="{CF2901A2-DC10-52E2-A5A9-2972E356AE9E}"/>
          </ac:cxnSpMkLst>
        </pc:cxnChg>
        <pc:cxnChg chg="mod">
          <ac:chgData name="John Paserba" userId="77bd6c8a-d0c1-4fea-8705-0169f65d0c0e" providerId="ADAL" clId="{FD5E66A9-D36E-40B5-9161-8BB75765BB68}" dt="2025-10-14T03:31:55.208" v="5411" actId="1035"/>
          <ac:cxnSpMkLst>
            <pc:docMk/>
            <pc:sldMk cId="3970052653" sldId="2147471750"/>
            <ac:cxnSpMk id="37" creationId="{9151DCBA-661D-3247-5AF6-EDE3B29516DD}"/>
          </ac:cxnSpMkLst>
        </pc:cxnChg>
        <pc:cxnChg chg="mod">
          <ac:chgData name="John Paserba" userId="77bd6c8a-d0c1-4fea-8705-0169f65d0c0e" providerId="ADAL" clId="{FD5E66A9-D36E-40B5-9161-8BB75765BB68}" dt="2025-10-14T03:31:55.208" v="5411" actId="1035"/>
          <ac:cxnSpMkLst>
            <pc:docMk/>
            <pc:sldMk cId="3970052653" sldId="2147471750"/>
            <ac:cxnSpMk id="38" creationId="{28B99D55-4D58-ED0E-5E1D-4026EE51BE51}"/>
          </ac:cxnSpMkLst>
        </pc:cxnChg>
        <pc:cxnChg chg="mod">
          <ac:chgData name="John Paserba" userId="77bd6c8a-d0c1-4fea-8705-0169f65d0c0e" providerId="ADAL" clId="{FD5E66A9-D36E-40B5-9161-8BB75765BB68}" dt="2025-10-14T03:31:55.208" v="5411" actId="1035"/>
          <ac:cxnSpMkLst>
            <pc:docMk/>
            <pc:sldMk cId="3970052653" sldId="2147471750"/>
            <ac:cxnSpMk id="40" creationId="{51C6E1B2-5DA7-409E-76D3-E829316459F6}"/>
          </ac:cxnSpMkLst>
        </pc:cxnChg>
        <pc:cxnChg chg="mod">
          <ac:chgData name="John Paserba" userId="77bd6c8a-d0c1-4fea-8705-0169f65d0c0e" providerId="ADAL" clId="{FD5E66A9-D36E-40B5-9161-8BB75765BB68}" dt="2025-10-14T03:31:55.208" v="5411" actId="1035"/>
          <ac:cxnSpMkLst>
            <pc:docMk/>
            <pc:sldMk cId="3970052653" sldId="2147471750"/>
            <ac:cxnSpMk id="44" creationId="{C7A73550-9C78-8DEC-7269-0D0B7DCA58BE}"/>
          </ac:cxnSpMkLst>
        </pc:cxnChg>
        <pc:cxnChg chg="mod">
          <ac:chgData name="John Paserba" userId="77bd6c8a-d0c1-4fea-8705-0169f65d0c0e" providerId="ADAL" clId="{FD5E66A9-D36E-40B5-9161-8BB75765BB68}" dt="2025-10-14T03:31:55.208" v="5411" actId="1035"/>
          <ac:cxnSpMkLst>
            <pc:docMk/>
            <pc:sldMk cId="3970052653" sldId="2147471750"/>
            <ac:cxnSpMk id="45" creationId="{B34A3F36-9594-7385-C295-DC3800759258}"/>
          </ac:cxnSpMkLst>
        </pc:cxnChg>
        <pc:cxnChg chg="mod">
          <ac:chgData name="John Paserba" userId="77bd6c8a-d0c1-4fea-8705-0169f65d0c0e" providerId="ADAL" clId="{FD5E66A9-D36E-40B5-9161-8BB75765BB68}" dt="2025-10-14T03:31:55.208" v="5411" actId="1035"/>
          <ac:cxnSpMkLst>
            <pc:docMk/>
            <pc:sldMk cId="3970052653" sldId="2147471750"/>
            <ac:cxnSpMk id="50" creationId="{D5B9FABA-E33C-CF5B-F5D0-788568EC0C46}"/>
          </ac:cxnSpMkLst>
        </pc:cxnChg>
        <pc:cxnChg chg="mod">
          <ac:chgData name="John Paserba" userId="77bd6c8a-d0c1-4fea-8705-0169f65d0c0e" providerId="ADAL" clId="{FD5E66A9-D36E-40B5-9161-8BB75765BB68}" dt="2025-10-14T03:31:55.208" v="5411" actId="1035"/>
          <ac:cxnSpMkLst>
            <pc:docMk/>
            <pc:sldMk cId="3970052653" sldId="2147471750"/>
            <ac:cxnSpMk id="51" creationId="{27972850-E65A-AD7A-541F-60C4CC2C85E5}"/>
          </ac:cxnSpMkLst>
        </pc:cxnChg>
        <pc:cxnChg chg="mod">
          <ac:chgData name="John Paserba" userId="77bd6c8a-d0c1-4fea-8705-0169f65d0c0e" providerId="ADAL" clId="{FD5E66A9-D36E-40B5-9161-8BB75765BB68}" dt="2025-10-14T03:31:55.208" v="5411" actId="1035"/>
          <ac:cxnSpMkLst>
            <pc:docMk/>
            <pc:sldMk cId="3970052653" sldId="2147471750"/>
            <ac:cxnSpMk id="53" creationId="{17BD243B-4C12-A3E1-A680-B624080AAB73}"/>
          </ac:cxnSpMkLst>
        </pc:cxnChg>
        <pc:cxnChg chg="mod">
          <ac:chgData name="John Paserba" userId="77bd6c8a-d0c1-4fea-8705-0169f65d0c0e" providerId="ADAL" clId="{FD5E66A9-D36E-40B5-9161-8BB75765BB68}" dt="2025-10-14T03:31:55.208" v="5411" actId="1035"/>
          <ac:cxnSpMkLst>
            <pc:docMk/>
            <pc:sldMk cId="3970052653" sldId="2147471750"/>
            <ac:cxnSpMk id="55" creationId="{5C86AE7C-6E4C-E68D-B0CC-2245FE739C5E}"/>
          </ac:cxnSpMkLst>
        </pc:cxnChg>
        <pc:cxnChg chg="mod">
          <ac:chgData name="John Paserba" userId="77bd6c8a-d0c1-4fea-8705-0169f65d0c0e" providerId="ADAL" clId="{FD5E66A9-D36E-40B5-9161-8BB75765BB68}" dt="2025-10-14T03:31:55.208" v="5411" actId="1035"/>
          <ac:cxnSpMkLst>
            <pc:docMk/>
            <pc:sldMk cId="3970052653" sldId="2147471750"/>
            <ac:cxnSpMk id="56" creationId="{CA0C3C55-2D46-DB14-1B8A-FF27A1975BEA}"/>
          </ac:cxnSpMkLst>
        </pc:cxnChg>
        <pc:cxnChg chg="mod">
          <ac:chgData name="John Paserba" userId="77bd6c8a-d0c1-4fea-8705-0169f65d0c0e" providerId="ADAL" clId="{FD5E66A9-D36E-40B5-9161-8BB75765BB68}" dt="2025-10-14T03:31:55.208" v="5411" actId="1035"/>
          <ac:cxnSpMkLst>
            <pc:docMk/>
            <pc:sldMk cId="3970052653" sldId="2147471750"/>
            <ac:cxnSpMk id="57" creationId="{23FA2C8C-4ADA-F66C-D8DD-468B235E9790}"/>
          </ac:cxnSpMkLst>
        </pc:cxnChg>
        <pc:cxnChg chg="mod">
          <ac:chgData name="John Paserba" userId="77bd6c8a-d0c1-4fea-8705-0169f65d0c0e" providerId="ADAL" clId="{FD5E66A9-D36E-40B5-9161-8BB75765BB68}" dt="2025-10-14T03:31:55.208" v="5411" actId="1035"/>
          <ac:cxnSpMkLst>
            <pc:docMk/>
            <pc:sldMk cId="3970052653" sldId="2147471750"/>
            <ac:cxnSpMk id="62" creationId="{396A4CA2-9E01-FBF3-EE3C-E73493513D41}"/>
          </ac:cxnSpMkLst>
        </pc:cxnChg>
        <pc:cxnChg chg="mod">
          <ac:chgData name="John Paserba" userId="77bd6c8a-d0c1-4fea-8705-0169f65d0c0e" providerId="ADAL" clId="{FD5E66A9-D36E-40B5-9161-8BB75765BB68}" dt="2025-10-14T03:31:55.208" v="5411" actId="1035"/>
          <ac:cxnSpMkLst>
            <pc:docMk/>
            <pc:sldMk cId="3970052653" sldId="2147471750"/>
            <ac:cxnSpMk id="63" creationId="{FCAE47A2-155C-4E70-0959-0BD6A154CF22}"/>
          </ac:cxnSpMkLst>
        </pc:cxnChg>
        <pc:cxnChg chg="mod">
          <ac:chgData name="John Paserba" userId="77bd6c8a-d0c1-4fea-8705-0169f65d0c0e" providerId="ADAL" clId="{FD5E66A9-D36E-40B5-9161-8BB75765BB68}" dt="2025-10-14T03:31:55.208" v="5411" actId="1035"/>
          <ac:cxnSpMkLst>
            <pc:docMk/>
            <pc:sldMk cId="3970052653" sldId="2147471750"/>
            <ac:cxnSpMk id="64" creationId="{FD149F2B-5450-EAE4-6DEA-2A92BF3CC6C9}"/>
          </ac:cxnSpMkLst>
        </pc:cxnChg>
        <pc:cxnChg chg="mod">
          <ac:chgData name="John Paserba" userId="77bd6c8a-d0c1-4fea-8705-0169f65d0c0e" providerId="ADAL" clId="{FD5E66A9-D36E-40B5-9161-8BB75765BB68}" dt="2025-10-14T03:31:55.208" v="5411" actId="1035"/>
          <ac:cxnSpMkLst>
            <pc:docMk/>
            <pc:sldMk cId="3970052653" sldId="2147471750"/>
            <ac:cxnSpMk id="65" creationId="{6309C574-2AF5-5D66-81C5-F0772243D92F}"/>
          </ac:cxnSpMkLst>
        </pc:cxnChg>
        <pc:cxnChg chg="mod">
          <ac:chgData name="John Paserba" userId="77bd6c8a-d0c1-4fea-8705-0169f65d0c0e" providerId="ADAL" clId="{FD5E66A9-D36E-40B5-9161-8BB75765BB68}" dt="2025-10-14T03:31:55.208" v="5411" actId="1035"/>
          <ac:cxnSpMkLst>
            <pc:docMk/>
            <pc:sldMk cId="3970052653" sldId="2147471750"/>
            <ac:cxnSpMk id="66" creationId="{DB20915C-F26C-B77C-13C0-E709B5A3BC88}"/>
          </ac:cxnSpMkLst>
        </pc:cxnChg>
        <pc:cxnChg chg="mod">
          <ac:chgData name="John Paserba" userId="77bd6c8a-d0c1-4fea-8705-0169f65d0c0e" providerId="ADAL" clId="{FD5E66A9-D36E-40B5-9161-8BB75765BB68}" dt="2025-10-14T03:31:55.208" v="5411" actId="1035"/>
          <ac:cxnSpMkLst>
            <pc:docMk/>
            <pc:sldMk cId="3970052653" sldId="2147471750"/>
            <ac:cxnSpMk id="69" creationId="{4AC53B65-C532-5C6A-1489-E69FA73CA498}"/>
          </ac:cxnSpMkLst>
        </pc:cxnChg>
        <pc:cxnChg chg="mod">
          <ac:chgData name="John Paserba" userId="77bd6c8a-d0c1-4fea-8705-0169f65d0c0e" providerId="ADAL" clId="{FD5E66A9-D36E-40B5-9161-8BB75765BB68}" dt="2025-10-14T03:31:55.208" v="5411" actId="1035"/>
          <ac:cxnSpMkLst>
            <pc:docMk/>
            <pc:sldMk cId="3970052653" sldId="2147471750"/>
            <ac:cxnSpMk id="70" creationId="{C95473B4-4E93-9FED-8D77-0C5B0F2DCE5D}"/>
          </ac:cxnSpMkLst>
        </pc:cxnChg>
        <pc:cxnChg chg="mod">
          <ac:chgData name="John Paserba" userId="77bd6c8a-d0c1-4fea-8705-0169f65d0c0e" providerId="ADAL" clId="{FD5E66A9-D36E-40B5-9161-8BB75765BB68}" dt="2025-10-14T03:31:55.208" v="5411" actId="1035"/>
          <ac:cxnSpMkLst>
            <pc:docMk/>
            <pc:sldMk cId="3970052653" sldId="2147471750"/>
            <ac:cxnSpMk id="71" creationId="{79ABC4C0-73AF-9621-541C-9D352A5978C3}"/>
          </ac:cxnSpMkLst>
        </pc:cxnChg>
        <pc:cxnChg chg="mod">
          <ac:chgData name="John Paserba" userId="77bd6c8a-d0c1-4fea-8705-0169f65d0c0e" providerId="ADAL" clId="{FD5E66A9-D36E-40B5-9161-8BB75765BB68}" dt="2025-10-14T03:31:55.208" v="5411" actId="1035"/>
          <ac:cxnSpMkLst>
            <pc:docMk/>
            <pc:sldMk cId="3970052653" sldId="2147471750"/>
            <ac:cxnSpMk id="77" creationId="{06D0E1E2-42A5-E633-C066-E38AC7347CA4}"/>
          </ac:cxnSpMkLst>
        </pc:cxnChg>
        <pc:cxnChg chg="mod">
          <ac:chgData name="John Paserba" userId="77bd6c8a-d0c1-4fea-8705-0169f65d0c0e" providerId="ADAL" clId="{FD5E66A9-D36E-40B5-9161-8BB75765BB68}" dt="2025-10-14T03:31:55.208" v="5411" actId="1035"/>
          <ac:cxnSpMkLst>
            <pc:docMk/>
            <pc:sldMk cId="3970052653" sldId="2147471750"/>
            <ac:cxnSpMk id="79" creationId="{E253A711-957E-CD87-1783-88EBFCC3C918}"/>
          </ac:cxnSpMkLst>
        </pc:cxnChg>
        <pc:cxnChg chg="mod">
          <ac:chgData name="John Paserba" userId="77bd6c8a-d0c1-4fea-8705-0169f65d0c0e" providerId="ADAL" clId="{FD5E66A9-D36E-40B5-9161-8BB75765BB68}" dt="2025-10-14T03:31:55.208" v="5411" actId="1035"/>
          <ac:cxnSpMkLst>
            <pc:docMk/>
            <pc:sldMk cId="3970052653" sldId="2147471750"/>
            <ac:cxnSpMk id="99" creationId="{04A5035F-6107-CD7F-8C20-C9E2588E357E}"/>
          </ac:cxnSpMkLst>
        </pc:cxnChg>
        <pc:cxnChg chg="mod">
          <ac:chgData name="John Paserba" userId="77bd6c8a-d0c1-4fea-8705-0169f65d0c0e" providerId="ADAL" clId="{FD5E66A9-D36E-40B5-9161-8BB75765BB68}" dt="2025-10-14T03:31:55.208" v="5411" actId="1035"/>
          <ac:cxnSpMkLst>
            <pc:docMk/>
            <pc:sldMk cId="3970052653" sldId="2147471750"/>
            <ac:cxnSpMk id="101" creationId="{269DBF72-D6B2-5219-6322-E576EE07126C}"/>
          </ac:cxnSpMkLst>
        </pc:cxnChg>
        <pc:cxnChg chg="mod">
          <ac:chgData name="John Paserba" userId="77bd6c8a-d0c1-4fea-8705-0169f65d0c0e" providerId="ADAL" clId="{FD5E66A9-D36E-40B5-9161-8BB75765BB68}" dt="2025-10-14T03:31:55.208" v="5411" actId="1035"/>
          <ac:cxnSpMkLst>
            <pc:docMk/>
            <pc:sldMk cId="3970052653" sldId="2147471750"/>
            <ac:cxnSpMk id="105" creationId="{F28A7C6E-FD75-B117-0791-A7BB29AF4F04}"/>
          </ac:cxnSpMkLst>
        </pc:cxnChg>
        <pc:cxnChg chg="mod">
          <ac:chgData name="John Paserba" userId="77bd6c8a-d0c1-4fea-8705-0169f65d0c0e" providerId="ADAL" clId="{FD5E66A9-D36E-40B5-9161-8BB75765BB68}" dt="2025-10-14T03:31:55.208" v="5411" actId="1035"/>
          <ac:cxnSpMkLst>
            <pc:docMk/>
            <pc:sldMk cId="3970052653" sldId="2147471750"/>
            <ac:cxnSpMk id="114" creationId="{6D2EC9EE-BFB2-A993-16ED-901FD5F9E2E1}"/>
          </ac:cxnSpMkLst>
        </pc:cxnChg>
        <pc:cxnChg chg="mod">
          <ac:chgData name="John Paserba" userId="77bd6c8a-d0c1-4fea-8705-0169f65d0c0e" providerId="ADAL" clId="{FD5E66A9-D36E-40B5-9161-8BB75765BB68}" dt="2025-10-14T03:31:55.208" v="5411" actId="1035"/>
          <ac:cxnSpMkLst>
            <pc:docMk/>
            <pc:sldMk cId="3970052653" sldId="2147471750"/>
            <ac:cxnSpMk id="116" creationId="{DA23CD44-0BF8-7D9B-6CBD-C200E11C8EDB}"/>
          </ac:cxnSpMkLst>
        </pc:cxnChg>
        <pc:cxnChg chg="mod">
          <ac:chgData name="John Paserba" userId="77bd6c8a-d0c1-4fea-8705-0169f65d0c0e" providerId="ADAL" clId="{FD5E66A9-D36E-40B5-9161-8BB75765BB68}" dt="2025-10-13T01:19:03.795" v="3681" actId="1036"/>
          <ac:cxnSpMkLst>
            <pc:docMk/>
            <pc:sldMk cId="3970052653" sldId="2147471750"/>
            <ac:cxnSpMk id="124" creationId="{CDCC34B9-8752-6B58-7F43-2DBABFE42734}"/>
          </ac:cxnSpMkLst>
        </pc:cxnChg>
      </pc:sldChg>
      <pc:sldChg chg="modSp add del mod">
        <pc:chgData name="John Paserba" userId="77bd6c8a-d0c1-4fea-8705-0169f65d0c0e" providerId="ADAL" clId="{FD5E66A9-D36E-40B5-9161-8BB75765BB68}" dt="2025-10-14T03:43:15.032" v="5475" actId="20577"/>
        <pc:sldMkLst>
          <pc:docMk/>
          <pc:sldMk cId="64751876" sldId="2147471751"/>
        </pc:sldMkLst>
        <pc:spChg chg="mod">
          <ac:chgData name="John Paserba" userId="77bd6c8a-d0c1-4fea-8705-0169f65d0c0e" providerId="ADAL" clId="{FD5E66A9-D36E-40B5-9161-8BB75765BB68}" dt="2025-10-14T03:34:48.221" v="5437" actId="1076"/>
          <ac:spMkLst>
            <pc:docMk/>
            <pc:sldMk cId="64751876" sldId="2147471751"/>
            <ac:spMk id="2" creationId="{049EA047-67BA-6100-5B77-23C2AC65AF4A}"/>
          </ac:spMkLst>
        </pc:spChg>
        <pc:graphicFrameChg chg="modGraphic">
          <ac:chgData name="John Paserba" userId="77bd6c8a-d0c1-4fea-8705-0169f65d0c0e" providerId="ADAL" clId="{FD5E66A9-D36E-40B5-9161-8BB75765BB68}" dt="2025-10-14T03:43:15.032" v="5475" actId="20577"/>
          <ac:graphicFrameMkLst>
            <pc:docMk/>
            <pc:sldMk cId="64751876" sldId="2147471751"/>
            <ac:graphicFrameMk id="6" creationId="{E8E0D338-F05E-B509-E08C-CE6DEED11304}"/>
          </ac:graphicFrameMkLst>
        </pc:graphicFrameChg>
      </pc:sldChg>
      <pc:sldChg chg="modSp add del mod">
        <pc:chgData name="John Paserba" userId="77bd6c8a-d0c1-4fea-8705-0169f65d0c0e" providerId="ADAL" clId="{FD5E66A9-D36E-40B5-9161-8BB75765BB68}" dt="2025-10-14T03:43:48.036" v="5483" actId="115"/>
        <pc:sldMkLst>
          <pc:docMk/>
          <pc:sldMk cId="3331998248" sldId="2147471752"/>
        </pc:sldMkLst>
        <pc:spChg chg="mod">
          <ac:chgData name="John Paserba" userId="77bd6c8a-d0c1-4fea-8705-0169f65d0c0e" providerId="ADAL" clId="{FD5E66A9-D36E-40B5-9161-8BB75765BB68}" dt="2025-10-14T03:43:48.036" v="5483" actId="115"/>
          <ac:spMkLst>
            <pc:docMk/>
            <pc:sldMk cId="3331998248" sldId="2147471752"/>
            <ac:spMk id="3" creationId="{AD7C9BD5-B236-A983-6F50-DE5A2D144A2B}"/>
          </ac:spMkLst>
        </pc:spChg>
        <pc:spChg chg="mod">
          <ac:chgData name="John Paserba" userId="77bd6c8a-d0c1-4fea-8705-0169f65d0c0e" providerId="ADAL" clId="{FD5E66A9-D36E-40B5-9161-8BB75765BB68}" dt="2025-10-14T03:32:50.819" v="5428"/>
          <ac:spMkLst>
            <pc:docMk/>
            <pc:sldMk cId="3331998248" sldId="2147471752"/>
            <ac:spMk id="3328002" creationId="{4A4DC470-200A-A958-446F-A666A2011047}"/>
          </ac:spMkLst>
        </pc:spChg>
      </pc:sldChg>
      <pc:sldChg chg="addSp modSp mod">
        <pc:chgData name="John Paserba" userId="77bd6c8a-d0c1-4fea-8705-0169f65d0c0e" providerId="ADAL" clId="{FD5E66A9-D36E-40B5-9161-8BB75765BB68}" dt="2025-10-12T22:34:19.557" v="2603" actId="207"/>
        <pc:sldMkLst>
          <pc:docMk/>
          <pc:sldMk cId="3576317580" sldId="2147471753"/>
        </pc:sldMkLst>
        <pc:spChg chg="mod">
          <ac:chgData name="John Paserba" userId="77bd6c8a-d0c1-4fea-8705-0169f65d0c0e" providerId="ADAL" clId="{FD5E66A9-D36E-40B5-9161-8BB75765BB68}" dt="2025-10-12T21:59:26.443" v="1945" actId="1076"/>
          <ac:spMkLst>
            <pc:docMk/>
            <pc:sldMk cId="3576317580" sldId="2147471753"/>
            <ac:spMk id="13" creationId="{BADFEDBD-28FD-4C52-8FAD-4849ECDB701A}"/>
          </ac:spMkLst>
        </pc:spChg>
        <pc:spChg chg="mod">
          <ac:chgData name="John Paserba" userId="77bd6c8a-d0c1-4fea-8705-0169f65d0c0e" providerId="ADAL" clId="{FD5E66A9-D36E-40B5-9161-8BB75765BB68}" dt="2025-10-12T21:21:19.992" v="1611" actId="1076"/>
          <ac:spMkLst>
            <pc:docMk/>
            <pc:sldMk cId="3576317580" sldId="2147471753"/>
            <ac:spMk id="14" creationId="{E8800211-A81C-42CA-9F4A-0D462ACE480C}"/>
          </ac:spMkLst>
        </pc:spChg>
        <pc:spChg chg="mod">
          <ac:chgData name="John Paserba" userId="77bd6c8a-d0c1-4fea-8705-0169f65d0c0e" providerId="ADAL" clId="{FD5E66A9-D36E-40B5-9161-8BB75765BB68}" dt="2025-10-12T21:19:22.548" v="1607"/>
          <ac:spMkLst>
            <pc:docMk/>
            <pc:sldMk cId="3576317580" sldId="2147471753"/>
            <ac:spMk id="15" creationId="{BDF0F8BD-E162-447E-89F6-537F82943353}"/>
          </ac:spMkLst>
        </pc:spChg>
        <pc:spChg chg="mod">
          <ac:chgData name="John Paserba" userId="77bd6c8a-d0c1-4fea-8705-0169f65d0c0e" providerId="ADAL" clId="{FD5E66A9-D36E-40B5-9161-8BB75765BB68}" dt="2025-10-12T21:19:22.548" v="1607"/>
          <ac:spMkLst>
            <pc:docMk/>
            <pc:sldMk cId="3576317580" sldId="2147471753"/>
            <ac:spMk id="20" creationId="{EDB3C709-6C82-4B47-855A-248DB55C599C}"/>
          </ac:spMkLst>
        </pc:spChg>
        <pc:spChg chg="mod">
          <ac:chgData name="John Paserba" userId="77bd6c8a-d0c1-4fea-8705-0169f65d0c0e" providerId="ADAL" clId="{FD5E66A9-D36E-40B5-9161-8BB75765BB68}" dt="2025-10-12T22:34:19.557" v="2603" actId="207"/>
          <ac:spMkLst>
            <pc:docMk/>
            <pc:sldMk cId="3576317580" sldId="2147471753"/>
            <ac:spMk id="22" creationId="{15FA7FF4-B38E-4FE0-95A4-46B4C75C355F}"/>
          </ac:spMkLst>
        </pc:spChg>
        <pc:grpChg chg="add mod">
          <ac:chgData name="John Paserba" userId="77bd6c8a-d0c1-4fea-8705-0169f65d0c0e" providerId="ADAL" clId="{FD5E66A9-D36E-40B5-9161-8BB75765BB68}" dt="2025-10-12T21:19:22.548" v="1607"/>
          <ac:grpSpMkLst>
            <pc:docMk/>
            <pc:sldMk cId="3576317580" sldId="2147471753"/>
            <ac:grpSpMk id="12" creationId="{D412A681-69E8-4E66-863D-0CD2840187D2}"/>
          </ac:grpSpMkLst>
        </pc:grpChg>
        <pc:grpChg chg="add mod">
          <ac:chgData name="John Paserba" userId="77bd6c8a-d0c1-4fea-8705-0169f65d0c0e" providerId="ADAL" clId="{FD5E66A9-D36E-40B5-9161-8BB75765BB68}" dt="2025-10-12T21:19:22.548" v="1607"/>
          <ac:grpSpMkLst>
            <pc:docMk/>
            <pc:sldMk cId="3576317580" sldId="2147471753"/>
            <ac:grpSpMk id="18" creationId="{B753D330-3CA7-48DD-83F5-C6962F8F2F36}"/>
          </ac:grpSpMkLst>
        </pc:grpChg>
        <pc:picChg chg="mod">
          <ac:chgData name="John Paserba" userId="77bd6c8a-d0c1-4fea-8705-0169f65d0c0e" providerId="ADAL" clId="{FD5E66A9-D36E-40B5-9161-8BB75765BB68}" dt="2025-10-12T21:21:30.964" v="1618" actId="1036"/>
          <ac:picMkLst>
            <pc:docMk/>
            <pc:sldMk cId="3576317580" sldId="2147471753"/>
            <ac:picMk id="3" creationId="{8A8AAD68-AE05-4DE3-B735-30DECB1339AC}"/>
          </ac:picMkLst>
        </pc:picChg>
        <pc:picChg chg="mod">
          <ac:chgData name="John Paserba" userId="77bd6c8a-d0c1-4fea-8705-0169f65d0c0e" providerId="ADAL" clId="{FD5E66A9-D36E-40B5-9161-8BB75765BB68}" dt="2025-10-12T21:21:30.964" v="1618" actId="1036"/>
          <ac:picMkLst>
            <pc:docMk/>
            <pc:sldMk cId="3576317580" sldId="2147471753"/>
            <ac:picMk id="8" creationId="{3C859791-4207-4C3C-BDBF-D1FF29E06CB9}"/>
          </ac:picMkLst>
        </pc:picChg>
        <pc:picChg chg="mod">
          <ac:chgData name="John Paserba" userId="77bd6c8a-d0c1-4fea-8705-0169f65d0c0e" providerId="ADAL" clId="{FD5E66A9-D36E-40B5-9161-8BB75765BB68}" dt="2025-10-12T21:19:22.548" v="1607"/>
          <ac:picMkLst>
            <pc:docMk/>
            <pc:sldMk cId="3576317580" sldId="2147471753"/>
            <ac:picMk id="16" creationId="{355024FC-AD33-4F22-A1C4-4465EE9CB5B3}"/>
          </ac:picMkLst>
        </pc:picChg>
        <pc:picChg chg="mod">
          <ac:chgData name="John Paserba" userId="77bd6c8a-d0c1-4fea-8705-0169f65d0c0e" providerId="ADAL" clId="{FD5E66A9-D36E-40B5-9161-8BB75765BB68}" dt="2025-10-12T21:21:30.964" v="1618" actId="1036"/>
          <ac:picMkLst>
            <pc:docMk/>
            <pc:sldMk cId="3576317580" sldId="2147471753"/>
            <ac:picMk id="17" creationId="{F846D5AE-F152-43D3-B102-631A17335061}"/>
          </ac:picMkLst>
        </pc:picChg>
        <pc:picChg chg="mod">
          <ac:chgData name="John Paserba" userId="77bd6c8a-d0c1-4fea-8705-0169f65d0c0e" providerId="ADAL" clId="{FD5E66A9-D36E-40B5-9161-8BB75765BB68}" dt="2025-10-12T21:21:30.964" v="1618" actId="1036"/>
          <ac:picMkLst>
            <pc:docMk/>
            <pc:sldMk cId="3576317580" sldId="2147471753"/>
            <ac:picMk id="19" creationId="{C674998D-7EC6-4BB1-8D14-01D5D1B8980E}"/>
          </ac:picMkLst>
        </pc:picChg>
        <pc:picChg chg="mod">
          <ac:chgData name="John Paserba" userId="77bd6c8a-d0c1-4fea-8705-0169f65d0c0e" providerId="ADAL" clId="{FD5E66A9-D36E-40B5-9161-8BB75765BB68}" dt="2025-10-12T21:21:30.964" v="1618" actId="1036"/>
          <ac:picMkLst>
            <pc:docMk/>
            <pc:sldMk cId="3576317580" sldId="2147471753"/>
            <ac:picMk id="21" creationId="{8F0CB6A6-BB5E-411E-BC95-3A4360C073DC}"/>
          </ac:picMkLst>
        </pc:picChg>
        <pc:picChg chg="mod">
          <ac:chgData name="John Paserba" userId="77bd6c8a-d0c1-4fea-8705-0169f65d0c0e" providerId="ADAL" clId="{FD5E66A9-D36E-40B5-9161-8BB75765BB68}" dt="2025-10-12T21:19:22.548" v="1607"/>
          <ac:picMkLst>
            <pc:docMk/>
            <pc:sldMk cId="3576317580" sldId="2147471753"/>
            <ac:picMk id="23" creationId="{84039222-D6FF-41F2-8D73-C32E82F7B336}"/>
          </ac:picMkLst>
        </pc:picChg>
      </pc:sldChg>
      <pc:sldChg chg="modSp add del">
        <pc:chgData name="John Paserba" userId="77bd6c8a-d0c1-4fea-8705-0169f65d0c0e" providerId="ADAL" clId="{FD5E66A9-D36E-40B5-9161-8BB75765BB68}" dt="2025-10-14T03:32:18.619" v="5419"/>
        <pc:sldMkLst>
          <pc:docMk/>
          <pc:sldMk cId="3978472136" sldId="2147471754"/>
        </pc:sldMkLst>
        <pc:spChg chg="mod">
          <ac:chgData name="John Paserba" userId="77bd6c8a-d0c1-4fea-8705-0169f65d0c0e" providerId="ADAL" clId="{FD5E66A9-D36E-40B5-9161-8BB75765BB68}" dt="2025-10-14T03:32:18.619" v="5419"/>
          <ac:spMkLst>
            <pc:docMk/>
            <pc:sldMk cId="3978472136" sldId="2147471754"/>
            <ac:spMk id="2" creationId="{77588B58-6153-F1B8-4DB0-D1ACF93A24C7}"/>
          </ac:spMkLst>
        </pc:spChg>
      </pc:sldChg>
      <pc:sldChg chg="modSp add del">
        <pc:chgData name="John Paserba" userId="77bd6c8a-d0c1-4fea-8705-0169f65d0c0e" providerId="ADAL" clId="{FD5E66A9-D36E-40B5-9161-8BB75765BB68}" dt="2025-10-14T03:32:06.232" v="5414"/>
        <pc:sldMkLst>
          <pc:docMk/>
          <pc:sldMk cId="2473159994" sldId="2147471755"/>
        </pc:sldMkLst>
        <pc:spChg chg="mod">
          <ac:chgData name="John Paserba" userId="77bd6c8a-d0c1-4fea-8705-0169f65d0c0e" providerId="ADAL" clId="{FD5E66A9-D36E-40B5-9161-8BB75765BB68}" dt="2025-10-14T03:32:06.232" v="5414"/>
          <ac:spMkLst>
            <pc:docMk/>
            <pc:sldMk cId="2473159994" sldId="2147471755"/>
            <ac:spMk id="2" creationId="{CA930CBF-59E3-48DD-9631-110774BE857F}"/>
          </ac:spMkLst>
        </pc:spChg>
      </pc:sldChg>
      <pc:sldChg chg="modSp add del mod">
        <pc:chgData name="John Paserba" userId="77bd6c8a-d0c1-4fea-8705-0169f65d0c0e" providerId="ADAL" clId="{FD5E66A9-D36E-40B5-9161-8BB75765BB68}" dt="2025-10-14T03:32:08.622" v="5415"/>
        <pc:sldMkLst>
          <pc:docMk/>
          <pc:sldMk cId="616450182" sldId="2147471759"/>
        </pc:sldMkLst>
        <pc:spChg chg="mod">
          <ac:chgData name="John Paserba" userId="77bd6c8a-d0c1-4fea-8705-0169f65d0c0e" providerId="ADAL" clId="{FD5E66A9-D36E-40B5-9161-8BB75765BB68}" dt="2025-10-14T03:32:08.622" v="5415"/>
          <ac:spMkLst>
            <pc:docMk/>
            <pc:sldMk cId="616450182" sldId="2147471759"/>
            <ac:spMk id="2" creationId="{CA930CBF-59E3-48DD-9631-110774BE857F}"/>
          </ac:spMkLst>
        </pc:spChg>
      </pc:sldChg>
      <pc:sldChg chg="addSp delSp modSp mod">
        <pc:chgData name="John Paserba" userId="77bd6c8a-d0c1-4fea-8705-0169f65d0c0e" providerId="ADAL" clId="{FD5E66A9-D36E-40B5-9161-8BB75765BB68}" dt="2025-10-12T22:34:24.618" v="2604" actId="207"/>
        <pc:sldMkLst>
          <pc:docMk/>
          <pc:sldMk cId="1605903753" sldId="2147471761"/>
        </pc:sldMkLst>
        <pc:spChg chg="add del mod">
          <ac:chgData name="John Paserba" userId="77bd6c8a-d0c1-4fea-8705-0169f65d0c0e" providerId="ADAL" clId="{FD5E66A9-D36E-40B5-9161-8BB75765BB68}" dt="2025-10-12T21:40:34.890" v="1817" actId="478"/>
          <ac:spMkLst>
            <pc:docMk/>
            <pc:sldMk cId="1605903753" sldId="2147471761"/>
            <ac:spMk id="4" creationId="{00000000-0000-0000-0000-000000000000}"/>
          </ac:spMkLst>
        </pc:spChg>
        <pc:spChg chg="add del mod">
          <ac:chgData name="John Paserba" userId="77bd6c8a-d0c1-4fea-8705-0169f65d0c0e" providerId="ADAL" clId="{FD5E66A9-D36E-40B5-9161-8BB75765BB68}" dt="2025-10-12T21:40:25.581" v="1816" actId="478"/>
          <ac:spMkLst>
            <pc:docMk/>
            <pc:sldMk cId="1605903753" sldId="2147471761"/>
            <ac:spMk id="7" creationId="{6A603C8B-F6D8-488E-AD3F-987448F635B9}"/>
          </ac:spMkLst>
        </pc:spChg>
        <pc:spChg chg="mod">
          <ac:chgData name="John Paserba" userId="77bd6c8a-d0c1-4fea-8705-0169f65d0c0e" providerId="ADAL" clId="{FD5E66A9-D36E-40B5-9161-8BB75765BB68}" dt="2025-10-12T21:40:12.202" v="1813" actId="1036"/>
          <ac:spMkLst>
            <pc:docMk/>
            <pc:sldMk cId="1605903753" sldId="2147471761"/>
            <ac:spMk id="16" creationId="{AF99BA1B-BA35-4339-9F2B-0B96E53F6AFF}"/>
          </ac:spMkLst>
        </pc:spChg>
        <pc:spChg chg="mod">
          <ac:chgData name="John Paserba" userId="77bd6c8a-d0c1-4fea-8705-0169f65d0c0e" providerId="ADAL" clId="{FD5E66A9-D36E-40B5-9161-8BB75765BB68}" dt="2025-10-12T21:22:10.628" v="1627" actId="1076"/>
          <ac:spMkLst>
            <pc:docMk/>
            <pc:sldMk cId="1605903753" sldId="2147471761"/>
            <ac:spMk id="19" creationId="{B66DB883-78CC-47D6-870E-F734EE745027}"/>
          </ac:spMkLst>
        </pc:spChg>
        <pc:spChg chg="mod">
          <ac:chgData name="John Paserba" userId="77bd6c8a-d0c1-4fea-8705-0169f65d0c0e" providerId="ADAL" clId="{FD5E66A9-D36E-40B5-9161-8BB75765BB68}" dt="2025-10-12T21:41:28.903" v="1837" actId="12"/>
          <ac:spMkLst>
            <pc:docMk/>
            <pc:sldMk cId="1605903753" sldId="2147471761"/>
            <ac:spMk id="20" creationId="{E69A118B-98A6-4479-8C30-F899FA348193}"/>
          </ac:spMkLst>
        </pc:spChg>
        <pc:spChg chg="add del mod">
          <ac:chgData name="John Paserba" userId="77bd6c8a-d0c1-4fea-8705-0169f65d0c0e" providerId="ADAL" clId="{FD5E66A9-D36E-40B5-9161-8BB75765BB68}" dt="2025-10-12T22:34:24.618" v="2604" actId="207"/>
          <ac:spMkLst>
            <pc:docMk/>
            <pc:sldMk cId="1605903753" sldId="2147471761"/>
            <ac:spMk id="21" creationId="{C06E0917-43E8-496B-915A-4A374BAB7426}"/>
          </ac:spMkLst>
        </pc:spChg>
        <pc:spChg chg="add mod">
          <ac:chgData name="John Paserba" userId="77bd6c8a-d0c1-4fea-8705-0169f65d0c0e" providerId="ADAL" clId="{FD5E66A9-D36E-40B5-9161-8BB75765BB68}" dt="2025-10-12T21:40:43.529" v="1818"/>
          <ac:spMkLst>
            <pc:docMk/>
            <pc:sldMk cId="1605903753" sldId="2147471761"/>
            <ac:spMk id="22" creationId="{3BD6801F-CD0F-47EE-9567-334E371ECAD1}"/>
          </ac:spMkLst>
        </pc:spChg>
        <pc:spChg chg="mod">
          <ac:chgData name="John Paserba" userId="77bd6c8a-d0c1-4fea-8705-0169f65d0c0e" providerId="ADAL" clId="{FD5E66A9-D36E-40B5-9161-8BB75765BB68}" dt="2025-10-12T21:40:43.529" v="1818"/>
          <ac:spMkLst>
            <pc:docMk/>
            <pc:sldMk cId="1605903753" sldId="2147471761"/>
            <ac:spMk id="24" creationId="{0DA2EC5F-88A5-4568-8EFB-F90E10F43AE7}"/>
          </ac:spMkLst>
        </pc:spChg>
        <pc:grpChg chg="add del mod">
          <ac:chgData name="John Paserba" userId="77bd6c8a-d0c1-4fea-8705-0169f65d0c0e" providerId="ADAL" clId="{FD5E66A9-D36E-40B5-9161-8BB75765BB68}" dt="2025-10-12T21:40:34.890" v="1817" actId="478"/>
          <ac:grpSpMkLst>
            <pc:docMk/>
            <pc:sldMk cId="1605903753" sldId="2147471761"/>
            <ac:grpSpMk id="15" creationId="{86F8FC6D-3276-4342-816D-03A0BD937FCF}"/>
          </ac:grpSpMkLst>
        </pc:grpChg>
        <pc:grpChg chg="add mod">
          <ac:chgData name="John Paserba" userId="77bd6c8a-d0c1-4fea-8705-0169f65d0c0e" providerId="ADAL" clId="{FD5E66A9-D36E-40B5-9161-8BB75765BB68}" dt="2025-10-12T21:40:43.529" v="1818"/>
          <ac:grpSpMkLst>
            <pc:docMk/>
            <pc:sldMk cId="1605903753" sldId="2147471761"/>
            <ac:grpSpMk id="23" creationId="{5A56F603-C143-419F-851C-50CFE3A0F9E9}"/>
          </ac:grpSpMkLst>
        </pc:grpChg>
        <pc:picChg chg="mod">
          <ac:chgData name="John Paserba" userId="77bd6c8a-d0c1-4fea-8705-0169f65d0c0e" providerId="ADAL" clId="{FD5E66A9-D36E-40B5-9161-8BB75765BB68}" dt="2025-10-12T21:41:03.673" v="1830" actId="1036"/>
          <ac:picMkLst>
            <pc:docMk/>
            <pc:sldMk cId="1605903753" sldId="2147471761"/>
            <ac:picMk id="3" creationId="{0C139FE4-D839-4FBD-2228-4FA90247A792}"/>
          </ac:picMkLst>
        </pc:picChg>
        <pc:picChg chg="add del mod">
          <ac:chgData name="John Paserba" userId="77bd6c8a-d0c1-4fea-8705-0169f65d0c0e" providerId="ADAL" clId="{FD5E66A9-D36E-40B5-9161-8BB75765BB68}" dt="2025-10-12T21:41:03.673" v="1830" actId="1036"/>
          <ac:picMkLst>
            <pc:docMk/>
            <pc:sldMk cId="1605903753" sldId="2147471761"/>
            <ac:picMk id="8" creationId="{8CEF6608-A251-03A9-0DC3-02DCD6E0D7A5}"/>
          </ac:picMkLst>
        </pc:picChg>
        <pc:picChg chg="add del mod">
          <ac:chgData name="John Paserba" userId="77bd6c8a-d0c1-4fea-8705-0169f65d0c0e" providerId="ADAL" clId="{FD5E66A9-D36E-40B5-9161-8BB75765BB68}" dt="2025-10-12T21:41:07.175" v="1834" actId="1036"/>
          <ac:picMkLst>
            <pc:docMk/>
            <pc:sldMk cId="1605903753" sldId="2147471761"/>
            <ac:picMk id="10" creationId="{D26ACB6E-2F68-AAF1-6207-A4C27199B1FF}"/>
          </ac:picMkLst>
        </pc:picChg>
        <pc:picChg chg="add del mod">
          <ac:chgData name="John Paserba" userId="77bd6c8a-d0c1-4fea-8705-0169f65d0c0e" providerId="ADAL" clId="{FD5E66A9-D36E-40B5-9161-8BB75765BB68}" dt="2025-10-12T21:41:07.175" v="1834" actId="1036"/>
          <ac:picMkLst>
            <pc:docMk/>
            <pc:sldMk cId="1605903753" sldId="2147471761"/>
            <ac:picMk id="12" creationId="{F0EECBFC-8D64-B805-29AA-CDEE81C73BDA}"/>
          </ac:picMkLst>
        </pc:picChg>
        <pc:picChg chg="mod">
          <ac:chgData name="John Paserba" userId="77bd6c8a-d0c1-4fea-8705-0169f65d0c0e" providerId="ADAL" clId="{FD5E66A9-D36E-40B5-9161-8BB75765BB68}" dt="2025-10-12T21:40:12.202" v="1813" actId="1036"/>
          <ac:picMkLst>
            <pc:docMk/>
            <pc:sldMk cId="1605903753" sldId="2147471761"/>
            <ac:picMk id="17" creationId="{0600D99D-E0BD-4F5B-8F5C-E6BE98E99663}"/>
          </ac:picMkLst>
        </pc:picChg>
        <pc:picChg chg="mod">
          <ac:chgData name="John Paserba" userId="77bd6c8a-d0c1-4fea-8705-0169f65d0c0e" providerId="ADAL" clId="{FD5E66A9-D36E-40B5-9161-8BB75765BB68}" dt="2025-10-12T21:40:43.529" v="1818"/>
          <ac:picMkLst>
            <pc:docMk/>
            <pc:sldMk cId="1605903753" sldId="2147471761"/>
            <ac:picMk id="25" creationId="{80EF4F23-DDC0-472C-A1FA-241B95FD9A36}"/>
          </ac:picMkLst>
        </pc:picChg>
      </pc:sldChg>
      <pc:sldChg chg="modSp mod">
        <pc:chgData name="John Paserba" userId="77bd6c8a-d0c1-4fea-8705-0169f65d0c0e" providerId="ADAL" clId="{FD5E66A9-D36E-40B5-9161-8BB75765BB68}" dt="2025-10-12T21:38:43.682" v="1791" actId="12"/>
        <pc:sldMkLst>
          <pc:docMk/>
          <pc:sldMk cId="2366930432" sldId="2147471762"/>
        </pc:sldMkLst>
        <pc:spChg chg="mod">
          <ac:chgData name="John Paserba" userId="77bd6c8a-d0c1-4fea-8705-0169f65d0c0e" providerId="ADAL" clId="{FD5E66A9-D36E-40B5-9161-8BB75765BB68}" dt="2025-10-12T21:38:43.682" v="1791" actId="12"/>
          <ac:spMkLst>
            <pc:docMk/>
            <pc:sldMk cId="2366930432" sldId="2147471762"/>
            <ac:spMk id="20" creationId="{E69A118B-98A6-4479-8C30-F899FA348193}"/>
          </ac:spMkLst>
        </pc:spChg>
        <pc:spChg chg="mod">
          <ac:chgData name="John Paserba" userId="77bd6c8a-d0c1-4fea-8705-0169f65d0c0e" providerId="ADAL" clId="{FD5E66A9-D36E-40B5-9161-8BB75765BB68}" dt="2025-10-12T21:21:56.534" v="1625" actId="1076"/>
          <ac:spMkLst>
            <pc:docMk/>
            <pc:sldMk cId="2366930432" sldId="2147471762"/>
            <ac:spMk id="21" creationId="{0C2291E6-FC91-4D6A-AB1E-7DA283E1D247}"/>
          </ac:spMkLst>
        </pc:spChg>
      </pc:sldChg>
      <pc:sldChg chg="modSp mod">
        <pc:chgData name="John Paserba" userId="77bd6c8a-d0c1-4fea-8705-0169f65d0c0e" providerId="ADAL" clId="{FD5E66A9-D36E-40B5-9161-8BB75765BB68}" dt="2025-10-14T01:38:08.036" v="4770" actId="20577"/>
        <pc:sldMkLst>
          <pc:docMk/>
          <pc:sldMk cId="1076467741" sldId="2147471763"/>
        </pc:sldMkLst>
        <pc:spChg chg="mod">
          <ac:chgData name="John Paserba" userId="77bd6c8a-d0c1-4fea-8705-0169f65d0c0e" providerId="ADAL" clId="{FD5E66A9-D36E-40B5-9161-8BB75765BB68}" dt="2025-10-14T01:38:08.036" v="4770" actId="20577"/>
          <ac:spMkLst>
            <pc:docMk/>
            <pc:sldMk cId="1076467741" sldId="2147471763"/>
            <ac:spMk id="2" creationId="{604011DC-D533-4243-B17F-6BCA0E778325}"/>
          </ac:spMkLst>
        </pc:spChg>
        <pc:spChg chg="mod">
          <ac:chgData name="John Paserba" userId="77bd6c8a-d0c1-4fea-8705-0169f65d0c0e" providerId="ADAL" clId="{FD5E66A9-D36E-40B5-9161-8BB75765BB68}" dt="2025-10-14T01:13:40.284" v="4624" actId="21"/>
          <ac:spMkLst>
            <pc:docMk/>
            <pc:sldMk cId="1076467741" sldId="2147471763"/>
            <ac:spMk id="4" creationId="{935F3E8D-84AC-4F81-B4E8-B40C01F0E096}"/>
          </ac:spMkLst>
        </pc:spChg>
      </pc:sldChg>
      <pc:sldChg chg="modSp add del">
        <pc:chgData name="John Paserba" userId="77bd6c8a-d0c1-4fea-8705-0169f65d0c0e" providerId="ADAL" clId="{FD5E66A9-D36E-40B5-9161-8BB75765BB68}" dt="2025-10-14T03:32:11.523" v="5416"/>
        <pc:sldMkLst>
          <pc:docMk/>
          <pc:sldMk cId="1268152744" sldId="2147471765"/>
        </pc:sldMkLst>
        <pc:spChg chg="mod">
          <ac:chgData name="John Paserba" userId="77bd6c8a-d0c1-4fea-8705-0169f65d0c0e" providerId="ADAL" clId="{FD5E66A9-D36E-40B5-9161-8BB75765BB68}" dt="2025-10-14T03:32:11.523" v="5416"/>
          <ac:spMkLst>
            <pc:docMk/>
            <pc:sldMk cId="1268152744" sldId="2147471765"/>
            <ac:spMk id="2" creationId="{CA930CBF-59E3-48DD-9631-110774BE857F}"/>
          </ac:spMkLst>
        </pc:spChg>
      </pc:sldChg>
      <pc:sldChg chg="modSp add del mod">
        <pc:chgData name="John Paserba" userId="77bd6c8a-d0c1-4fea-8705-0169f65d0c0e" providerId="ADAL" clId="{FD5E66A9-D36E-40B5-9161-8BB75765BB68}" dt="2025-10-14T03:41:06.565" v="5455" actId="115"/>
        <pc:sldMkLst>
          <pc:docMk/>
          <pc:sldMk cId="1401808193" sldId="2147471766"/>
        </pc:sldMkLst>
        <pc:spChg chg="mod">
          <ac:chgData name="John Paserba" userId="77bd6c8a-d0c1-4fea-8705-0169f65d0c0e" providerId="ADAL" clId="{FD5E66A9-D36E-40B5-9161-8BB75765BB68}" dt="2025-10-14T03:32:24.116" v="5421"/>
          <ac:spMkLst>
            <pc:docMk/>
            <pc:sldMk cId="1401808193" sldId="2147471766"/>
            <ac:spMk id="2" creationId="{77588B58-6153-F1B8-4DB0-D1ACF93A24C7}"/>
          </ac:spMkLst>
        </pc:spChg>
        <pc:graphicFrameChg chg="modGraphic">
          <ac:chgData name="John Paserba" userId="77bd6c8a-d0c1-4fea-8705-0169f65d0c0e" providerId="ADAL" clId="{FD5E66A9-D36E-40B5-9161-8BB75765BB68}" dt="2025-10-14T03:41:06.565" v="5455" actId="115"/>
          <ac:graphicFrameMkLst>
            <pc:docMk/>
            <pc:sldMk cId="1401808193" sldId="2147471766"/>
            <ac:graphicFrameMk id="3" creationId="{23B054F1-D60E-4D09-B541-4C1042DDA274}"/>
          </ac:graphicFrameMkLst>
        </pc:graphicFrameChg>
      </pc:sldChg>
      <pc:sldChg chg="modSp add del mod">
        <pc:chgData name="John Paserba" userId="77bd6c8a-d0c1-4fea-8705-0169f65d0c0e" providerId="ADAL" clId="{FD5E66A9-D36E-40B5-9161-8BB75765BB68}" dt="2025-10-14T03:42:23.982" v="5470" actId="14734"/>
        <pc:sldMkLst>
          <pc:docMk/>
          <pc:sldMk cId="2730432412" sldId="2147471767"/>
        </pc:sldMkLst>
        <pc:spChg chg="mod">
          <ac:chgData name="John Paserba" userId="77bd6c8a-d0c1-4fea-8705-0169f65d0c0e" providerId="ADAL" clId="{FD5E66A9-D36E-40B5-9161-8BB75765BB68}" dt="2025-10-14T03:32:29.159" v="5423"/>
          <ac:spMkLst>
            <pc:docMk/>
            <pc:sldMk cId="2730432412" sldId="2147471767"/>
            <ac:spMk id="2" creationId="{77588B58-6153-F1B8-4DB0-D1ACF93A24C7}"/>
          </ac:spMkLst>
        </pc:spChg>
        <pc:graphicFrameChg chg="modGraphic">
          <ac:chgData name="John Paserba" userId="77bd6c8a-d0c1-4fea-8705-0169f65d0c0e" providerId="ADAL" clId="{FD5E66A9-D36E-40B5-9161-8BB75765BB68}" dt="2025-10-14T03:42:23.982" v="5470" actId="14734"/>
          <ac:graphicFrameMkLst>
            <pc:docMk/>
            <pc:sldMk cId="2730432412" sldId="2147471767"/>
            <ac:graphicFrameMk id="5" creationId="{379834DF-8385-4F0F-B770-08022B6A79BB}"/>
          </ac:graphicFrameMkLst>
        </pc:graphicFrameChg>
      </pc:sldChg>
      <pc:sldChg chg="modSp mod">
        <pc:chgData name="John Paserba" userId="77bd6c8a-d0c1-4fea-8705-0169f65d0c0e" providerId="ADAL" clId="{FD5E66A9-D36E-40B5-9161-8BB75765BB68}" dt="2025-10-12T22:06:33.877" v="2119" actId="207"/>
        <pc:sldMkLst>
          <pc:docMk/>
          <pc:sldMk cId="519710030" sldId="2147471768"/>
        </pc:sldMkLst>
        <pc:spChg chg="mod">
          <ac:chgData name="John Paserba" userId="77bd6c8a-d0c1-4fea-8705-0169f65d0c0e" providerId="ADAL" clId="{FD5E66A9-D36E-40B5-9161-8BB75765BB68}" dt="2025-10-12T22:06:33.877" v="2119" actId="207"/>
          <ac:spMkLst>
            <pc:docMk/>
            <pc:sldMk cId="519710030" sldId="2147471768"/>
            <ac:spMk id="15" creationId="{3080A4D3-3748-46AD-A2AB-DC4D574AE477}"/>
          </ac:spMkLst>
        </pc:spChg>
        <pc:spChg chg="mod">
          <ac:chgData name="John Paserba" userId="77bd6c8a-d0c1-4fea-8705-0169f65d0c0e" providerId="ADAL" clId="{FD5E66A9-D36E-40B5-9161-8BB75765BB68}" dt="2025-10-12T22:00:06.459" v="1950" actId="179"/>
          <ac:spMkLst>
            <pc:docMk/>
            <pc:sldMk cId="519710030" sldId="2147471768"/>
            <ac:spMk id="19" creationId="{8CA4F223-C494-4ADE-AC56-135941722AEA}"/>
          </ac:spMkLst>
        </pc:spChg>
      </pc:sldChg>
      <pc:sldChg chg="addSp delSp">
        <pc:chgData name="John Paserba" userId="77bd6c8a-d0c1-4fea-8705-0169f65d0c0e" providerId="ADAL" clId="{FD5E66A9-D36E-40B5-9161-8BB75765BB68}" dt="2025-10-12T21:19:41.900" v="1609" actId="478"/>
        <pc:sldMkLst>
          <pc:docMk/>
          <pc:sldMk cId="1363215793" sldId="2147471770"/>
        </pc:sldMkLst>
        <pc:grpChg chg="add del">
          <ac:chgData name="John Paserba" userId="77bd6c8a-d0c1-4fea-8705-0169f65d0c0e" providerId="ADAL" clId="{FD5E66A9-D36E-40B5-9161-8BB75765BB68}" dt="2025-10-12T21:19:41.900" v="1609" actId="478"/>
          <ac:grpSpMkLst>
            <pc:docMk/>
            <pc:sldMk cId="1363215793" sldId="2147471770"/>
            <ac:grpSpMk id="18" creationId="{360FBA40-EC11-40B5-B9E4-3EB647D40070}"/>
          </ac:grpSpMkLst>
        </pc:grpChg>
      </pc:sldChg>
      <pc:sldChg chg="ord">
        <pc:chgData name="John Paserba" userId="77bd6c8a-d0c1-4fea-8705-0169f65d0c0e" providerId="ADAL" clId="{FD5E66A9-D36E-40B5-9161-8BB75765BB68}" dt="2025-10-12T03:19:04.157" v="13"/>
        <pc:sldMkLst>
          <pc:docMk/>
          <pc:sldMk cId="3980057186" sldId="2147471772"/>
        </pc:sldMkLst>
      </pc:sldChg>
      <pc:sldChg chg="modSp add del">
        <pc:chgData name="John Paserba" userId="77bd6c8a-d0c1-4fea-8705-0169f65d0c0e" providerId="ADAL" clId="{FD5E66A9-D36E-40B5-9161-8BB75765BB68}" dt="2025-10-14T03:32:31.760" v="5424"/>
        <pc:sldMkLst>
          <pc:docMk/>
          <pc:sldMk cId="2468640254" sldId="2147471773"/>
        </pc:sldMkLst>
        <pc:spChg chg="mod">
          <ac:chgData name="John Paserba" userId="77bd6c8a-d0c1-4fea-8705-0169f65d0c0e" providerId="ADAL" clId="{FD5E66A9-D36E-40B5-9161-8BB75765BB68}" dt="2025-10-14T03:32:31.760" v="5424"/>
          <ac:spMkLst>
            <pc:docMk/>
            <pc:sldMk cId="2468640254" sldId="2147471773"/>
            <ac:spMk id="2" creationId="{E48B5B95-8D98-54EE-CD8E-5CAC4BF6B2DC}"/>
          </ac:spMkLst>
        </pc:spChg>
      </pc:sldChg>
      <pc:sldChg chg="modSp mod">
        <pc:chgData name="John Paserba" userId="77bd6c8a-d0c1-4fea-8705-0169f65d0c0e" providerId="ADAL" clId="{FD5E66A9-D36E-40B5-9161-8BB75765BB68}" dt="2025-10-12T22:17:04.725" v="2218" actId="20577"/>
        <pc:sldMkLst>
          <pc:docMk/>
          <pc:sldMk cId="706584097" sldId="2147471774"/>
        </pc:sldMkLst>
        <pc:spChg chg="mod">
          <ac:chgData name="John Paserba" userId="77bd6c8a-d0c1-4fea-8705-0169f65d0c0e" providerId="ADAL" clId="{FD5E66A9-D36E-40B5-9161-8BB75765BB68}" dt="2025-10-12T22:01:54.081" v="1985" actId="12"/>
          <ac:spMkLst>
            <pc:docMk/>
            <pc:sldMk cId="706584097" sldId="2147471774"/>
            <ac:spMk id="13" creationId="{585145E9-FC98-405D-A8A2-D4EF3536B085}"/>
          </ac:spMkLst>
        </pc:spChg>
        <pc:spChg chg="mod">
          <ac:chgData name="John Paserba" userId="77bd6c8a-d0c1-4fea-8705-0169f65d0c0e" providerId="ADAL" clId="{FD5E66A9-D36E-40B5-9161-8BB75765BB68}" dt="2025-10-12T22:17:04.725" v="2218" actId="20577"/>
          <ac:spMkLst>
            <pc:docMk/>
            <pc:sldMk cId="706584097" sldId="2147471774"/>
            <ac:spMk id="19" creationId="{5AC7194F-1259-4D5E-8A01-1B004A3BFA78}"/>
          </ac:spMkLst>
        </pc:spChg>
      </pc:sldChg>
      <pc:sldChg chg="modSp mod">
        <pc:chgData name="John Paserba" userId="77bd6c8a-d0c1-4fea-8705-0169f65d0c0e" providerId="ADAL" clId="{FD5E66A9-D36E-40B5-9161-8BB75765BB68}" dt="2025-10-12T22:17:44.668" v="2242" actId="20577"/>
        <pc:sldMkLst>
          <pc:docMk/>
          <pc:sldMk cId="1947367769" sldId="2147471775"/>
        </pc:sldMkLst>
        <pc:spChg chg="mod">
          <ac:chgData name="John Paserba" userId="77bd6c8a-d0c1-4fea-8705-0169f65d0c0e" providerId="ADAL" clId="{FD5E66A9-D36E-40B5-9161-8BB75765BB68}" dt="2025-10-12T22:04:51.182" v="2115" actId="12"/>
          <ac:spMkLst>
            <pc:docMk/>
            <pc:sldMk cId="1947367769" sldId="2147471775"/>
            <ac:spMk id="13" creationId="{585145E9-FC98-405D-A8A2-D4EF3536B085}"/>
          </ac:spMkLst>
        </pc:spChg>
        <pc:spChg chg="mod">
          <ac:chgData name="John Paserba" userId="77bd6c8a-d0c1-4fea-8705-0169f65d0c0e" providerId="ADAL" clId="{FD5E66A9-D36E-40B5-9161-8BB75765BB68}" dt="2025-10-12T22:06:37.847" v="2120" actId="207"/>
          <ac:spMkLst>
            <pc:docMk/>
            <pc:sldMk cId="1947367769" sldId="2147471775"/>
            <ac:spMk id="14" creationId="{73773E83-42D4-42FA-948E-CFCABDD3BC35}"/>
          </ac:spMkLst>
        </pc:spChg>
        <pc:spChg chg="mod">
          <ac:chgData name="John Paserba" userId="77bd6c8a-d0c1-4fea-8705-0169f65d0c0e" providerId="ADAL" clId="{FD5E66A9-D36E-40B5-9161-8BB75765BB68}" dt="2025-10-12T22:17:44.668" v="2242" actId="20577"/>
          <ac:spMkLst>
            <pc:docMk/>
            <pc:sldMk cId="1947367769" sldId="2147471775"/>
            <ac:spMk id="19" creationId="{5AC7194F-1259-4D5E-8A01-1B004A3BFA78}"/>
          </ac:spMkLst>
        </pc:spChg>
        <pc:spChg chg="mod">
          <ac:chgData name="John Paserba" userId="77bd6c8a-d0c1-4fea-8705-0169f65d0c0e" providerId="ADAL" clId="{FD5E66A9-D36E-40B5-9161-8BB75765BB68}" dt="2025-10-12T22:08:55.702" v="2140" actId="20577"/>
          <ac:spMkLst>
            <pc:docMk/>
            <pc:sldMk cId="1947367769" sldId="2147471775"/>
            <ac:spMk id="3328002" creationId="{00000000-0000-0000-0000-000000000000}"/>
          </ac:spMkLst>
        </pc:spChg>
      </pc:sldChg>
      <pc:sldChg chg="modSp mod">
        <pc:chgData name="John Paserba" userId="77bd6c8a-d0c1-4fea-8705-0169f65d0c0e" providerId="ADAL" clId="{FD5E66A9-D36E-40B5-9161-8BB75765BB68}" dt="2025-10-12T22:06:31.203" v="2118" actId="207"/>
        <pc:sldMkLst>
          <pc:docMk/>
          <pc:sldMk cId="3818620073" sldId="2147471776"/>
        </pc:sldMkLst>
        <pc:spChg chg="mod">
          <ac:chgData name="John Paserba" userId="77bd6c8a-d0c1-4fea-8705-0169f65d0c0e" providerId="ADAL" clId="{FD5E66A9-D36E-40B5-9161-8BB75765BB68}" dt="2025-10-12T21:46:16.786" v="1920" actId="1076"/>
          <ac:spMkLst>
            <pc:docMk/>
            <pc:sldMk cId="3818620073" sldId="2147471776"/>
            <ac:spMk id="19" creationId="{5AC7194F-1259-4D5E-8A01-1B004A3BFA78}"/>
          </ac:spMkLst>
        </pc:spChg>
        <pc:spChg chg="mod">
          <ac:chgData name="John Paserba" userId="77bd6c8a-d0c1-4fea-8705-0169f65d0c0e" providerId="ADAL" clId="{FD5E66A9-D36E-40B5-9161-8BB75765BB68}" dt="2025-10-12T21:45:28.754" v="1914" actId="20577"/>
          <ac:spMkLst>
            <pc:docMk/>
            <pc:sldMk cId="3818620073" sldId="2147471776"/>
            <ac:spMk id="20" creationId="{E69A118B-98A6-4479-8C30-F899FA348193}"/>
          </ac:spMkLst>
        </pc:spChg>
        <pc:spChg chg="mod">
          <ac:chgData name="John Paserba" userId="77bd6c8a-d0c1-4fea-8705-0169f65d0c0e" providerId="ADAL" clId="{FD5E66A9-D36E-40B5-9161-8BB75765BB68}" dt="2025-10-12T22:06:31.203" v="2118" actId="207"/>
          <ac:spMkLst>
            <pc:docMk/>
            <pc:sldMk cId="3818620073" sldId="2147471776"/>
            <ac:spMk id="21" creationId="{FD13547A-9AC3-4226-8E01-1CB9067763BD}"/>
          </ac:spMkLst>
        </pc:spChg>
      </pc:sldChg>
      <pc:sldChg chg="modSp add del mod">
        <pc:chgData name="John Paserba" userId="77bd6c8a-d0c1-4fea-8705-0169f65d0c0e" providerId="ADAL" clId="{FD5E66A9-D36E-40B5-9161-8BB75765BB68}" dt="2025-10-14T03:23:46.698" v="5278" actId="47"/>
        <pc:sldMkLst>
          <pc:docMk/>
          <pc:sldMk cId="694031996" sldId="2147471777"/>
        </pc:sldMkLst>
        <pc:spChg chg="mod">
          <ac:chgData name="John Paserba" userId="77bd6c8a-d0c1-4fea-8705-0169f65d0c0e" providerId="ADAL" clId="{FD5E66A9-D36E-40B5-9161-8BB75765BB68}" dt="2025-10-13T02:12:55.616" v="3962" actId="207"/>
          <ac:spMkLst>
            <pc:docMk/>
            <pc:sldMk cId="694031996" sldId="2147471777"/>
            <ac:spMk id="16" creationId="{5190BF23-0AAF-B212-234C-5CBA03D9CE7F}"/>
          </ac:spMkLst>
        </pc:spChg>
      </pc:sldChg>
      <pc:sldChg chg="add del">
        <pc:chgData name="John Paserba" userId="77bd6c8a-d0c1-4fea-8705-0169f65d0c0e" providerId="ADAL" clId="{FD5E66A9-D36E-40B5-9161-8BB75765BB68}" dt="2025-10-14T03:23:46.698" v="5278" actId="47"/>
        <pc:sldMkLst>
          <pc:docMk/>
          <pc:sldMk cId="4230604041" sldId="2147471778"/>
        </pc:sldMkLst>
      </pc:sldChg>
      <pc:sldChg chg="del ord">
        <pc:chgData name="John Paserba" userId="77bd6c8a-d0c1-4fea-8705-0169f65d0c0e" providerId="ADAL" clId="{FD5E66A9-D36E-40B5-9161-8BB75765BB68}" dt="2025-10-14T03:47:18.587" v="5494" actId="47"/>
        <pc:sldMkLst>
          <pc:docMk/>
          <pc:sldMk cId="1403970950" sldId="2147471779"/>
        </pc:sldMkLst>
      </pc:sldChg>
      <pc:sldChg chg="modSp add mod ord">
        <pc:chgData name="John Paserba" userId="77bd6c8a-d0c1-4fea-8705-0169f65d0c0e" providerId="ADAL" clId="{FD5E66A9-D36E-40B5-9161-8BB75765BB68}" dt="2025-10-12T03:18:57.959" v="11"/>
        <pc:sldMkLst>
          <pc:docMk/>
          <pc:sldMk cId="2584384277" sldId="2147471780"/>
        </pc:sldMkLst>
        <pc:spChg chg="mod">
          <ac:chgData name="John Paserba" userId="77bd6c8a-d0c1-4fea-8705-0169f65d0c0e" providerId="ADAL" clId="{FD5E66A9-D36E-40B5-9161-8BB75765BB68}" dt="2025-10-12T03:18:47.008" v="9" actId="20577"/>
          <ac:spMkLst>
            <pc:docMk/>
            <pc:sldMk cId="2584384277" sldId="2147471780"/>
            <ac:spMk id="12" creationId="{F45E667D-D9ED-4BE1-999E-2A4766484A8F}"/>
          </ac:spMkLst>
        </pc:spChg>
      </pc:sldChg>
      <pc:sldChg chg="addSp delSp modSp add mod">
        <pc:chgData name="John Paserba" userId="77bd6c8a-d0c1-4fea-8705-0169f65d0c0e" providerId="ADAL" clId="{FD5E66A9-D36E-40B5-9161-8BB75765BB68}" dt="2025-10-14T01:12:53.427" v="4573" actId="1076"/>
        <pc:sldMkLst>
          <pc:docMk/>
          <pc:sldMk cId="1858141502" sldId="2147471781"/>
        </pc:sldMkLst>
        <pc:spChg chg="del">
          <ac:chgData name="John Paserba" userId="77bd6c8a-d0c1-4fea-8705-0169f65d0c0e" providerId="ADAL" clId="{FD5E66A9-D36E-40B5-9161-8BB75765BB68}" dt="2025-10-12T03:31:52.444" v="43" actId="478"/>
          <ac:spMkLst>
            <pc:docMk/>
            <pc:sldMk cId="1858141502" sldId="2147471781"/>
            <ac:spMk id="3" creationId="{E6993746-A424-4F09-867F-B919F4E18ECB}"/>
          </ac:spMkLst>
        </pc:spChg>
        <pc:spChg chg="add del mod">
          <ac:chgData name="John Paserba" userId="77bd6c8a-d0c1-4fea-8705-0169f65d0c0e" providerId="ADAL" clId="{FD5E66A9-D36E-40B5-9161-8BB75765BB68}" dt="2025-10-12T03:31:56.027" v="44" actId="478"/>
          <ac:spMkLst>
            <pc:docMk/>
            <pc:sldMk cId="1858141502" sldId="2147471781"/>
            <ac:spMk id="12" creationId="{123F8DA5-CADA-40D3-B7B7-8EF3545250A8}"/>
          </ac:spMkLst>
        </pc:spChg>
        <pc:spChg chg="add del mod">
          <ac:chgData name="John Paserba" userId="77bd6c8a-d0c1-4fea-8705-0169f65d0c0e" providerId="ADAL" clId="{FD5E66A9-D36E-40B5-9161-8BB75765BB68}" dt="2025-10-14T01:12:29.300" v="4567" actId="478"/>
          <ac:spMkLst>
            <pc:docMk/>
            <pc:sldMk cId="1858141502" sldId="2147471781"/>
            <ac:spMk id="13" creationId="{2F783CFE-EE2C-40F3-A550-25DE5EBF0A43}"/>
          </ac:spMkLst>
        </pc:spChg>
        <pc:spChg chg="mod">
          <ac:chgData name="John Paserba" userId="77bd6c8a-d0c1-4fea-8705-0169f65d0c0e" providerId="ADAL" clId="{FD5E66A9-D36E-40B5-9161-8BB75765BB68}" dt="2025-10-12T03:32:06.178" v="51" actId="20577"/>
          <ac:spMkLst>
            <pc:docMk/>
            <pc:sldMk cId="1858141502" sldId="2147471781"/>
            <ac:spMk id="3328002" creationId="{00000000-0000-0000-0000-000000000000}"/>
          </ac:spMkLst>
        </pc:spChg>
        <pc:picChg chg="add mod">
          <ac:chgData name="John Paserba" userId="77bd6c8a-d0c1-4fea-8705-0169f65d0c0e" providerId="ADAL" clId="{FD5E66A9-D36E-40B5-9161-8BB75765BB68}" dt="2025-10-14T01:12:53.427" v="4573" actId="1076"/>
          <ac:picMkLst>
            <pc:docMk/>
            <pc:sldMk cId="1858141502" sldId="2147471781"/>
            <ac:picMk id="2" creationId="{9C62C29C-9E0C-4082-B621-C0650C2A6ABC}"/>
          </ac:picMkLst>
        </pc:picChg>
        <pc:picChg chg="add del mod">
          <ac:chgData name="John Paserba" userId="77bd6c8a-d0c1-4fea-8705-0169f65d0c0e" providerId="ADAL" clId="{FD5E66A9-D36E-40B5-9161-8BB75765BB68}" dt="2025-10-14T01:12:32.013" v="4569" actId="478"/>
          <ac:picMkLst>
            <pc:docMk/>
            <pc:sldMk cId="1858141502" sldId="2147471781"/>
            <ac:picMk id="14" creationId="{4C3CB284-838A-4926-B211-37ADC3890C69}"/>
          </ac:picMkLst>
        </pc:picChg>
      </pc:sldChg>
      <pc:sldChg chg="modSp add mod">
        <pc:chgData name="John Paserba" userId="77bd6c8a-d0c1-4fea-8705-0169f65d0c0e" providerId="ADAL" clId="{FD5E66A9-D36E-40B5-9161-8BB75765BB68}" dt="2025-10-13T02:15:39.022" v="3992" actId="207"/>
        <pc:sldMkLst>
          <pc:docMk/>
          <pc:sldMk cId="3517840741" sldId="2147471782"/>
        </pc:sldMkLst>
        <pc:spChg chg="mod">
          <ac:chgData name="John Paserba" userId="77bd6c8a-d0c1-4fea-8705-0169f65d0c0e" providerId="ADAL" clId="{FD5E66A9-D36E-40B5-9161-8BB75765BB68}" dt="2025-10-13T02:15:39.022" v="3992" actId="207"/>
          <ac:spMkLst>
            <pc:docMk/>
            <pc:sldMk cId="3517840741" sldId="2147471782"/>
            <ac:spMk id="3" creationId="{E6993746-A424-4F09-867F-B919F4E18ECB}"/>
          </ac:spMkLst>
        </pc:spChg>
        <pc:spChg chg="mod">
          <ac:chgData name="John Paserba" userId="77bd6c8a-d0c1-4fea-8705-0169f65d0c0e" providerId="ADAL" clId="{FD5E66A9-D36E-40B5-9161-8BB75765BB68}" dt="2025-10-12T03:42:44.513" v="111" actId="6549"/>
          <ac:spMkLst>
            <pc:docMk/>
            <pc:sldMk cId="3517840741" sldId="2147471782"/>
            <ac:spMk id="3328002" creationId="{00000000-0000-0000-0000-000000000000}"/>
          </ac:spMkLst>
        </pc:spChg>
      </pc:sldChg>
      <pc:sldChg chg="addSp delSp modSp add mod">
        <pc:chgData name="John Paserba" userId="77bd6c8a-d0c1-4fea-8705-0169f65d0c0e" providerId="ADAL" clId="{FD5E66A9-D36E-40B5-9161-8BB75765BB68}" dt="2025-10-13T04:01:23.936" v="4061" actId="207"/>
        <pc:sldMkLst>
          <pc:docMk/>
          <pc:sldMk cId="1615138601" sldId="2147471783"/>
        </pc:sldMkLst>
        <pc:spChg chg="mod">
          <ac:chgData name="John Paserba" userId="77bd6c8a-d0c1-4fea-8705-0169f65d0c0e" providerId="ADAL" clId="{FD5E66A9-D36E-40B5-9161-8BB75765BB68}" dt="2025-10-13T04:01:23.936" v="4061" actId="207"/>
          <ac:spMkLst>
            <pc:docMk/>
            <pc:sldMk cId="1615138601" sldId="2147471783"/>
            <ac:spMk id="3" creationId="{E6993746-A424-4F09-867F-B919F4E18ECB}"/>
          </ac:spMkLst>
        </pc:spChg>
        <pc:spChg chg="add del mod">
          <ac:chgData name="John Paserba" userId="77bd6c8a-d0c1-4fea-8705-0169f65d0c0e" providerId="ADAL" clId="{FD5E66A9-D36E-40B5-9161-8BB75765BB68}" dt="2025-10-12T04:17:15.252" v="293" actId="478"/>
          <ac:spMkLst>
            <pc:docMk/>
            <pc:sldMk cId="1615138601" sldId="2147471783"/>
            <ac:spMk id="12" creationId="{AD4241B0-4EC4-4B79-BB0E-8F34C6882B48}"/>
          </ac:spMkLst>
        </pc:spChg>
        <pc:spChg chg="add mod">
          <ac:chgData name="John Paserba" userId="77bd6c8a-d0c1-4fea-8705-0169f65d0c0e" providerId="ADAL" clId="{FD5E66A9-D36E-40B5-9161-8BB75765BB68}" dt="2025-10-12T15:36:44.273" v="452" actId="2711"/>
          <ac:spMkLst>
            <pc:docMk/>
            <pc:sldMk cId="1615138601" sldId="2147471783"/>
            <ac:spMk id="13" creationId="{B69680F1-4F61-4481-B412-232F7ED71FC0}"/>
          </ac:spMkLst>
        </pc:spChg>
        <pc:spChg chg="mod">
          <ac:chgData name="John Paserba" userId="77bd6c8a-d0c1-4fea-8705-0169f65d0c0e" providerId="ADAL" clId="{FD5E66A9-D36E-40B5-9161-8BB75765BB68}" dt="2025-10-12T03:46:04.102" v="130" actId="20577"/>
          <ac:spMkLst>
            <pc:docMk/>
            <pc:sldMk cId="1615138601" sldId="2147471783"/>
            <ac:spMk id="3328002" creationId="{00000000-0000-0000-0000-000000000000}"/>
          </ac:spMkLst>
        </pc:spChg>
      </pc:sldChg>
      <pc:sldChg chg="addSp delSp modSp add mod">
        <pc:chgData name="John Paserba" userId="77bd6c8a-d0c1-4fea-8705-0169f65d0c0e" providerId="ADAL" clId="{FD5E66A9-D36E-40B5-9161-8BB75765BB68}" dt="2025-10-12T15:36:50.526" v="453" actId="2711"/>
        <pc:sldMkLst>
          <pc:docMk/>
          <pc:sldMk cId="3602354048" sldId="2147471784"/>
        </pc:sldMkLst>
        <pc:spChg chg="del">
          <ac:chgData name="John Paserba" userId="77bd6c8a-d0c1-4fea-8705-0169f65d0c0e" providerId="ADAL" clId="{FD5E66A9-D36E-40B5-9161-8BB75765BB68}" dt="2025-10-12T03:50:47.526" v="181" actId="478"/>
          <ac:spMkLst>
            <pc:docMk/>
            <pc:sldMk cId="3602354048" sldId="2147471784"/>
            <ac:spMk id="3" creationId="{E6993746-A424-4F09-867F-B919F4E18ECB}"/>
          </ac:spMkLst>
        </pc:spChg>
        <pc:spChg chg="add del mod">
          <ac:chgData name="John Paserba" userId="77bd6c8a-d0c1-4fea-8705-0169f65d0c0e" providerId="ADAL" clId="{FD5E66A9-D36E-40B5-9161-8BB75765BB68}" dt="2025-10-12T03:50:50.459" v="182" actId="478"/>
          <ac:spMkLst>
            <pc:docMk/>
            <pc:sldMk cId="3602354048" sldId="2147471784"/>
            <ac:spMk id="12" creationId="{375E303D-6321-4C89-8D44-1A8F31896CDF}"/>
          </ac:spMkLst>
        </pc:spChg>
        <pc:spChg chg="add mod">
          <ac:chgData name="John Paserba" userId="77bd6c8a-d0c1-4fea-8705-0169f65d0c0e" providerId="ADAL" clId="{FD5E66A9-D36E-40B5-9161-8BB75765BB68}" dt="2025-10-12T15:36:50.526" v="453" actId="2711"/>
          <ac:spMkLst>
            <pc:docMk/>
            <pc:sldMk cId="3602354048" sldId="2147471784"/>
            <ac:spMk id="14" creationId="{37FA2262-D38A-4846-B7D1-A216D84AB650}"/>
          </ac:spMkLst>
        </pc:spChg>
        <pc:spChg chg="add del mod">
          <ac:chgData name="John Paserba" userId="77bd6c8a-d0c1-4fea-8705-0169f65d0c0e" providerId="ADAL" clId="{FD5E66A9-D36E-40B5-9161-8BB75765BB68}" dt="2025-10-12T03:51:00.397" v="185"/>
          <ac:spMkLst>
            <pc:docMk/>
            <pc:sldMk cId="3602354048" sldId="2147471784"/>
            <ac:spMk id="15" creationId="{68A0EC34-4D1C-4283-BB3C-31576384AD9F}"/>
          </ac:spMkLst>
        </pc:spChg>
        <pc:spChg chg="mod">
          <ac:chgData name="John Paserba" userId="77bd6c8a-d0c1-4fea-8705-0169f65d0c0e" providerId="ADAL" clId="{FD5E66A9-D36E-40B5-9161-8BB75765BB68}" dt="2025-10-12T03:53:43.150" v="204" actId="255"/>
          <ac:spMkLst>
            <pc:docMk/>
            <pc:sldMk cId="3602354048" sldId="2147471784"/>
            <ac:spMk id="3328002" creationId="{00000000-0000-0000-0000-000000000000}"/>
          </ac:spMkLst>
        </pc:spChg>
      </pc:sldChg>
      <pc:sldChg chg="addSp delSp modSp add mod">
        <pc:chgData name="John Paserba" userId="77bd6c8a-d0c1-4fea-8705-0169f65d0c0e" providerId="ADAL" clId="{FD5E66A9-D36E-40B5-9161-8BB75765BB68}" dt="2025-10-12T16:31:01.380" v="659" actId="255"/>
        <pc:sldMkLst>
          <pc:docMk/>
          <pc:sldMk cId="223166733" sldId="2147471785"/>
        </pc:sldMkLst>
        <pc:spChg chg="del">
          <ac:chgData name="John Paserba" userId="77bd6c8a-d0c1-4fea-8705-0169f65d0c0e" providerId="ADAL" clId="{FD5E66A9-D36E-40B5-9161-8BB75765BB68}" dt="2025-10-12T04:16:15.198" v="273" actId="478"/>
          <ac:spMkLst>
            <pc:docMk/>
            <pc:sldMk cId="223166733" sldId="2147471785"/>
            <ac:spMk id="3" creationId="{E6993746-A424-4F09-867F-B919F4E18ECB}"/>
          </ac:spMkLst>
        </pc:spChg>
        <pc:spChg chg="add del mod">
          <ac:chgData name="John Paserba" userId="77bd6c8a-d0c1-4fea-8705-0169f65d0c0e" providerId="ADAL" clId="{FD5E66A9-D36E-40B5-9161-8BB75765BB68}" dt="2025-10-12T04:16:16.890" v="274" actId="478"/>
          <ac:spMkLst>
            <pc:docMk/>
            <pc:sldMk cId="223166733" sldId="2147471785"/>
            <ac:spMk id="12" creationId="{3737BE24-935E-4A66-A9FD-F2D16085D91F}"/>
          </ac:spMkLst>
        </pc:spChg>
        <pc:spChg chg="add del mod">
          <ac:chgData name="John Paserba" userId="77bd6c8a-d0c1-4fea-8705-0169f65d0c0e" providerId="ADAL" clId="{FD5E66A9-D36E-40B5-9161-8BB75765BB68}" dt="2025-10-12T16:30:13.064" v="653" actId="478"/>
          <ac:spMkLst>
            <pc:docMk/>
            <pc:sldMk cId="223166733" sldId="2147471785"/>
            <ac:spMk id="15" creationId="{662DC298-2F72-4431-8D21-CD78333A4470}"/>
          </ac:spMkLst>
        </pc:spChg>
        <pc:spChg chg="mod">
          <ac:chgData name="John Paserba" userId="77bd6c8a-d0c1-4fea-8705-0169f65d0c0e" providerId="ADAL" clId="{FD5E66A9-D36E-40B5-9161-8BB75765BB68}" dt="2025-10-12T15:56:58.082" v="651" actId="20577"/>
          <ac:spMkLst>
            <pc:docMk/>
            <pc:sldMk cId="223166733" sldId="2147471785"/>
            <ac:spMk id="3328002" creationId="{00000000-0000-0000-0000-000000000000}"/>
          </ac:spMkLst>
        </pc:spChg>
        <pc:graphicFrameChg chg="add mod modGraphic">
          <ac:chgData name="John Paserba" userId="77bd6c8a-d0c1-4fea-8705-0169f65d0c0e" providerId="ADAL" clId="{FD5E66A9-D36E-40B5-9161-8BB75765BB68}" dt="2025-10-12T16:31:01.380" v="659" actId="255"/>
          <ac:graphicFrameMkLst>
            <pc:docMk/>
            <pc:sldMk cId="223166733" sldId="2147471785"/>
            <ac:graphicFrameMk id="2" creationId="{B809C0CC-4BD5-46B8-B8AB-8C897E10C7A7}"/>
          </ac:graphicFrameMkLst>
        </pc:graphicFrameChg>
        <pc:picChg chg="add del mod">
          <ac:chgData name="John Paserba" userId="77bd6c8a-d0c1-4fea-8705-0169f65d0c0e" providerId="ADAL" clId="{FD5E66A9-D36E-40B5-9161-8BB75765BB68}" dt="2025-10-12T16:30:10.241" v="652" actId="478"/>
          <ac:picMkLst>
            <pc:docMk/>
            <pc:sldMk cId="223166733" sldId="2147471785"/>
            <ac:picMk id="14" creationId="{121D761F-ACF4-4AA9-B011-3E46962C3130}"/>
          </ac:picMkLst>
        </pc:picChg>
      </pc:sldChg>
      <pc:sldChg chg="addSp delSp modSp add del mod">
        <pc:chgData name="John Paserba" userId="77bd6c8a-d0c1-4fea-8705-0169f65d0c0e" providerId="ADAL" clId="{FD5E66A9-D36E-40B5-9161-8BB75765BB68}" dt="2025-10-12T16:40:16.246" v="688" actId="47"/>
        <pc:sldMkLst>
          <pc:docMk/>
          <pc:sldMk cId="732760301" sldId="2147471786"/>
        </pc:sldMkLst>
        <pc:spChg chg="del">
          <ac:chgData name="John Paserba" userId="77bd6c8a-d0c1-4fea-8705-0169f65d0c0e" providerId="ADAL" clId="{FD5E66A9-D36E-40B5-9161-8BB75765BB68}" dt="2025-10-12T04:27:18.110" v="316" actId="478"/>
          <ac:spMkLst>
            <pc:docMk/>
            <pc:sldMk cId="732760301" sldId="2147471786"/>
            <ac:spMk id="3" creationId="{E6993746-A424-4F09-867F-B919F4E18ECB}"/>
          </ac:spMkLst>
        </pc:spChg>
        <pc:spChg chg="add del mod">
          <ac:chgData name="John Paserba" userId="77bd6c8a-d0c1-4fea-8705-0169f65d0c0e" providerId="ADAL" clId="{FD5E66A9-D36E-40B5-9161-8BB75765BB68}" dt="2025-10-12T16:40:14.180" v="687" actId="21"/>
          <ac:spMkLst>
            <pc:docMk/>
            <pc:sldMk cId="732760301" sldId="2147471786"/>
            <ac:spMk id="12" creationId="{3935E95C-BA06-4B6F-9927-EB4A8A3A7F45}"/>
          </ac:spMkLst>
        </pc:spChg>
        <pc:spChg chg="add del mod">
          <ac:chgData name="John Paserba" userId="77bd6c8a-d0c1-4fea-8705-0169f65d0c0e" providerId="ADAL" clId="{FD5E66A9-D36E-40B5-9161-8BB75765BB68}" dt="2025-10-12T04:27:19.761" v="317" actId="478"/>
          <ac:spMkLst>
            <pc:docMk/>
            <pc:sldMk cId="732760301" sldId="2147471786"/>
            <ac:spMk id="12" creationId="{6E13C600-10CA-4081-B9A8-0457CF0E79E9}"/>
          </ac:spMkLst>
        </pc:spChg>
        <pc:spChg chg="mod">
          <ac:chgData name="John Paserba" userId="77bd6c8a-d0c1-4fea-8705-0169f65d0c0e" providerId="ADAL" clId="{FD5E66A9-D36E-40B5-9161-8BB75765BB68}" dt="2025-10-12T15:35:07.799" v="449" actId="2711"/>
          <ac:spMkLst>
            <pc:docMk/>
            <pc:sldMk cId="732760301" sldId="2147471786"/>
            <ac:spMk id="3328002" creationId="{00000000-0000-0000-0000-000000000000}"/>
          </ac:spMkLst>
        </pc:spChg>
      </pc:sldChg>
      <pc:sldChg chg="addSp modSp mod">
        <pc:chgData name="John Paserba" userId="77bd6c8a-d0c1-4fea-8705-0169f65d0c0e" providerId="ADAL" clId="{FD5E66A9-D36E-40B5-9161-8BB75765BB68}" dt="2025-10-13T02:15:04.684" v="3988" actId="207"/>
        <pc:sldMkLst>
          <pc:docMk/>
          <pc:sldMk cId="2920915659" sldId="2147471786"/>
        </pc:sldMkLst>
        <pc:spChg chg="mod">
          <ac:chgData name="John Paserba" userId="77bd6c8a-d0c1-4fea-8705-0169f65d0c0e" providerId="ADAL" clId="{FD5E66A9-D36E-40B5-9161-8BB75765BB68}" dt="2025-10-13T02:15:04.684" v="3988" actId="207"/>
          <ac:spMkLst>
            <pc:docMk/>
            <pc:sldMk cId="2920915659" sldId="2147471786"/>
            <ac:spMk id="3" creationId="{E6993746-A424-4F09-867F-B919F4E18ECB}"/>
          </ac:spMkLst>
        </pc:spChg>
        <pc:spChg chg="mod">
          <ac:chgData name="John Paserba" userId="77bd6c8a-d0c1-4fea-8705-0169f65d0c0e" providerId="ADAL" clId="{FD5E66A9-D36E-40B5-9161-8BB75765BB68}" dt="2025-10-12T21:19:19.270" v="1606"/>
          <ac:spMkLst>
            <pc:docMk/>
            <pc:sldMk cId="2920915659" sldId="2147471786"/>
            <ac:spMk id="7" creationId="{8C651581-EBFA-4CD7-A1D2-EBDE2EBAC860}"/>
          </ac:spMkLst>
        </pc:spChg>
        <pc:spChg chg="mod">
          <ac:chgData name="John Paserba" userId="77bd6c8a-d0c1-4fea-8705-0169f65d0c0e" providerId="ADAL" clId="{FD5E66A9-D36E-40B5-9161-8BB75765BB68}" dt="2025-10-12T21:19:19.270" v="1606"/>
          <ac:spMkLst>
            <pc:docMk/>
            <pc:sldMk cId="2920915659" sldId="2147471786"/>
            <ac:spMk id="10" creationId="{50405681-7A0A-476A-B8C3-FCCB7E7B0733}"/>
          </ac:spMkLst>
        </pc:spChg>
        <pc:spChg chg="mod">
          <ac:chgData name="John Paserba" userId="77bd6c8a-d0c1-4fea-8705-0169f65d0c0e" providerId="ADAL" clId="{FD5E66A9-D36E-40B5-9161-8BB75765BB68}" dt="2025-10-12T21:18:01.748" v="1601" actId="2711"/>
          <ac:spMkLst>
            <pc:docMk/>
            <pc:sldMk cId="2920915659" sldId="2147471786"/>
            <ac:spMk id="3328002" creationId="{00000000-0000-0000-0000-000000000000}"/>
          </ac:spMkLst>
        </pc:spChg>
        <pc:grpChg chg="add mod">
          <ac:chgData name="John Paserba" userId="77bd6c8a-d0c1-4fea-8705-0169f65d0c0e" providerId="ADAL" clId="{FD5E66A9-D36E-40B5-9161-8BB75765BB68}" dt="2025-10-12T21:19:19.270" v="1606"/>
          <ac:grpSpMkLst>
            <pc:docMk/>
            <pc:sldMk cId="2920915659" sldId="2147471786"/>
            <ac:grpSpMk id="6" creationId="{18C4B1E2-5AD1-49F5-A0C5-BFD2788863A3}"/>
          </ac:grpSpMkLst>
        </pc:grpChg>
        <pc:grpChg chg="add mod">
          <ac:chgData name="John Paserba" userId="77bd6c8a-d0c1-4fea-8705-0169f65d0c0e" providerId="ADAL" clId="{FD5E66A9-D36E-40B5-9161-8BB75765BB68}" dt="2025-10-12T21:19:19.270" v="1606"/>
          <ac:grpSpMkLst>
            <pc:docMk/>
            <pc:sldMk cId="2920915659" sldId="2147471786"/>
            <ac:grpSpMk id="9" creationId="{0BF3C0AB-528A-49F1-8BAC-F4898B492C5A}"/>
          </ac:grpSpMkLst>
        </pc:grpChg>
        <pc:picChg chg="mod">
          <ac:chgData name="John Paserba" userId="77bd6c8a-d0c1-4fea-8705-0169f65d0c0e" providerId="ADAL" clId="{FD5E66A9-D36E-40B5-9161-8BB75765BB68}" dt="2025-10-12T21:19:19.270" v="1606"/>
          <ac:picMkLst>
            <pc:docMk/>
            <pc:sldMk cId="2920915659" sldId="2147471786"/>
            <ac:picMk id="8" creationId="{82AC6B61-7FFA-4AD5-A691-93D52685D611}"/>
          </ac:picMkLst>
        </pc:picChg>
        <pc:picChg chg="mod">
          <ac:chgData name="John Paserba" userId="77bd6c8a-d0c1-4fea-8705-0169f65d0c0e" providerId="ADAL" clId="{FD5E66A9-D36E-40B5-9161-8BB75765BB68}" dt="2025-10-12T21:19:19.270" v="1606"/>
          <ac:picMkLst>
            <pc:docMk/>
            <pc:sldMk cId="2920915659" sldId="2147471786"/>
            <ac:picMk id="11" creationId="{AE95ABFC-A3B9-4290-AD03-3758734C6D1A}"/>
          </ac:picMkLst>
        </pc:picChg>
      </pc:sldChg>
      <pc:sldChg chg="modSp mod">
        <pc:chgData name="John Paserba" userId="77bd6c8a-d0c1-4fea-8705-0169f65d0c0e" providerId="ADAL" clId="{FD5E66A9-D36E-40B5-9161-8BB75765BB68}" dt="2025-10-12T22:16:21.631" v="2206" actId="115"/>
        <pc:sldMkLst>
          <pc:docMk/>
          <pc:sldMk cId="506027128" sldId="2147471787"/>
        </pc:sldMkLst>
        <pc:spChg chg="mod">
          <ac:chgData name="John Paserba" userId="77bd6c8a-d0c1-4fea-8705-0169f65d0c0e" providerId="ADAL" clId="{FD5E66A9-D36E-40B5-9161-8BB75765BB68}" dt="2025-10-12T22:16:21.631" v="2206" actId="115"/>
          <ac:spMkLst>
            <pc:docMk/>
            <pc:sldMk cId="506027128" sldId="2147471787"/>
            <ac:spMk id="19" creationId="{5AC7194F-1259-4D5E-8A01-1B004A3BFA78}"/>
          </ac:spMkLst>
        </pc:spChg>
      </pc:sldChg>
      <pc:sldChg chg="add del">
        <pc:chgData name="John Paserba" userId="77bd6c8a-d0c1-4fea-8705-0169f65d0c0e" providerId="ADAL" clId="{FD5E66A9-D36E-40B5-9161-8BB75765BB68}" dt="2025-10-12T15:34:11.587" v="446" actId="47"/>
        <pc:sldMkLst>
          <pc:docMk/>
          <pc:sldMk cId="3323157062" sldId="2147471787"/>
        </pc:sldMkLst>
      </pc:sldChg>
      <pc:sldChg chg="modSp add mod">
        <pc:chgData name="John Paserba" userId="77bd6c8a-d0c1-4fea-8705-0169f65d0c0e" providerId="ADAL" clId="{FD5E66A9-D36E-40B5-9161-8BB75765BB68}" dt="2025-10-12T15:36:56.856" v="454" actId="2711"/>
        <pc:sldMkLst>
          <pc:docMk/>
          <pc:sldMk cId="1731357715" sldId="2147471788"/>
        </pc:sldMkLst>
        <pc:spChg chg="mod">
          <ac:chgData name="John Paserba" userId="77bd6c8a-d0c1-4fea-8705-0169f65d0c0e" providerId="ADAL" clId="{FD5E66A9-D36E-40B5-9161-8BB75765BB68}" dt="2025-10-12T15:36:56.856" v="454" actId="2711"/>
          <ac:spMkLst>
            <pc:docMk/>
            <pc:sldMk cId="1731357715" sldId="2147471788"/>
            <ac:spMk id="14" creationId="{37FA2262-D38A-4846-B7D1-A216D84AB650}"/>
          </ac:spMkLst>
        </pc:spChg>
        <pc:spChg chg="mod">
          <ac:chgData name="John Paserba" userId="77bd6c8a-d0c1-4fea-8705-0169f65d0c0e" providerId="ADAL" clId="{FD5E66A9-D36E-40B5-9161-8BB75765BB68}" dt="2025-10-12T03:53:50.478" v="205" actId="255"/>
          <ac:spMkLst>
            <pc:docMk/>
            <pc:sldMk cId="1731357715" sldId="2147471788"/>
            <ac:spMk id="3328002" creationId="{00000000-0000-0000-0000-000000000000}"/>
          </ac:spMkLst>
        </pc:spChg>
      </pc:sldChg>
      <pc:sldChg chg="modSp add mod">
        <pc:chgData name="John Paserba" userId="77bd6c8a-d0c1-4fea-8705-0169f65d0c0e" providerId="ADAL" clId="{FD5E66A9-D36E-40B5-9161-8BB75765BB68}" dt="2025-10-12T15:37:04.233" v="455" actId="2711"/>
        <pc:sldMkLst>
          <pc:docMk/>
          <pc:sldMk cId="977263133" sldId="2147471789"/>
        </pc:sldMkLst>
        <pc:spChg chg="mod">
          <ac:chgData name="John Paserba" userId="77bd6c8a-d0c1-4fea-8705-0169f65d0c0e" providerId="ADAL" clId="{FD5E66A9-D36E-40B5-9161-8BB75765BB68}" dt="2025-10-12T15:37:04.233" v="455" actId="2711"/>
          <ac:spMkLst>
            <pc:docMk/>
            <pc:sldMk cId="977263133" sldId="2147471789"/>
            <ac:spMk id="14" creationId="{37FA2262-D38A-4846-B7D1-A216D84AB650}"/>
          </ac:spMkLst>
        </pc:spChg>
        <pc:spChg chg="mod">
          <ac:chgData name="John Paserba" userId="77bd6c8a-d0c1-4fea-8705-0169f65d0c0e" providerId="ADAL" clId="{FD5E66A9-D36E-40B5-9161-8BB75765BB68}" dt="2025-10-12T03:53:56.456" v="206" actId="255"/>
          <ac:spMkLst>
            <pc:docMk/>
            <pc:sldMk cId="977263133" sldId="2147471789"/>
            <ac:spMk id="3328002" creationId="{00000000-0000-0000-0000-000000000000}"/>
          </ac:spMkLst>
        </pc:spChg>
      </pc:sldChg>
      <pc:sldChg chg="addSp delSp modSp mod">
        <pc:chgData name="John Paserba" userId="77bd6c8a-d0c1-4fea-8705-0169f65d0c0e" providerId="ADAL" clId="{FD5E66A9-D36E-40B5-9161-8BB75765BB68}" dt="2025-10-14T01:15:27.804" v="4634"/>
        <pc:sldMkLst>
          <pc:docMk/>
          <pc:sldMk cId="3524733822" sldId="2147471790"/>
        </pc:sldMkLst>
        <pc:spChg chg="add del mod">
          <ac:chgData name="John Paserba" userId="77bd6c8a-d0c1-4fea-8705-0169f65d0c0e" providerId="ADAL" clId="{FD5E66A9-D36E-40B5-9161-8BB75765BB68}" dt="2025-10-14T01:13:59.503" v="4626" actId="478"/>
          <ac:spMkLst>
            <pc:docMk/>
            <pc:sldMk cId="3524733822" sldId="2147471790"/>
            <ac:spMk id="3" creationId="{E978D94C-B583-42C5-B27D-B55A8C122BE7}"/>
          </ac:spMkLst>
        </pc:spChg>
        <pc:picChg chg="add del ord">
          <ac:chgData name="John Paserba" userId="77bd6c8a-d0c1-4fea-8705-0169f65d0c0e" providerId="ADAL" clId="{FD5E66A9-D36E-40B5-9161-8BB75765BB68}" dt="2025-10-14T01:14:01.671" v="4627" actId="478"/>
          <ac:picMkLst>
            <pc:docMk/>
            <pc:sldMk cId="3524733822" sldId="2147471790"/>
            <ac:picMk id="2" creationId="{5782D472-9B2B-4665-9B3C-418BED6A7EFF}"/>
          </ac:picMkLst>
        </pc:picChg>
        <pc:picChg chg="add">
          <ac:chgData name="John Paserba" userId="77bd6c8a-d0c1-4fea-8705-0169f65d0c0e" providerId="ADAL" clId="{FD5E66A9-D36E-40B5-9161-8BB75765BB68}" dt="2025-10-14T01:15:27.804" v="4634"/>
          <ac:picMkLst>
            <pc:docMk/>
            <pc:sldMk cId="3524733822" sldId="2147471790"/>
            <ac:picMk id="4" creationId="{B1CBE247-346A-47ED-B273-F9BEA0875FBE}"/>
          </ac:picMkLst>
        </pc:picChg>
        <pc:picChg chg="del">
          <ac:chgData name="John Paserba" userId="77bd6c8a-d0c1-4fea-8705-0169f65d0c0e" providerId="ADAL" clId="{FD5E66A9-D36E-40B5-9161-8BB75765BB68}" dt="2025-10-13T04:15:27.958" v="4106" actId="478"/>
          <ac:picMkLst>
            <pc:docMk/>
            <pc:sldMk cId="3524733822" sldId="2147471790"/>
            <ac:picMk id="5" creationId="{372DA169-17CF-4AB1-A27A-9313F9DED763}"/>
          </ac:picMkLst>
        </pc:picChg>
      </pc:sldChg>
      <pc:sldChg chg="addSp modSp del mod">
        <pc:chgData name="John Paserba" userId="77bd6c8a-d0c1-4fea-8705-0169f65d0c0e" providerId="ADAL" clId="{FD5E66A9-D36E-40B5-9161-8BB75765BB68}" dt="2025-10-14T01:18:06.635" v="4646" actId="47"/>
        <pc:sldMkLst>
          <pc:docMk/>
          <pc:sldMk cId="2279223299" sldId="2147471791"/>
        </pc:sldMkLst>
        <pc:spChg chg="add mod">
          <ac:chgData name="John Paserba" userId="77bd6c8a-d0c1-4fea-8705-0169f65d0c0e" providerId="ADAL" clId="{FD5E66A9-D36E-40B5-9161-8BB75765BB68}" dt="2025-10-12T15:37:22.682" v="456" actId="2711"/>
          <ac:spMkLst>
            <pc:docMk/>
            <pc:sldMk cId="2279223299" sldId="2147471791"/>
            <ac:spMk id="29" creationId="{EFC7DF32-8E3A-481E-B2CD-DBA133B6D860}"/>
          </ac:spMkLst>
        </pc:spChg>
        <pc:graphicFrameChg chg="mod">
          <ac:chgData name="John Paserba" userId="77bd6c8a-d0c1-4fea-8705-0169f65d0c0e" providerId="ADAL" clId="{FD5E66A9-D36E-40B5-9161-8BB75765BB68}" dt="2025-10-12T04:17:39.059" v="299" actId="1076"/>
          <ac:graphicFrameMkLst>
            <pc:docMk/>
            <pc:sldMk cId="2279223299" sldId="2147471791"/>
            <ac:graphicFrameMk id="14" creationId="{00000000-0000-0000-0000-000000000000}"/>
          </ac:graphicFrameMkLst>
        </pc:graphicFrameChg>
      </pc:sldChg>
      <pc:sldChg chg="addSp delSp modSp add del mod">
        <pc:chgData name="John Paserba" userId="77bd6c8a-d0c1-4fea-8705-0169f65d0c0e" providerId="ADAL" clId="{FD5E66A9-D36E-40B5-9161-8BB75765BB68}" dt="2025-10-14T02:04:56.430" v="4908" actId="2696"/>
        <pc:sldMkLst>
          <pc:docMk/>
          <pc:sldMk cId="1601958658" sldId="2147471792"/>
        </pc:sldMkLst>
        <pc:spChg chg="del">
          <ac:chgData name="John Paserba" userId="77bd6c8a-d0c1-4fea-8705-0169f65d0c0e" providerId="ADAL" clId="{FD5E66A9-D36E-40B5-9161-8BB75765BB68}" dt="2025-10-12T04:28:19.696" v="320" actId="478"/>
          <ac:spMkLst>
            <pc:docMk/>
            <pc:sldMk cId="1601958658" sldId="2147471792"/>
            <ac:spMk id="3" creationId="{E6993746-A424-4F09-867F-B919F4E18ECB}"/>
          </ac:spMkLst>
        </pc:spChg>
        <pc:spChg chg="add del mod">
          <ac:chgData name="John Paserba" userId="77bd6c8a-d0c1-4fea-8705-0169f65d0c0e" providerId="ADAL" clId="{FD5E66A9-D36E-40B5-9161-8BB75765BB68}" dt="2025-10-12T04:28:21.560" v="321" actId="478"/>
          <ac:spMkLst>
            <pc:docMk/>
            <pc:sldMk cId="1601958658" sldId="2147471792"/>
            <ac:spMk id="12" creationId="{2D3AB994-A002-488F-8C3A-EAD7C97CA01C}"/>
          </ac:spMkLst>
        </pc:spChg>
        <pc:spChg chg="mod">
          <ac:chgData name="John Paserba" userId="77bd6c8a-d0c1-4fea-8705-0169f65d0c0e" providerId="ADAL" clId="{FD5E66A9-D36E-40B5-9161-8BB75765BB68}" dt="2025-10-12T23:03:34.138" v="2878" actId="255"/>
          <ac:spMkLst>
            <pc:docMk/>
            <pc:sldMk cId="1601958658" sldId="2147471792"/>
            <ac:spMk id="3328002" creationId="{00000000-0000-0000-0000-000000000000}"/>
          </ac:spMkLst>
        </pc:spChg>
      </pc:sldChg>
      <pc:sldChg chg="modSp add del mod">
        <pc:chgData name="John Paserba" userId="77bd6c8a-d0c1-4fea-8705-0169f65d0c0e" providerId="ADAL" clId="{FD5E66A9-D36E-40B5-9161-8BB75765BB68}" dt="2025-10-14T02:04:56.430" v="4908" actId="2696"/>
        <pc:sldMkLst>
          <pc:docMk/>
          <pc:sldMk cId="1264038387" sldId="2147471793"/>
        </pc:sldMkLst>
        <pc:spChg chg="mod">
          <ac:chgData name="John Paserba" userId="77bd6c8a-d0c1-4fea-8705-0169f65d0c0e" providerId="ADAL" clId="{FD5E66A9-D36E-40B5-9161-8BB75765BB68}" dt="2025-10-12T15:34:06.475" v="444" actId="20577"/>
          <ac:spMkLst>
            <pc:docMk/>
            <pc:sldMk cId="1264038387" sldId="2147471793"/>
            <ac:spMk id="3" creationId="{E6993746-A424-4F09-867F-B919F4E18ECB}"/>
          </ac:spMkLst>
        </pc:spChg>
        <pc:spChg chg="mod">
          <ac:chgData name="John Paserba" userId="77bd6c8a-d0c1-4fea-8705-0169f65d0c0e" providerId="ADAL" clId="{FD5E66A9-D36E-40B5-9161-8BB75765BB68}" dt="2025-10-12T23:03:40.129" v="2879" actId="255"/>
          <ac:spMkLst>
            <pc:docMk/>
            <pc:sldMk cId="1264038387" sldId="2147471793"/>
            <ac:spMk id="3328002" creationId="{00000000-0000-0000-0000-000000000000}"/>
          </ac:spMkLst>
        </pc:spChg>
      </pc:sldChg>
      <pc:sldChg chg="add del">
        <pc:chgData name="John Paserba" userId="77bd6c8a-d0c1-4fea-8705-0169f65d0c0e" providerId="ADAL" clId="{FD5E66A9-D36E-40B5-9161-8BB75765BB68}" dt="2025-10-12T15:34:08.169" v="445" actId="47"/>
        <pc:sldMkLst>
          <pc:docMk/>
          <pc:sldMk cId="1964088298" sldId="2147471794"/>
        </pc:sldMkLst>
      </pc:sldChg>
      <pc:sldChg chg="modSp del mod">
        <pc:chgData name="John Paserba" userId="77bd6c8a-d0c1-4fea-8705-0169f65d0c0e" providerId="ADAL" clId="{FD5E66A9-D36E-40B5-9161-8BB75765BB68}" dt="2025-10-12T16:41:53.125" v="799" actId="47"/>
        <pc:sldMkLst>
          <pc:docMk/>
          <pc:sldMk cId="94917812" sldId="2147471795"/>
        </pc:sldMkLst>
        <pc:spChg chg="mod">
          <ac:chgData name="John Paserba" userId="77bd6c8a-d0c1-4fea-8705-0169f65d0c0e" providerId="ADAL" clId="{FD5E66A9-D36E-40B5-9161-8BB75765BB68}" dt="2025-10-12T15:35:26.622" v="450" actId="2711"/>
          <ac:spMkLst>
            <pc:docMk/>
            <pc:sldMk cId="94917812" sldId="2147471795"/>
            <ac:spMk id="3328002" creationId="{00000000-0000-0000-0000-000000000000}"/>
          </ac:spMkLst>
        </pc:spChg>
      </pc:sldChg>
      <pc:sldChg chg="addSp modSp mod">
        <pc:chgData name="John Paserba" userId="77bd6c8a-d0c1-4fea-8705-0169f65d0c0e" providerId="ADAL" clId="{FD5E66A9-D36E-40B5-9161-8BB75765BB68}" dt="2025-10-13T02:15:24.054" v="3989" actId="207"/>
        <pc:sldMkLst>
          <pc:docMk/>
          <pc:sldMk cId="4011912219" sldId="2147471796"/>
        </pc:sldMkLst>
        <pc:spChg chg="mod">
          <ac:chgData name="John Paserba" userId="77bd6c8a-d0c1-4fea-8705-0169f65d0c0e" providerId="ADAL" clId="{FD5E66A9-D36E-40B5-9161-8BB75765BB68}" dt="2025-10-13T02:15:24.054" v="3989" actId="207"/>
          <ac:spMkLst>
            <pc:docMk/>
            <pc:sldMk cId="4011912219" sldId="2147471796"/>
            <ac:spMk id="3" creationId="{E6993746-A424-4F09-867F-B919F4E18ECB}"/>
          </ac:spMkLst>
        </pc:spChg>
        <pc:spChg chg="add mod">
          <ac:chgData name="John Paserba" userId="77bd6c8a-d0c1-4fea-8705-0169f65d0c0e" providerId="ADAL" clId="{FD5E66A9-D36E-40B5-9161-8BB75765BB68}" dt="2025-10-12T15:37:49.010" v="460" actId="2711"/>
          <ac:spMkLst>
            <pc:docMk/>
            <pc:sldMk cId="4011912219" sldId="2147471796"/>
            <ac:spMk id="12" creationId="{5E65637B-AE32-4DE1-B79B-5D711C760442}"/>
          </ac:spMkLst>
        </pc:spChg>
      </pc:sldChg>
      <pc:sldChg chg="addSp modSp mod">
        <pc:chgData name="John Paserba" userId="77bd6c8a-d0c1-4fea-8705-0169f65d0c0e" providerId="ADAL" clId="{FD5E66A9-D36E-40B5-9161-8BB75765BB68}" dt="2025-10-12T20:25:03.828" v="1251" actId="207"/>
        <pc:sldMkLst>
          <pc:docMk/>
          <pc:sldMk cId="1045465934" sldId="2147471797"/>
        </pc:sldMkLst>
        <pc:spChg chg="mod">
          <ac:chgData name="John Paserba" userId="77bd6c8a-d0c1-4fea-8705-0169f65d0c0e" providerId="ADAL" clId="{FD5E66A9-D36E-40B5-9161-8BB75765BB68}" dt="2025-10-12T20:25:03.828" v="1251" actId="207"/>
          <ac:spMkLst>
            <pc:docMk/>
            <pc:sldMk cId="1045465934" sldId="2147471797"/>
            <ac:spMk id="3" creationId="{E6993746-A424-4F09-867F-B919F4E18ECB}"/>
          </ac:spMkLst>
        </pc:spChg>
        <pc:spChg chg="add mod">
          <ac:chgData name="John Paserba" userId="77bd6c8a-d0c1-4fea-8705-0169f65d0c0e" providerId="ADAL" clId="{FD5E66A9-D36E-40B5-9161-8BB75765BB68}" dt="2025-10-12T15:37:54.684" v="461" actId="2711"/>
          <ac:spMkLst>
            <pc:docMk/>
            <pc:sldMk cId="1045465934" sldId="2147471797"/>
            <ac:spMk id="12" creationId="{FAEDE767-0E96-402C-9127-279147D19B95}"/>
          </ac:spMkLst>
        </pc:spChg>
      </pc:sldChg>
      <pc:sldChg chg="addSp delSp modSp mod">
        <pc:chgData name="John Paserba" userId="77bd6c8a-d0c1-4fea-8705-0169f65d0c0e" providerId="ADAL" clId="{FD5E66A9-D36E-40B5-9161-8BB75765BB68}" dt="2025-10-14T01:43:28.792" v="4808"/>
        <pc:sldMkLst>
          <pc:docMk/>
          <pc:sldMk cId="813813943" sldId="2147471798"/>
        </pc:sldMkLst>
        <pc:spChg chg="mod">
          <ac:chgData name="John Paserba" userId="77bd6c8a-d0c1-4fea-8705-0169f65d0c0e" providerId="ADAL" clId="{FD5E66A9-D36E-40B5-9161-8BB75765BB68}" dt="2025-10-12T22:08:08.695" v="2132" actId="27636"/>
          <ac:spMkLst>
            <pc:docMk/>
            <pc:sldMk cId="813813943" sldId="2147471798"/>
            <ac:spMk id="3" creationId="{E6993746-A424-4F09-867F-B919F4E18ECB}"/>
          </ac:spMkLst>
        </pc:spChg>
        <pc:spChg chg="add del mod">
          <ac:chgData name="John Paserba" userId="77bd6c8a-d0c1-4fea-8705-0169f65d0c0e" providerId="ADAL" clId="{FD5E66A9-D36E-40B5-9161-8BB75765BB68}" dt="2025-10-14T01:41:57.563" v="4807" actId="21"/>
          <ac:spMkLst>
            <pc:docMk/>
            <pc:sldMk cId="813813943" sldId="2147471798"/>
            <ac:spMk id="12" creationId="{D6A5BC9B-1E83-40CB-B6FE-C46B102E2C97}"/>
          </ac:spMkLst>
        </pc:spChg>
        <pc:spChg chg="add mod">
          <ac:chgData name="John Paserba" userId="77bd6c8a-d0c1-4fea-8705-0169f65d0c0e" providerId="ADAL" clId="{FD5E66A9-D36E-40B5-9161-8BB75765BB68}" dt="2025-10-14T01:43:28.792" v="4808"/>
          <ac:spMkLst>
            <pc:docMk/>
            <pc:sldMk cId="813813943" sldId="2147471798"/>
            <ac:spMk id="13" creationId="{F17266FD-CAF5-4F4F-9073-1DFE9C856E05}"/>
          </ac:spMkLst>
        </pc:spChg>
        <pc:spChg chg="mod">
          <ac:chgData name="John Paserba" userId="77bd6c8a-d0c1-4fea-8705-0169f65d0c0e" providerId="ADAL" clId="{FD5E66A9-D36E-40B5-9161-8BB75765BB68}" dt="2025-10-12T23:03:25.235" v="2877" actId="255"/>
          <ac:spMkLst>
            <pc:docMk/>
            <pc:sldMk cId="813813943" sldId="2147471798"/>
            <ac:spMk id="3328002" creationId="{00000000-0000-0000-0000-000000000000}"/>
          </ac:spMkLst>
        </pc:spChg>
      </pc:sldChg>
      <pc:sldChg chg="modSp add del mod">
        <pc:chgData name="John Paserba" userId="77bd6c8a-d0c1-4fea-8705-0169f65d0c0e" providerId="ADAL" clId="{FD5E66A9-D36E-40B5-9161-8BB75765BB68}" dt="2025-10-14T02:04:56.430" v="4908" actId="2696"/>
        <pc:sldMkLst>
          <pc:docMk/>
          <pc:sldMk cId="2303751043" sldId="2147471799"/>
        </pc:sldMkLst>
        <pc:spChg chg="mod">
          <ac:chgData name="John Paserba" userId="77bd6c8a-d0c1-4fea-8705-0169f65d0c0e" providerId="ADAL" clId="{FD5E66A9-D36E-40B5-9161-8BB75765BB68}" dt="2025-10-12T23:03:45.371" v="2880" actId="255"/>
          <ac:spMkLst>
            <pc:docMk/>
            <pc:sldMk cId="2303751043" sldId="2147471799"/>
            <ac:spMk id="3328002" creationId="{00000000-0000-0000-0000-000000000000}"/>
          </ac:spMkLst>
        </pc:spChg>
      </pc:sldChg>
      <pc:sldChg chg="modSp add del mod">
        <pc:chgData name="John Paserba" userId="77bd6c8a-d0c1-4fea-8705-0169f65d0c0e" providerId="ADAL" clId="{FD5E66A9-D36E-40B5-9161-8BB75765BB68}" dt="2025-10-14T02:04:56.430" v="4908" actId="2696"/>
        <pc:sldMkLst>
          <pc:docMk/>
          <pc:sldMk cId="55366222" sldId="2147471800"/>
        </pc:sldMkLst>
        <pc:spChg chg="mod">
          <ac:chgData name="John Paserba" userId="77bd6c8a-d0c1-4fea-8705-0169f65d0c0e" providerId="ADAL" clId="{FD5E66A9-D36E-40B5-9161-8BB75765BB68}" dt="2025-10-12T23:03:50.614" v="2881" actId="255"/>
          <ac:spMkLst>
            <pc:docMk/>
            <pc:sldMk cId="55366222" sldId="2147471800"/>
            <ac:spMk id="3328002" creationId="{00000000-0000-0000-0000-000000000000}"/>
          </ac:spMkLst>
        </pc:spChg>
      </pc:sldChg>
      <pc:sldChg chg="modSp mod">
        <pc:chgData name="John Paserba" userId="77bd6c8a-d0c1-4fea-8705-0169f65d0c0e" providerId="ADAL" clId="{FD5E66A9-D36E-40B5-9161-8BB75765BB68}" dt="2025-10-14T01:38:13.862" v="4783" actId="20577"/>
        <pc:sldMkLst>
          <pc:docMk/>
          <pc:sldMk cId="935460224" sldId="2147471801"/>
        </pc:sldMkLst>
        <pc:spChg chg="mod">
          <ac:chgData name="John Paserba" userId="77bd6c8a-d0c1-4fea-8705-0169f65d0c0e" providerId="ADAL" clId="{FD5E66A9-D36E-40B5-9161-8BB75765BB68}" dt="2025-10-14T01:38:13.862" v="4783" actId="20577"/>
          <ac:spMkLst>
            <pc:docMk/>
            <pc:sldMk cId="935460224" sldId="2147471801"/>
            <ac:spMk id="2" creationId="{604011DC-D533-4243-B17F-6BCA0E778325}"/>
          </ac:spMkLst>
        </pc:spChg>
        <pc:spChg chg="mod">
          <ac:chgData name="John Paserba" userId="77bd6c8a-d0c1-4fea-8705-0169f65d0c0e" providerId="ADAL" clId="{FD5E66A9-D36E-40B5-9161-8BB75765BB68}" dt="2025-10-14T01:37:56.688" v="4753" actId="20577"/>
          <ac:spMkLst>
            <pc:docMk/>
            <pc:sldMk cId="935460224" sldId="2147471801"/>
            <ac:spMk id="4" creationId="{935F3E8D-84AC-4F81-B4E8-B40C01F0E096}"/>
          </ac:spMkLst>
        </pc:spChg>
      </pc:sldChg>
      <pc:sldChg chg="addSp delSp modSp add mod">
        <pc:chgData name="John Paserba" userId="77bd6c8a-d0c1-4fea-8705-0169f65d0c0e" providerId="ADAL" clId="{FD5E66A9-D36E-40B5-9161-8BB75765BB68}" dt="2025-10-14T01:46:46.690" v="4814" actId="255"/>
        <pc:sldMkLst>
          <pc:docMk/>
          <pc:sldMk cId="1100047433" sldId="2147471802"/>
        </pc:sldMkLst>
        <pc:spChg chg="mod">
          <ac:chgData name="John Paserba" userId="77bd6c8a-d0c1-4fea-8705-0169f65d0c0e" providerId="ADAL" clId="{FD5E66A9-D36E-40B5-9161-8BB75765BB68}" dt="2025-10-12T16:31:48.749" v="662" actId="6549"/>
          <ac:spMkLst>
            <pc:docMk/>
            <pc:sldMk cId="1100047433" sldId="2147471802"/>
            <ac:spMk id="3328002" creationId="{00000000-0000-0000-0000-000000000000}"/>
          </ac:spMkLst>
        </pc:spChg>
        <pc:graphicFrameChg chg="del">
          <ac:chgData name="John Paserba" userId="77bd6c8a-d0c1-4fea-8705-0169f65d0c0e" providerId="ADAL" clId="{FD5E66A9-D36E-40B5-9161-8BB75765BB68}" dt="2025-10-12T16:31:51.615" v="663" actId="478"/>
          <ac:graphicFrameMkLst>
            <pc:docMk/>
            <pc:sldMk cId="1100047433" sldId="2147471802"/>
            <ac:graphicFrameMk id="2" creationId="{B809C0CC-4BD5-46B8-B8AB-8C897E10C7A7}"/>
          </ac:graphicFrameMkLst>
        </pc:graphicFrameChg>
        <pc:graphicFrameChg chg="add mod modGraphic">
          <ac:chgData name="John Paserba" userId="77bd6c8a-d0c1-4fea-8705-0169f65d0c0e" providerId="ADAL" clId="{FD5E66A9-D36E-40B5-9161-8BB75765BB68}" dt="2025-10-14T01:46:46.690" v="4814" actId="255"/>
          <ac:graphicFrameMkLst>
            <pc:docMk/>
            <pc:sldMk cId="1100047433" sldId="2147471802"/>
            <ac:graphicFrameMk id="2" creationId="{DC5099DB-E32D-4104-BCAA-50D2853A3BC4}"/>
          </ac:graphicFrameMkLst>
        </pc:graphicFrameChg>
        <pc:graphicFrameChg chg="add del mod modGraphic">
          <ac:chgData name="John Paserba" userId="77bd6c8a-d0c1-4fea-8705-0169f65d0c0e" providerId="ADAL" clId="{FD5E66A9-D36E-40B5-9161-8BB75765BB68}" dt="2025-10-14T01:46:21.807" v="4809" actId="478"/>
          <ac:graphicFrameMkLst>
            <pc:docMk/>
            <pc:sldMk cId="1100047433" sldId="2147471802"/>
            <ac:graphicFrameMk id="3" creationId="{9C309FF4-A0D2-4FF1-804A-A9DA038974B3}"/>
          </ac:graphicFrameMkLst>
        </pc:graphicFrameChg>
      </pc:sldChg>
      <pc:sldChg chg="addSp delSp modSp mod">
        <pc:chgData name="John Paserba" userId="77bd6c8a-d0c1-4fea-8705-0169f65d0c0e" providerId="ADAL" clId="{FD5E66A9-D36E-40B5-9161-8BB75765BB68}" dt="2025-10-12T20:28:21.912" v="1283"/>
        <pc:sldMkLst>
          <pc:docMk/>
          <pc:sldMk cId="3043239507" sldId="2147471803"/>
        </pc:sldMkLst>
        <pc:spChg chg="add mod">
          <ac:chgData name="John Paserba" userId="77bd6c8a-d0c1-4fea-8705-0169f65d0c0e" providerId="ADAL" clId="{FD5E66A9-D36E-40B5-9161-8BB75765BB68}" dt="2025-10-12T20:28:14.468" v="1282" actId="1076"/>
          <ac:spMkLst>
            <pc:docMk/>
            <pc:sldMk cId="3043239507" sldId="2147471803"/>
            <ac:spMk id="12" creationId="{4B9A1A8A-9F93-4C35-8C7B-7F676EB05A04}"/>
          </ac:spMkLst>
        </pc:spChg>
        <pc:spChg chg="add mod">
          <ac:chgData name="John Paserba" userId="77bd6c8a-d0c1-4fea-8705-0169f65d0c0e" providerId="ADAL" clId="{FD5E66A9-D36E-40B5-9161-8BB75765BB68}" dt="2025-10-12T20:28:21.912" v="1283"/>
          <ac:spMkLst>
            <pc:docMk/>
            <pc:sldMk cId="3043239507" sldId="2147471803"/>
            <ac:spMk id="14" creationId="{214A0F9F-0876-4E69-A31A-51E34086B3B3}"/>
          </ac:spMkLst>
        </pc:spChg>
        <pc:spChg chg="mod">
          <ac:chgData name="John Paserba" userId="77bd6c8a-d0c1-4fea-8705-0169f65d0c0e" providerId="ADAL" clId="{FD5E66A9-D36E-40B5-9161-8BB75765BB68}" dt="2025-10-12T16:49:15.972" v="849"/>
          <ac:spMkLst>
            <pc:docMk/>
            <pc:sldMk cId="3043239507" sldId="2147471803"/>
            <ac:spMk id="3328002" creationId="{00000000-0000-0000-0000-000000000000}"/>
          </ac:spMkLst>
        </pc:spChg>
        <pc:graphicFrameChg chg="add del mod">
          <ac:chgData name="John Paserba" userId="77bd6c8a-d0c1-4fea-8705-0169f65d0c0e" providerId="ADAL" clId="{FD5E66A9-D36E-40B5-9161-8BB75765BB68}" dt="2025-10-12T16:54:18.228" v="898" actId="21"/>
          <ac:graphicFrameMkLst>
            <pc:docMk/>
            <pc:sldMk cId="3043239507" sldId="2147471803"/>
            <ac:graphicFrameMk id="12" creationId="{395347C4-88DB-4845-AD58-BF1D060FE634}"/>
          </ac:graphicFrameMkLst>
        </pc:graphicFrameChg>
        <pc:graphicFrameChg chg="add mod">
          <ac:chgData name="John Paserba" userId="77bd6c8a-d0c1-4fea-8705-0169f65d0c0e" providerId="ADAL" clId="{FD5E66A9-D36E-40B5-9161-8BB75765BB68}" dt="2025-10-12T16:54:34.800" v="903"/>
          <ac:graphicFrameMkLst>
            <pc:docMk/>
            <pc:sldMk cId="3043239507" sldId="2147471803"/>
            <ac:graphicFrameMk id="13" creationId="{C46B8087-3227-412C-BCC9-AC991C30A0D1}"/>
          </ac:graphicFrameMkLst>
        </pc:graphicFrameChg>
      </pc:sldChg>
      <pc:sldChg chg="addSp delSp modSp mod">
        <pc:chgData name="John Paserba" userId="77bd6c8a-d0c1-4fea-8705-0169f65d0c0e" providerId="ADAL" clId="{FD5E66A9-D36E-40B5-9161-8BB75765BB68}" dt="2025-10-12T20:28:01.561" v="1279" actId="20577"/>
        <pc:sldMkLst>
          <pc:docMk/>
          <pc:sldMk cId="3891239705" sldId="2147471804"/>
        </pc:sldMkLst>
        <pc:spChg chg="add mod">
          <ac:chgData name="John Paserba" userId="77bd6c8a-d0c1-4fea-8705-0169f65d0c0e" providerId="ADAL" clId="{FD5E66A9-D36E-40B5-9161-8BB75765BB68}" dt="2025-10-12T20:27:44.224" v="1272" actId="1076"/>
          <ac:spMkLst>
            <pc:docMk/>
            <pc:sldMk cId="3891239705" sldId="2147471804"/>
            <ac:spMk id="13" creationId="{03A500A4-1925-426C-8A2C-DFDD2811D6C6}"/>
          </ac:spMkLst>
        </pc:spChg>
        <pc:spChg chg="add mod">
          <ac:chgData name="John Paserba" userId="77bd6c8a-d0c1-4fea-8705-0169f65d0c0e" providerId="ADAL" clId="{FD5E66A9-D36E-40B5-9161-8BB75765BB68}" dt="2025-10-12T20:28:01.561" v="1279" actId="20577"/>
          <ac:spMkLst>
            <pc:docMk/>
            <pc:sldMk cId="3891239705" sldId="2147471804"/>
            <ac:spMk id="14" creationId="{B0961316-14FD-4FDD-ABCE-5A0A704097A0}"/>
          </ac:spMkLst>
        </pc:spChg>
        <pc:spChg chg="mod">
          <ac:chgData name="John Paserba" userId="77bd6c8a-d0c1-4fea-8705-0169f65d0c0e" providerId="ADAL" clId="{FD5E66A9-D36E-40B5-9161-8BB75765BB68}" dt="2025-10-12T16:49:26.047" v="851" actId="20577"/>
          <ac:spMkLst>
            <pc:docMk/>
            <pc:sldMk cId="3891239705" sldId="2147471804"/>
            <ac:spMk id="3328002" creationId="{00000000-0000-0000-0000-000000000000}"/>
          </ac:spMkLst>
        </pc:spChg>
        <pc:graphicFrameChg chg="add mod">
          <ac:chgData name="John Paserba" userId="77bd6c8a-d0c1-4fea-8705-0169f65d0c0e" providerId="ADAL" clId="{FD5E66A9-D36E-40B5-9161-8BB75765BB68}" dt="2025-10-12T16:54:00.468" v="890" actId="1037"/>
          <ac:graphicFrameMkLst>
            <pc:docMk/>
            <pc:sldMk cId="3891239705" sldId="2147471804"/>
            <ac:graphicFrameMk id="12" creationId="{921DD859-D1CD-4012-B079-FC8EF64E4EB4}"/>
          </ac:graphicFrameMkLst>
        </pc:graphicFrameChg>
        <pc:graphicFrameChg chg="add del mod">
          <ac:chgData name="John Paserba" userId="77bd6c8a-d0c1-4fea-8705-0169f65d0c0e" providerId="ADAL" clId="{FD5E66A9-D36E-40B5-9161-8BB75765BB68}" dt="2025-10-12T16:54:31.171" v="902" actId="21"/>
          <ac:graphicFrameMkLst>
            <pc:docMk/>
            <pc:sldMk cId="3891239705" sldId="2147471804"/>
            <ac:graphicFrameMk id="13" creationId="{1555F8B1-30C7-4686-9CBE-C09C5DF082B1}"/>
          </ac:graphicFrameMkLst>
        </pc:graphicFrameChg>
      </pc:sldChg>
      <pc:sldChg chg="addSp delSp modSp mod">
        <pc:chgData name="John Paserba" userId="77bd6c8a-d0c1-4fea-8705-0169f65d0c0e" providerId="ADAL" clId="{FD5E66A9-D36E-40B5-9161-8BB75765BB68}" dt="2025-10-12T20:27:03.612" v="1270" actId="6549"/>
        <pc:sldMkLst>
          <pc:docMk/>
          <pc:sldMk cId="4089811063" sldId="2147471805"/>
        </pc:sldMkLst>
        <pc:spChg chg="add del mod">
          <ac:chgData name="John Paserba" userId="77bd6c8a-d0c1-4fea-8705-0169f65d0c0e" providerId="ADAL" clId="{FD5E66A9-D36E-40B5-9161-8BB75765BB68}" dt="2025-10-12T18:00:32.325" v="923" actId="478"/>
          <ac:spMkLst>
            <pc:docMk/>
            <pc:sldMk cId="4089811063" sldId="2147471805"/>
            <ac:spMk id="5" creationId="{07E476FC-471D-48D1-9242-533E10860AD0}"/>
          </ac:spMkLst>
        </pc:spChg>
        <pc:spChg chg="del">
          <ac:chgData name="John Paserba" userId="77bd6c8a-d0c1-4fea-8705-0169f65d0c0e" providerId="ADAL" clId="{FD5E66A9-D36E-40B5-9161-8BB75765BB68}" dt="2025-10-12T18:00:48.796" v="927" actId="478"/>
          <ac:spMkLst>
            <pc:docMk/>
            <pc:sldMk cId="4089811063" sldId="2147471805"/>
            <ac:spMk id="13" creationId="{00000000-0000-0000-0000-000000000000}"/>
          </ac:spMkLst>
        </pc:spChg>
        <pc:spChg chg="del">
          <ac:chgData name="John Paserba" userId="77bd6c8a-d0c1-4fea-8705-0169f65d0c0e" providerId="ADAL" clId="{FD5E66A9-D36E-40B5-9161-8BB75765BB68}" dt="2025-10-12T18:00:51.826" v="928" actId="478"/>
          <ac:spMkLst>
            <pc:docMk/>
            <pc:sldMk cId="4089811063" sldId="2147471805"/>
            <ac:spMk id="17" creationId="{D3413B11-643B-4BAD-AAA4-AC17368C3043}"/>
          </ac:spMkLst>
        </pc:spChg>
        <pc:spChg chg="del">
          <ac:chgData name="John Paserba" userId="77bd6c8a-d0c1-4fea-8705-0169f65d0c0e" providerId="ADAL" clId="{FD5E66A9-D36E-40B5-9161-8BB75765BB68}" dt="2025-10-12T18:00:48.796" v="927" actId="478"/>
          <ac:spMkLst>
            <pc:docMk/>
            <pc:sldMk cId="4089811063" sldId="2147471805"/>
            <ac:spMk id="116741" creationId="{00000000-0000-0000-0000-000000000000}"/>
          </ac:spMkLst>
        </pc:spChg>
        <pc:spChg chg="del">
          <ac:chgData name="John Paserba" userId="77bd6c8a-d0c1-4fea-8705-0169f65d0c0e" providerId="ADAL" clId="{FD5E66A9-D36E-40B5-9161-8BB75765BB68}" dt="2025-10-12T18:00:43.476" v="926" actId="478"/>
          <ac:spMkLst>
            <pc:docMk/>
            <pc:sldMk cId="4089811063" sldId="2147471805"/>
            <ac:spMk id="116742" creationId="{00000000-0000-0000-0000-000000000000}"/>
          </ac:spMkLst>
        </pc:spChg>
        <pc:spChg chg="del">
          <ac:chgData name="John Paserba" userId="77bd6c8a-d0c1-4fea-8705-0169f65d0c0e" providerId="ADAL" clId="{FD5E66A9-D36E-40B5-9161-8BB75765BB68}" dt="2025-10-12T18:00:43.476" v="926" actId="478"/>
          <ac:spMkLst>
            <pc:docMk/>
            <pc:sldMk cId="4089811063" sldId="2147471805"/>
            <ac:spMk id="116743" creationId="{00000000-0000-0000-0000-000000000000}"/>
          </ac:spMkLst>
        </pc:spChg>
        <pc:spChg chg="del">
          <ac:chgData name="John Paserba" userId="77bd6c8a-d0c1-4fea-8705-0169f65d0c0e" providerId="ADAL" clId="{FD5E66A9-D36E-40B5-9161-8BB75765BB68}" dt="2025-10-12T18:00:43.476" v="926" actId="478"/>
          <ac:spMkLst>
            <pc:docMk/>
            <pc:sldMk cId="4089811063" sldId="2147471805"/>
            <ac:spMk id="116744" creationId="{00000000-0000-0000-0000-000000000000}"/>
          </ac:spMkLst>
        </pc:spChg>
        <pc:spChg chg="mod">
          <ac:chgData name="John Paserba" userId="77bd6c8a-d0c1-4fea-8705-0169f65d0c0e" providerId="ADAL" clId="{FD5E66A9-D36E-40B5-9161-8BB75765BB68}" dt="2025-10-12T18:04:07.974" v="966" actId="1038"/>
          <ac:spMkLst>
            <pc:docMk/>
            <pc:sldMk cId="4089811063" sldId="2147471805"/>
            <ac:spMk id="116746" creationId="{00000000-0000-0000-0000-000000000000}"/>
          </ac:spMkLst>
        </pc:spChg>
        <pc:spChg chg="add del mod">
          <ac:chgData name="John Paserba" userId="77bd6c8a-d0c1-4fea-8705-0169f65d0c0e" providerId="ADAL" clId="{FD5E66A9-D36E-40B5-9161-8BB75765BB68}" dt="2025-10-12T18:03:23.148" v="937" actId="255"/>
          <ac:spMkLst>
            <pc:docMk/>
            <pc:sldMk cId="4089811063" sldId="2147471805"/>
            <ac:spMk id="116747" creationId="{00000000-0000-0000-0000-000000000000}"/>
          </ac:spMkLst>
        </pc:spChg>
        <pc:spChg chg="mod">
          <ac:chgData name="John Paserba" userId="77bd6c8a-d0c1-4fea-8705-0169f65d0c0e" providerId="ADAL" clId="{FD5E66A9-D36E-40B5-9161-8BB75765BB68}" dt="2025-10-12T20:27:03.612" v="1270" actId="6549"/>
          <ac:spMkLst>
            <pc:docMk/>
            <pc:sldMk cId="4089811063" sldId="2147471805"/>
            <ac:spMk id="3328002" creationId="{00000000-0000-0000-0000-000000000000}"/>
          </ac:spMkLst>
        </pc:spChg>
        <pc:graphicFrameChg chg="del">
          <ac:chgData name="John Paserba" userId="77bd6c8a-d0c1-4fea-8705-0169f65d0c0e" providerId="ADAL" clId="{FD5E66A9-D36E-40B5-9161-8BB75765BB68}" dt="2025-10-12T18:00:29.233" v="922" actId="478"/>
          <ac:graphicFrameMkLst>
            <pc:docMk/>
            <pc:sldMk cId="4089811063" sldId="2147471805"/>
            <ac:graphicFrameMk id="2" creationId="{00000000-0000-0000-0000-000000000000}"/>
          </ac:graphicFrameMkLst>
        </pc:graphicFrameChg>
        <pc:graphicFrameChg chg="add del mod">
          <ac:chgData name="John Paserba" userId="77bd6c8a-d0c1-4fea-8705-0169f65d0c0e" providerId="ADAL" clId="{FD5E66A9-D36E-40B5-9161-8BB75765BB68}" dt="2025-10-12T18:07:15.892" v="968"/>
          <ac:graphicFrameMkLst>
            <pc:docMk/>
            <pc:sldMk cId="4089811063" sldId="2147471805"/>
            <ac:graphicFrameMk id="6" creationId="{2B1ACFC9-1508-4385-A96B-9049CC849068}"/>
          </ac:graphicFrameMkLst>
        </pc:graphicFrameChg>
        <pc:graphicFrameChg chg="add del mod modGraphic">
          <ac:chgData name="John Paserba" userId="77bd6c8a-d0c1-4fea-8705-0169f65d0c0e" providerId="ADAL" clId="{FD5E66A9-D36E-40B5-9161-8BB75765BB68}" dt="2025-10-12T18:08:58.240" v="990" actId="478"/>
          <ac:graphicFrameMkLst>
            <pc:docMk/>
            <pc:sldMk cId="4089811063" sldId="2147471805"/>
            <ac:graphicFrameMk id="7" creationId="{C93FC549-AE3E-4744-BEF0-C1B14169EE65}"/>
          </ac:graphicFrameMkLst>
        </pc:graphicFrameChg>
        <pc:graphicFrameChg chg="add del mod modGraphic">
          <ac:chgData name="John Paserba" userId="77bd6c8a-d0c1-4fea-8705-0169f65d0c0e" providerId="ADAL" clId="{FD5E66A9-D36E-40B5-9161-8BB75765BB68}" dt="2025-10-12T18:10:25.195" v="1013" actId="478"/>
          <ac:graphicFrameMkLst>
            <pc:docMk/>
            <pc:sldMk cId="4089811063" sldId="2147471805"/>
            <ac:graphicFrameMk id="8" creationId="{E6F9FFFA-505B-41EE-ADA5-00B6D4DBED90}"/>
          </ac:graphicFrameMkLst>
        </pc:graphicFrameChg>
        <pc:graphicFrameChg chg="add del mod modGraphic">
          <ac:chgData name="John Paserba" userId="77bd6c8a-d0c1-4fea-8705-0169f65d0c0e" providerId="ADAL" clId="{FD5E66A9-D36E-40B5-9161-8BB75765BB68}" dt="2025-10-12T18:13:36.456" v="1020" actId="478"/>
          <ac:graphicFrameMkLst>
            <pc:docMk/>
            <pc:sldMk cId="4089811063" sldId="2147471805"/>
            <ac:graphicFrameMk id="9" creationId="{AC60817D-BA8D-4EAB-849B-75C9918DEFCD}"/>
          </ac:graphicFrameMkLst>
        </pc:graphicFrameChg>
        <pc:graphicFrameChg chg="add mod modGraphic">
          <ac:chgData name="John Paserba" userId="77bd6c8a-d0c1-4fea-8705-0169f65d0c0e" providerId="ADAL" clId="{FD5E66A9-D36E-40B5-9161-8BB75765BB68}" dt="2025-10-12T18:15:12.790" v="1038" actId="1076"/>
          <ac:graphicFrameMkLst>
            <pc:docMk/>
            <pc:sldMk cId="4089811063" sldId="2147471805"/>
            <ac:graphicFrameMk id="10" creationId="{068A06D8-86D3-466E-BE0F-48A29B0C8CB3}"/>
          </ac:graphicFrameMkLst>
        </pc:graphicFrameChg>
        <pc:graphicFrameChg chg="del">
          <ac:chgData name="John Paserba" userId="77bd6c8a-d0c1-4fea-8705-0169f65d0c0e" providerId="ADAL" clId="{FD5E66A9-D36E-40B5-9161-8BB75765BB68}" dt="2025-10-12T18:02:50.175" v="931" actId="478"/>
          <ac:graphicFrameMkLst>
            <pc:docMk/>
            <pc:sldMk cId="4089811063" sldId="2147471805"/>
            <ac:graphicFrameMk id="12" creationId="{00000000-0000-0000-0000-000000000000}"/>
          </ac:graphicFrameMkLst>
        </pc:graphicFrameChg>
        <pc:graphicFrameChg chg="del">
          <ac:chgData name="John Paserba" userId="77bd6c8a-d0c1-4fea-8705-0169f65d0c0e" providerId="ADAL" clId="{FD5E66A9-D36E-40B5-9161-8BB75765BB68}" dt="2025-10-12T18:02:50.175" v="931" actId="478"/>
          <ac:graphicFrameMkLst>
            <pc:docMk/>
            <pc:sldMk cId="4089811063" sldId="2147471805"/>
            <ac:graphicFrameMk id="16" creationId="{151355DB-8330-463A-ADC2-F2EA31C5757D}"/>
          </ac:graphicFrameMkLst>
        </pc:graphicFrameChg>
        <pc:graphicFrameChg chg="add mod">
          <ac:chgData name="John Paserba" userId="77bd6c8a-d0c1-4fea-8705-0169f65d0c0e" providerId="ADAL" clId="{FD5E66A9-D36E-40B5-9161-8BB75765BB68}" dt="2025-10-12T18:16:22.908" v="1042"/>
          <ac:graphicFrameMkLst>
            <pc:docMk/>
            <pc:sldMk cId="4089811063" sldId="2147471805"/>
            <ac:graphicFrameMk id="18" creationId="{694784B8-BA0E-45AA-A84E-4261176F6834}"/>
          </ac:graphicFrameMkLst>
        </pc:graphicFrameChg>
      </pc:sldChg>
      <pc:sldChg chg="modSp add del mod">
        <pc:chgData name="John Paserba" userId="77bd6c8a-d0c1-4fea-8705-0169f65d0c0e" providerId="ADAL" clId="{FD5E66A9-D36E-40B5-9161-8BB75765BB68}" dt="2025-10-12T20:45:09.237" v="1369" actId="47"/>
        <pc:sldMkLst>
          <pc:docMk/>
          <pc:sldMk cId="764219547" sldId="2147471806"/>
        </pc:sldMkLst>
        <pc:spChg chg="mod">
          <ac:chgData name="John Paserba" userId="77bd6c8a-d0c1-4fea-8705-0169f65d0c0e" providerId="ADAL" clId="{FD5E66A9-D36E-40B5-9161-8BB75765BB68}" dt="2025-10-12T20:44:20.570" v="1349" actId="20577"/>
          <ac:spMkLst>
            <pc:docMk/>
            <pc:sldMk cId="764219547" sldId="2147471806"/>
            <ac:spMk id="2" creationId="{24EFA49A-D6F0-94EB-2E4A-46AC510574DD}"/>
          </ac:spMkLst>
        </pc:spChg>
      </pc:sldChg>
      <pc:sldChg chg="modSp add del mod">
        <pc:chgData name="John Paserba" userId="77bd6c8a-d0c1-4fea-8705-0169f65d0c0e" providerId="ADAL" clId="{FD5E66A9-D36E-40B5-9161-8BB75765BB68}" dt="2025-10-12T20:57:41.168" v="1578" actId="47"/>
        <pc:sldMkLst>
          <pc:docMk/>
          <pc:sldMk cId="482600827" sldId="2147471807"/>
        </pc:sldMkLst>
        <pc:spChg chg="mod">
          <ac:chgData name="John Paserba" userId="77bd6c8a-d0c1-4fea-8705-0169f65d0c0e" providerId="ADAL" clId="{FD5E66A9-D36E-40B5-9161-8BB75765BB68}" dt="2025-10-12T20:47:11.723" v="1376" actId="20577"/>
          <ac:spMkLst>
            <pc:docMk/>
            <pc:sldMk cId="482600827" sldId="2147471807"/>
            <ac:spMk id="2" creationId="{24EFA49A-D6F0-94EB-2E4A-46AC510574DD}"/>
          </ac:spMkLst>
        </pc:spChg>
      </pc:sldChg>
      <pc:sldChg chg="modSp add del mod">
        <pc:chgData name="John Paserba" userId="77bd6c8a-d0c1-4fea-8705-0169f65d0c0e" providerId="ADAL" clId="{FD5E66A9-D36E-40B5-9161-8BB75765BB68}" dt="2025-10-12T20:57:44.464" v="1579" actId="47"/>
        <pc:sldMkLst>
          <pc:docMk/>
          <pc:sldMk cId="2698895497" sldId="2147471808"/>
        </pc:sldMkLst>
        <pc:spChg chg="mod">
          <ac:chgData name="John Paserba" userId="77bd6c8a-d0c1-4fea-8705-0169f65d0c0e" providerId="ADAL" clId="{FD5E66A9-D36E-40B5-9161-8BB75765BB68}" dt="2025-10-12T20:47:21.329" v="1382" actId="20577"/>
          <ac:spMkLst>
            <pc:docMk/>
            <pc:sldMk cId="2698895497" sldId="2147471808"/>
            <ac:spMk id="2" creationId="{24EFA49A-D6F0-94EB-2E4A-46AC510574DD}"/>
          </ac:spMkLst>
        </pc:spChg>
      </pc:sldChg>
      <pc:sldChg chg="modSp add del mod">
        <pc:chgData name="John Paserba" userId="77bd6c8a-d0c1-4fea-8705-0169f65d0c0e" providerId="ADAL" clId="{FD5E66A9-D36E-40B5-9161-8BB75765BB68}" dt="2025-10-12T20:57:46.610" v="1580" actId="47"/>
        <pc:sldMkLst>
          <pc:docMk/>
          <pc:sldMk cId="2029531262" sldId="2147471809"/>
        </pc:sldMkLst>
        <pc:spChg chg="mod">
          <ac:chgData name="John Paserba" userId="77bd6c8a-d0c1-4fea-8705-0169f65d0c0e" providerId="ADAL" clId="{FD5E66A9-D36E-40B5-9161-8BB75765BB68}" dt="2025-10-12T20:47:36.970" v="1403" actId="20577"/>
          <ac:spMkLst>
            <pc:docMk/>
            <pc:sldMk cId="2029531262" sldId="2147471809"/>
            <ac:spMk id="2" creationId="{24EFA49A-D6F0-94EB-2E4A-46AC510574DD}"/>
          </ac:spMkLst>
        </pc:spChg>
      </pc:sldChg>
      <pc:sldChg chg="modSp add del mod">
        <pc:chgData name="John Paserba" userId="77bd6c8a-d0c1-4fea-8705-0169f65d0c0e" providerId="ADAL" clId="{FD5E66A9-D36E-40B5-9161-8BB75765BB68}" dt="2025-10-12T20:57:48.765" v="1581" actId="47"/>
        <pc:sldMkLst>
          <pc:docMk/>
          <pc:sldMk cId="2444943707" sldId="2147471810"/>
        </pc:sldMkLst>
        <pc:spChg chg="mod">
          <ac:chgData name="John Paserba" userId="77bd6c8a-d0c1-4fea-8705-0169f65d0c0e" providerId="ADAL" clId="{FD5E66A9-D36E-40B5-9161-8BB75765BB68}" dt="2025-10-12T20:54:46.289" v="1562" actId="20577"/>
          <ac:spMkLst>
            <pc:docMk/>
            <pc:sldMk cId="2444943707" sldId="2147471810"/>
            <ac:spMk id="2" creationId="{24EFA49A-D6F0-94EB-2E4A-46AC510574DD}"/>
          </ac:spMkLst>
        </pc:spChg>
      </pc:sldChg>
      <pc:sldChg chg="addSp delSp modSp add mod">
        <pc:chgData name="John Paserba" userId="77bd6c8a-d0c1-4fea-8705-0169f65d0c0e" providerId="ADAL" clId="{FD5E66A9-D36E-40B5-9161-8BB75765BB68}" dt="2025-10-12T23:03:58.842" v="2882" actId="255"/>
        <pc:sldMkLst>
          <pc:docMk/>
          <pc:sldMk cId="761989599" sldId="2147471811"/>
        </pc:sldMkLst>
        <pc:spChg chg="mod">
          <ac:chgData name="John Paserba" userId="77bd6c8a-d0c1-4fea-8705-0169f65d0c0e" providerId="ADAL" clId="{FD5E66A9-D36E-40B5-9161-8BB75765BB68}" dt="2025-10-12T22:45:23.083" v="2709" actId="207"/>
          <ac:spMkLst>
            <pc:docMk/>
            <pc:sldMk cId="761989599" sldId="2147471811"/>
            <ac:spMk id="3" creationId="{E6993746-A424-4F09-867F-B919F4E18ECB}"/>
          </ac:spMkLst>
        </pc:spChg>
        <pc:spChg chg="add del mod">
          <ac:chgData name="John Paserba" userId="77bd6c8a-d0c1-4fea-8705-0169f65d0c0e" providerId="ADAL" clId="{FD5E66A9-D36E-40B5-9161-8BB75765BB68}" dt="2025-10-12T22:43:34.992" v="2682" actId="21"/>
          <ac:spMkLst>
            <pc:docMk/>
            <pc:sldMk cId="761989599" sldId="2147471811"/>
            <ac:spMk id="12" creationId="{549442D7-2A00-4ADE-A620-F23E3407D3AD}"/>
          </ac:spMkLst>
        </pc:spChg>
        <pc:spChg chg="mod">
          <ac:chgData name="John Paserba" userId="77bd6c8a-d0c1-4fea-8705-0169f65d0c0e" providerId="ADAL" clId="{FD5E66A9-D36E-40B5-9161-8BB75765BB68}" dt="2025-10-12T23:03:58.842" v="2882" actId="255"/>
          <ac:spMkLst>
            <pc:docMk/>
            <pc:sldMk cId="761989599" sldId="2147471811"/>
            <ac:spMk id="3328002" creationId="{00000000-0000-0000-0000-000000000000}"/>
          </ac:spMkLst>
        </pc:spChg>
      </pc:sldChg>
      <pc:sldChg chg="modSp mod">
        <pc:chgData name="John Paserba" userId="77bd6c8a-d0c1-4fea-8705-0169f65d0c0e" providerId="ADAL" clId="{FD5E66A9-D36E-40B5-9161-8BB75765BB68}" dt="2025-10-12T20:58:35.416" v="1597" actId="20577"/>
        <pc:sldMkLst>
          <pc:docMk/>
          <pc:sldMk cId="2711581301" sldId="2147471812"/>
        </pc:sldMkLst>
        <pc:spChg chg="mod">
          <ac:chgData name="John Paserba" userId="77bd6c8a-d0c1-4fea-8705-0169f65d0c0e" providerId="ADAL" clId="{FD5E66A9-D36E-40B5-9161-8BB75765BB68}" dt="2025-10-12T20:58:35.416" v="1597" actId="20577"/>
          <ac:spMkLst>
            <pc:docMk/>
            <pc:sldMk cId="2711581301" sldId="2147471812"/>
            <ac:spMk id="12" creationId="{F45E667D-D9ED-4BE1-999E-2A4766484A8F}"/>
          </ac:spMkLst>
        </pc:spChg>
      </pc:sldChg>
      <pc:sldChg chg="addSp modSp mod">
        <pc:chgData name="John Paserba" userId="77bd6c8a-d0c1-4fea-8705-0169f65d0c0e" providerId="ADAL" clId="{FD5E66A9-D36E-40B5-9161-8BB75765BB68}" dt="2025-10-12T22:48:43.612" v="2730" actId="1036"/>
        <pc:sldMkLst>
          <pc:docMk/>
          <pc:sldMk cId="2169690140" sldId="2147471813"/>
        </pc:sldMkLst>
        <pc:spChg chg="add mod">
          <ac:chgData name="John Paserba" userId="77bd6c8a-d0c1-4fea-8705-0169f65d0c0e" providerId="ADAL" clId="{FD5E66A9-D36E-40B5-9161-8BB75765BB68}" dt="2025-10-12T22:48:20.046" v="2725" actId="1038"/>
          <ac:spMkLst>
            <pc:docMk/>
            <pc:sldMk cId="2169690140" sldId="2147471813"/>
            <ac:spMk id="9" creationId="{CF0BE9A5-2C29-48D0-8726-68BD8C807A2F}"/>
          </ac:spMkLst>
        </pc:spChg>
        <pc:spChg chg="add mod">
          <ac:chgData name="John Paserba" userId="77bd6c8a-d0c1-4fea-8705-0169f65d0c0e" providerId="ADAL" clId="{FD5E66A9-D36E-40B5-9161-8BB75765BB68}" dt="2025-10-12T22:48:29.191" v="2728" actId="1076"/>
          <ac:spMkLst>
            <pc:docMk/>
            <pc:sldMk cId="2169690140" sldId="2147471813"/>
            <ac:spMk id="10" creationId="{ABF4CBAA-2DA5-48F7-9E5F-AFC5FC4A0EF9}"/>
          </ac:spMkLst>
        </pc:spChg>
        <pc:spChg chg="add mod">
          <ac:chgData name="John Paserba" userId="77bd6c8a-d0c1-4fea-8705-0169f65d0c0e" providerId="ADAL" clId="{FD5E66A9-D36E-40B5-9161-8BB75765BB68}" dt="2025-10-12T22:47:43.822" v="2712" actId="1076"/>
          <ac:spMkLst>
            <pc:docMk/>
            <pc:sldMk cId="2169690140" sldId="2147471813"/>
            <ac:spMk id="11" creationId="{30442B94-AB85-4999-9407-FDFFEA7F7EDB}"/>
          </ac:spMkLst>
        </pc:spChg>
        <pc:picChg chg="add mod">
          <ac:chgData name="John Paserba" userId="77bd6c8a-d0c1-4fea-8705-0169f65d0c0e" providerId="ADAL" clId="{FD5E66A9-D36E-40B5-9161-8BB75765BB68}" dt="2025-10-12T22:48:43.612" v="2730" actId="1036"/>
          <ac:picMkLst>
            <pc:docMk/>
            <pc:sldMk cId="2169690140" sldId="2147471813"/>
            <ac:picMk id="4" creationId="{D87A4A7B-4F1B-4DF8-B666-EA1175A3C09C}"/>
          </ac:picMkLst>
        </pc:picChg>
        <pc:picChg chg="add mod">
          <ac:chgData name="John Paserba" userId="77bd6c8a-d0c1-4fea-8705-0169f65d0c0e" providerId="ADAL" clId="{FD5E66A9-D36E-40B5-9161-8BB75765BB68}" dt="2025-10-12T22:48:24.150" v="2727" actId="1076"/>
          <ac:picMkLst>
            <pc:docMk/>
            <pc:sldMk cId="2169690140" sldId="2147471813"/>
            <ac:picMk id="8" creationId="{E414D870-CD6F-4310-A34D-7926D83D3DDE}"/>
          </ac:picMkLst>
        </pc:picChg>
      </pc:sldChg>
      <pc:sldChg chg="add del">
        <pc:chgData name="John Paserba" userId="77bd6c8a-d0c1-4fea-8705-0169f65d0c0e" providerId="ADAL" clId="{FD5E66A9-D36E-40B5-9161-8BB75765BB68}" dt="2025-10-12T20:57:51.543" v="1582" actId="47"/>
        <pc:sldMkLst>
          <pc:docMk/>
          <pc:sldMk cId="3394275451" sldId="2147471813"/>
        </pc:sldMkLst>
      </pc:sldChg>
      <pc:sldChg chg="addSp modSp mod">
        <pc:chgData name="John Paserba" userId="77bd6c8a-d0c1-4fea-8705-0169f65d0c0e" providerId="ADAL" clId="{FD5E66A9-D36E-40B5-9161-8BB75765BB68}" dt="2025-10-12T21:23:30.029" v="1628" actId="2711"/>
        <pc:sldMkLst>
          <pc:docMk/>
          <pc:sldMk cId="3355548159" sldId="2147471814"/>
        </pc:sldMkLst>
        <pc:spChg chg="mod">
          <ac:chgData name="John Paserba" userId="77bd6c8a-d0c1-4fea-8705-0169f65d0c0e" providerId="ADAL" clId="{FD5E66A9-D36E-40B5-9161-8BB75765BB68}" dt="2025-10-12T21:19:10.308" v="1603"/>
          <ac:spMkLst>
            <pc:docMk/>
            <pc:sldMk cId="3355548159" sldId="2147471814"/>
            <ac:spMk id="9" creationId="{7D2F368C-AD11-496C-B9A5-F38849997DFA}"/>
          </ac:spMkLst>
        </pc:spChg>
        <pc:spChg chg="mod">
          <ac:chgData name="John Paserba" userId="77bd6c8a-d0c1-4fea-8705-0169f65d0c0e" providerId="ADAL" clId="{FD5E66A9-D36E-40B5-9161-8BB75765BB68}" dt="2025-10-12T21:19:10.308" v="1603"/>
          <ac:spMkLst>
            <pc:docMk/>
            <pc:sldMk cId="3355548159" sldId="2147471814"/>
            <ac:spMk id="12" creationId="{17447269-7B21-4E75-BF9C-BE924DFC4FA2}"/>
          </ac:spMkLst>
        </pc:spChg>
        <pc:spChg chg="mod">
          <ac:chgData name="John Paserba" userId="77bd6c8a-d0c1-4fea-8705-0169f65d0c0e" providerId="ADAL" clId="{FD5E66A9-D36E-40B5-9161-8BB75765BB68}" dt="2025-10-12T21:17:50.990" v="1598" actId="2711"/>
          <ac:spMkLst>
            <pc:docMk/>
            <pc:sldMk cId="3355548159" sldId="2147471814"/>
            <ac:spMk id="3328002" creationId="{00000000-0000-0000-0000-000000000000}"/>
          </ac:spMkLst>
        </pc:spChg>
        <pc:grpChg chg="add mod">
          <ac:chgData name="John Paserba" userId="77bd6c8a-d0c1-4fea-8705-0169f65d0c0e" providerId="ADAL" clId="{FD5E66A9-D36E-40B5-9161-8BB75765BB68}" dt="2025-10-12T21:19:10.308" v="1603"/>
          <ac:grpSpMkLst>
            <pc:docMk/>
            <pc:sldMk cId="3355548159" sldId="2147471814"/>
            <ac:grpSpMk id="7" creationId="{9C65178B-6901-4D42-AEDE-43AB683F1650}"/>
          </ac:grpSpMkLst>
        </pc:grpChg>
        <pc:grpChg chg="add mod">
          <ac:chgData name="John Paserba" userId="77bd6c8a-d0c1-4fea-8705-0169f65d0c0e" providerId="ADAL" clId="{FD5E66A9-D36E-40B5-9161-8BB75765BB68}" dt="2025-10-12T21:19:10.308" v="1603"/>
          <ac:grpSpMkLst>
            <pc:docMk/>
            <pc:sldMk cId="3355548159" sldId="2147471814"/>
            <ac:grpSpMk id="11" creationId="{5B5CFFED-D631-43B6-8BE4-DF2B92EE7EB5}"/>
          </ac:grpSpMkLst>
        </pc:grpChg>
        <pc:graphicFrameChg chg="modGraphic">
          <ac:chgData name="John Paserba" userId="77bd6c8a-d0c1-4fea-8705-0169f65d0c0e" providerId="ADAL" clId="{FD5E66A9-D36E-40B5-9161-8BB75765BB68}" dt="2025-10-12T21:23:30.029" v="1628" actId="2711"/>
          <ac:graphicFrameMkLst>
            <pc:docMk/>
            <pc:sldMk cId="3355548159" sldId="2147471814"/>
            <ac:graphicFrameMk id="2" creationId="{339A9C3E-2A9C-4598-9A5D-8D0DA731107A}"/>
          </ac:graphicFrameMkLst>
        </pc:graphicFrameChg>
        <pc:picChg chg="mod">
          <ac:chgData name="John Paserba" userId="77bd6c8a-d0c1-4fea-8705-0169f65d0c0e" providerId="ADAL" clId="{FD5E66A9-D36E-40B5-9161-8BB75765BB68}" dt="2025-10-12T21:19:10.308" v="1603"/>
          <ac:picMkLst>
            <pc:docMk/>
            <pc:sldMk cId="3355548159" sldId="2147471814"/>
            <ac:picMk id="10" creationId="{B76D3034-8536-407D-89F9-8CC8C43B9E54}"/>
          </ac:picMkLst>
        </pc:picChg>
        <pc:picChg chg="mod">
          <ac:chgData name="John Paserba" userId="77bd6c8a-d0c1-4fea-8705-0169f65d0c0e" providerId="ADAL" clId="{FD5E66A9-D36E-40B5-9161-8BB75765BB68}" dt="2025-10-12T21:19:10.308" v="1603"/>
          <ac:picMkLst>
            <pc:docMk/>
            <pc:sldMk cId="3355548159" sldId="2147471814"/>
            <ac:picMk id="13" creationId="{DD2FED3A-2B1B-4969-A457-2522864B1DA4}"/>
          </ac:picMkLst>
        </pc:picChg>
      </pc:sldChg>
      <pc:sldChg chg="addSp modSp mod modNotesTx">
        <pc:chgData name="John Paserba" userId="77bd6c8a-d0c1-4fea-8705-0169f65d0c0e" providerId="ADAL" clId="{FD5E66A9-D36E-40B5-9161-8BB75765BB68}" dt="2025-10-12T21:24:06.542" v="1631" actId="6549"/>
        <pc:sldMkLst>
          <pc:docMk/>
          <pc:sldMk cId="1601724199" sldId="2147471815"/>
        </pc:sldMkLst>
        <pc:spChg chg="mod">
          <ac:chgData name="John Paserba" userId="77bd6c8a-d0c1-4fea-8705-0169f65d0c0e" providerId="ADAL" clId="{FD5E66A9-D36E-40B5-9161-8BB75765BB68}" dt="2025-10-12T21:23:54.648" v="1630" actId="14100"/>
          <ac:spMkLst>
            <pc:docMk/>
            <pc:sldMk cId="1601724199" sldId="2147471815"/>
            <ac:spMk id="12" creationId="{4490859F-80A4-428B-A7D1-6A358FC282EE}"/>
          </ac:spMkLst>
        </pc:spChg>
        <pc:spChg chg="mod">
          <ac:chgData name="John Paserba" userId="77bd6c8a-d0c1-4fea-8705-0169f65d0c0e" providerId="ADAL" clId="{FD5E66A9-D36E-40B5-9161-8BB75765BB68}" dt="2025-10-12T21:19:14.314" v="1604"/>
          <ac:spMkLst>
            <pc:docMk/>
            <pc:sldMk cId="1601724199" sldId="2147471815"/>
            <ac:spMk id="13" creationId="{10CEDCEF-3716-40F6-A1F1-190E3A545609}"/>
          </ac:spMkLst>
        </pc:spChg>
        <pc:spChg chg="mod">
          <ac:chgData name="John Paserba" userId="77bd6c8a-d0c1-4fea-8705-0169f65d0c0e" providerId="ADAL" clId="{FD5E66A9-D36E-40B5-9161-8BB75765BB68}" dt="2025-10-12T21:19:14.314" v="1604"/>
          <ac:spMkLst>
            <pc:docMk/>
            <pc:sldMk cId="1601724199" sldId="2147471815"/>
            <ac:spMk id="16" creationId="{1A764866-5267-46C3-8CA8-B0B18B37DA0F}"/>
          </ac:spMkLst>
        </pc:spChg>
        <pc:spChg chg="mod">
          <ac:chgData name="John Paserba" userId="77bd6c8a-d0c1-4fea-8705-0169f65d0c0e" providerId="ADAL" clId="{FD5E66A9-D36E-40B5-9161-8BB75765BB68}" dt="2025-10-12T21:17:54.947" v="1599" actId="2711"/>
          <ac:spMkLst>
            <pc:docMk/>
            <pc:sldMk cId="1601724199" sldId="2147471815"/>
            <ac:spMk id="3328002" creationId="{00000000-0000-0000-0000-000000000000}"/>
          </ac:spMkLst>
        </pc:spChg>
        <pc:grpChg chg="add mod">
          <ac:chgData name="John Paserba" userId="77bd6c8a-d0c1-4fea-8705-0169f65d0c0e" providerId="ADAL" clId="{FD5E66A9-D36E-40B5-9161-8BB75765BB68}" dt="2025-10-12T21:19:14.314" v="1604"/>
          <ac:grpSpMkLst>
            <pc:docMk/>
            <pc:sldMk cId="1601724199" sldId="2147471815"/>
            <ac:grpSpMk id="10" creationId="{AD2A66DC-D6AA-48FE-871E-A0B035A8051F}"/>
          </ac:grpSpMkLst>
        </pc:grpChg>
        <pc:grpChg chg="add mod">
          <ac:chgData name="John Paserba" userId="77bd6c8a-d0c1-4fea-8705-0169f65d0c0e" providerId="ADAL" clId="{FD5E66A9-D36E-40B5-9161-8BB75765BB68}" dt="2025-10-12T21:19:14.314" v="1604"/>
          <ac:grpSpMkLst>
            <pc:docMk/>
            <pc:sldMk cId="1601724199" sldId="2147471815"/>
            <ac:grpSpMk id="15" creationId="{ECA27AD7-FF86-4591-AB70-354229D8C6D3}"/>
          </ac:grpSpMkLst>
        </pc:grpChg>
        <pc:picChg chg="mod">
          <ac:chgData name="John Paserba" userId="77bd6c8a-d0c1-4fea-8705-0169f65d0c0e" providerId="ADAL" clId="{FD5E66A9-D36E-40B5-9161-8BB75765BB68}" dt="2025-10-12T21:19:14.314" v="1604"/>
          <ac:picMkLst>
            <pc:docMk/>
            <pc:sldMk cId="1601724199" sldId="2147471815"/>
            <ac:picMk id="14" creationId="{43363913-611D-486B-A188-0A9DC82285FB}"/>
          </ac:picMkLst>
        </pc:picChg>
        <pc:picChg chg="mod">
          <ac:chgData name="John Paserba" userId="77bd6c8a-d0c1-4fea-8705-0169f65d0c0e" providerId="ADAL" clId="{FD5E66A9-D36E-40B5-9161-8BB75765BB68}" dt="2025-10-12T21:19:14.314" v="1604"/>
          <ac:picMkLst>
            <pc:docMk/>
            <pc:sldMk cId="1601724199" sldId="2147471815"/>
            <ac:picMk id="17" creationId="{A1C973D6-10D4-4467-A86F-1A801D20FCA5}"/>
          </ac:picMkLst>
        </pc:picChg>
      </pc:sldChg>
      <pc:sldChg chg="addSp modSp mod">
        <pc:chgData name="John Paserba" userId="77bd6c8a-d0c1-4fea-8705-0169f65d0c0e" providerId="ADAL" clId="{FD5E66A9-D36E-40B5-9161-8BB75765BB68}" dt="2025-10-12T22:15:27.093" v="2202" actId="948"/>
        <pc:sldMkLst>
          <pc:docMk/>
          <pc:sldMk cId="2611446155" sldId="2147471816"/>
        </pc:sldMkLst>
        <pc:spChg chg="mod">
          <ac:chgData name="John Paserba" userId="77bd6c8a-d0c1-4fea-8705-0169f65d0c0e" providerId="ADAL" clId="{FD5E66A9-D36E-40B5-9161-8BB75765BB68}" dt="2025-10-12T22:15:27.093" v="2202" actId="948"/>
          <ac:spMkLst>
            <pc:docMk/>
            <pc:sldMk cId="2611446155" sldId="2147471816"/>
            <ac:spMk id="3" creationId="{E6993746-A424-4F09-867F-B919F4E18ECB}"/>
          </ac:spMkLst>
        </pc:spChg>
        <pc:spChg chg="mod">
          <ac:chgData name="John Paserba" userId="77bd6c8a-d0c1-4fea-8705-0169f65d0c0e" providerId="ADAL" clId="{FD5E66A9-D36E-40B5-9161-8BB75765BB68}" dt="2025-10-12T21:19:16.864" v="1605"/>
          <ac:spMkLst>
            <pc:docMk/>
            <pc:sldMk cId="2611446155" sldId="2147471816"/>
            <ac:spMk id="7" creationId="{EF370779-C6A6-4388-BE69-BEB627638951}"/>
          </ac:spMkLst>
        </pc:spChg>
        <pc:spChg chg="mod">
          <ac:chgData name="John Paserba" userId="77bd6c8a-d0c1-4fea-8705-0169f65d0c0e" providerId="ADAL" clId="{FD5E66A9-D36E-40B5-9161-8BB75765BB68}" dt="2025-10-12T21:19:16.864" v="1605"/>
          <ac:spMkLst>
            <pc:docMk/>
            <pc:sldMk cId="2611446155" sldId="2147471816"/>
            <ac:spMk id="10" creationId="{16EDB63F-6CCD-46C1-8027-98767D884FCA}"/>
          </ac:spMkLst>
        </pc:spChg>
        <pc:spChg chg="mod">
          <ac:chgData name="John Paserba" userId="77bd6c8a-d0c1-4fea-8705-0169f65d0c0e" providerId="ADAL" clId="{FD5E66A9-D36E-40B5-9161-8BB75765BB68}" dt="2025-10-12T21:17:57.169" v="1600" actId="2711"/>
          <ac:spMkLst>
            <pc:docMk/>
            <pc:sldMk cId="2611446155" sldId="2147471816"/>
            <ac:spMk id="3328002" creationId="{00000000-0000-0000-0000-000000000000}"/>
          </ac:spMkLst>
        </pc:spChg>
        <pc:grpChg chg="add mod">
          <ac:chgData name="John Paserba" userId="77bd6c8a-d0c1-4fea-8705-0169f65d0c0e" providerId="ADAL" clId="{FD5E66A9-D36E-40B5-9161-8BB75765BB68}" dt="2025-10-12T21:19:16.864" v="1605"/>
          <ac:grpSpMkLst>
            <pc:docMk/>
            <pc:sldMk cId="2611446155" sldId="2147471816"/>
            <ac:grpSpMk id="6" creationId="{38CFAC92-3CEF-4C9E-BE90-FB5AB059025D}"/>
          </ac:grpSpMkLst>
        </pc:grpChg>
        <pc:grpChg chg="add mod">
          <ac:chgData name="John Paserba" userId="77bd6c8a-d0c1-4fea-8705-0169f65d0c0e" providerId="ADAL" clId="{FD5E66A9-D36E-40B5-9161-8BB75765BB68}" dt="2025-10-12T21:19:16.864" v="1605"/>
          <ac:grpSpMkLst>
            <pc:docMk/>
            <pc:sldMk cId="2611446155" sldId="2147471816"/>
            <ac:grpSpMk id="9" creationId="{61484274-3069-402E-96A3-9DE22ADA51F0}"/>
          </ac:grpSpMkLst>
        </pc:grpChg>
        <pc:picChg chg="mod">
          <ac:chgData name="John Paserba" userId="77bd6c8a-d0c1-4fea-8705-0169f65d0c0e" providerId="ADAL" clId="{FD5E66A9-D36E-40B5-9161-8BB75765BB68}" dt="2025-10-12T21:19:16.864" v="1605"/>
          <ac:picMkLst>
            <pc:docMk/>
            <pc:sldMk cId="2611446155" sldId="2147471816"/>
            <ac:picMk id="8" creationId="{B2AE88A3-5908-450A-965B-F83060CF3EE7}"/>
          </ac:picMkLst>
        </pc:picChg>
        <pc:picChg chg="mod">
          <ac:chgData name="John Paserba" userId="77bd6c8a-d0c1-4fea-8705-0169f65d0c0e" providerId="ADAL" clId="{FD5E66A9-D36E-40B5-9161-8BB75765BB68}" dt="2025-10-12T21:19:16.864" v="1605"/>
          <ac:picMkLst>
            <pc:docMk/>
            <pc:sldMk cId="2611446155" sldId="2147471816"/>
            <ac:picMk id="11" creationId="{26EDBCF5-92CD-4DB3-9E2A-E7E231B938BC}"/>
          </ac:picMkLst>
        </pc:picChg>
      </pc:sldChg>
      <pc:sldChg chg="addSp modSp mod">
        <pc:chgData name="John Paserba" userId="77bd6c8a-d0c1-4fea-8705-0169f65d0c0e" providerId="ADAL" clId="{FD5E66A9-D36E-40B5-9161-8BB75765BB68}" dt="2025-10-12T22:34:44.285" v="2613" actId="20577"/>
        <pc:sldMkLst>
          <pc:docMk/>
          <pc:sldMk cId="1330365994" sldId="2147471817"/>
        </pc:sldMkLst>
        <pc:spChg chg="add mod">
          <ac:chgData name="John Paserba" userId="77bd6c8a-d0c1-4fea-8705-0169f65d0c0e" providerId="ADAL" clId="{FD5E66A9-D36E-40B5-9161-8BB75765BB68}" dt="2025-10-12T22:34:44.285" v="2613" actId="20577"/>
          <ac:spMkLst>
            <pc:docMk/>
            <pc:sldMk cId="1330365994" sldId="2147471817"/>
            <ac:spMk id="7" creationId="{0F003812-BCE7-4F03-A301-B7F8791BEF9E}"/>
          </ac:spMkLst>
        </pc:spChg>
      </pc:sldChg>
      <pc:sldChg chg="modSp mod">
        <pc:chgData name="John Paserba" userId="77bd6c8a-d0c1-4fea-8705-0169f65d0c0e" providerId="ADAL" clId="{FD5E66A9-D36E-40B5-9161-8BB75765BB68}" dt="2025-10-12T22:16:39.369" v="2207" actId="207"/>
        <pc:sldMkLst>
          <pc:docMk/>
          <pc:sldMk cId="2218686594" sldId="2147471818"/>
        </pc:sldMkLst>
        <pc:spChg chg="mod">
          <ac:chgData name="John Paserba" userId="77bd6c8a-d0c1-4fea-8705-0169f65d0c0e" providerId="ADAL" clId="{FD5E66A9-D36E-40B5-9161-8BB75765BB68}" dt="2025-10-12T21:44:13.751" v="1870" actId="12"/>
          <ac:spMkLst>
            <pc:docMk/>
            <pc:sldMk cId="2218686594" sldId="2147471818"/>
            <ac:spMk id="2" creationId="{B67C47DF-0709-8107-31F1-6399A0131DEE}"/>
          </ac:spMkLst>
        </pc:spChg>
        <pc:spChg chg="mod">
          <ac:chgData name="John Paserba" userId="77bd6c8a-d0c1-4fea-8705-0169f65d0c0e" providerId="ADAL" clId="{FD5E66A9-D36E-40B5-9161-8BB75765BB68}" dt="2025-10-12T21:42:53.298" v="1852" actId="20577"/>
          <ac:spMkLst>
            <pc:docMk/>
            <pc:sldMk cId="2218686594" sldId="2147471818"/>
            <ac:spMk id="19" creationId="{5AC7194F-1259-4D5E-8A01-1B004A3BFA78}"/>
          </ac:spMkLst>
        </pc:spChg>
        <pc:spChg chg="mod">
          <ac:chgData name="John Paserba" userId="77bd6c8a-d0c1-4fea-8705-0169f65d0c0e" providerId="ADAL" clId="{FD5E66A9-D36E-40B5-9161-8BB75765BB68}" dt="2025-10-12T22:16:39.369" v="2207" actId="207"/>
          <ac:spMkLst>
            <pc:docMk/>
            <pc:sldMk cId="2218686594" sldId="2147471818"/>
            <ac:spMk id="20" creationId="{EBBBCD3D-F8E7-4AF8-AD3F-D3597B7B8454}"/>
          </ac:spMkLst>
        </pc:spChg>
        <pc:spChg chg="mod">
          <ac:chgData name="John Paserba" userId="77bd6c8a-d0c1-4fea-8705-0169f65d0c0e" providerId="ADAL" clId="{FD5E66A9-D36E-40B5-9161-8BB75765BB68}" dt="2025-10-12T21:59:39.584" v="1946" actId="12"/>
          <ac:spMkLst>
            <pc:docMk/>
            <pc:sldMk cId="2218686594" sldId="2147471818"/>
            <ac:spMk id="21" creationId="{FE4B2705-C7C6-4EE0-9E21-FED3D5C31F03}"/>
          </ac:spMkLst>
        </pc:spChg>
      </pc:sldChg>
      <pc:sldChg chg="modSp add mod ord">
        <pc:chgData name="John Paserba" userId="77bd6c8a-d0c1-4fea-8705-0169f65d0c0e" providerId="ADAL" clId="{FD5E66A9-D36E-40B5-9161-8BB75765BB68}" dt="2025-10-12T22:52:21.299" v="2749"/>
        <pc:sldMkLst>
          <pc:docMk/>
          <pc:sldMk cId="416361200" sldId="2147471819"/>
        </pc:sldMkLst>
        <pc:spChg chg="mod">
          <ac:chgData name="John Paserba" userId="77bd6c8a-d0c1-4fea-8705-0169f65d0c0e" providerId="ADAL" clId="{FD5E66A9-D36E-40B5-9161-8BB75765BB68}" dt="2025-10-12T22:52:15.771" v="2747" actId="20577"/>
          <ac:spMkLst>
            <pc:docMk/>
            <pc:sldMk cId="416361200" sldId="2147471819"/>
            <ac:spMk id="12" creationId="{F45E667D-D9ED-4BE1-999E-2A4766484A8F}"/>
          </ac:spMkLst>
        </pc:spChg>
      </pc:sldChg>
      <pc:sldChg chg="modSp add mod">
        <pc:chgData name="John Paserba" userId="77bd6c8a-d0c1-4fea-8705-0169f65d0c0e" providerId="ADAL" clId="{FD5E66A9-D36E-40B5-9161-8BB75765BB68}" dt="2025-10-13T02:18:51.590" v="4048" actId="6549"/>
        <pc:sldMkLst>
          <pc:docMk/>
          <pc:sldMk cId="192874948" sldId="2147471820"/>
        </pc:sldMkLst>
        <pc:spChg chg="mod">
          <ac:chgData name="John Paserba" userId="77bd6c8a-d0c1-4fea-8705-0169f65d0c0e" providerId="ADAL" clId="{FD5E66A9-D36E-40B5-9161-8BB75765BB68}" dt="2025-10-13T02:18:51.590" v="4048" actId="6549"/>
          <ac:spMkLst>
            <pc:docMk/>
            <pc:sldMk cId="192874948" sldId="2147471820"/>
            <ac:spMk id="12" creationId="{F45E667D-D9ED-4BE1-999E-2A4766484A8F}"/>
          </ac:spMkLst>
        </pc:spChg>
      </pc:sldChg>
      <pc:sldChg chg="modSp mod">
        <pc:chgData name="John Paserba" userId="77bd6c8a-d0c1-4fea-8705-0169f65d0c0e" providerId="ADAL" clId="{FD5E66A9-D36E-40B5-9161-8BB75765BB68}" dt="2025-10-12T23:07:00.132" v="2910" actId="20577"/>
        <pc:sldMkLst>
          <pc:docMk/>
          <pc:sldMk cId="2377864020" sldId="2147471821"/>
        </pc:sldMkLst>
        <pc:spChg chg="mod">
          <ac:chgData name="John Paserba" userId="77bd6c8a-d0c1-4fea-8705-0169f65d0c0e" providerId="ADAL" clId="{FD5E66A9-D36E-40B5-9161-8BB75765BB68}" dt="2025-10-12T23:07:00.132" v="2910" actId="20577"/>
          <ac:spMkLst>
            <pc:docMk/>
            <pc:sldMk cId="2377864020" sldId="2147471821"/>
            <ac:spMk id="12" creationId="{F45E667D-D9ED-4BE1-999E-2A4766484A8F}"/>
          </ac:spMkLst>
        </pc:spChg>
      </pc:sldChg>
      <pc:sldChg chg="delSp modSp mod">
        <pc:chgData name="John Paserba" userId="77bd6c8a-d0c1-4fea-8705-0169f65d0c0e" providerId="ADAL" clId="{FD5E66A9-D36E-40B5-9161-8BB75765BB68}" dt="2025-10-14T03:16:40.057" v="5261" actId="478"/>
        <pc:sldMkLst>
          <pc:docMk/>
          <pc:sldMk cId="3105101276" sldId="2147471822"/>
        </pc:sldMkLst>
        <pc:spChg chg="del">
          <ac:chgData name="John Paserba" userId="77bd6c8a-d0c1-4fea-8705-0169f65d0c0e" providerId="ADAL" clId="{FD5E66A9-D36E-40B5-9161-8BB75765BB68}" dt="2025-10-14T03:16:40.057" v="5261" actId="478"/>
          <ac:spMkLst>
            <pc:docMk/>
            <pc:sldMk cId="3105101276" sldId="2147471822"/>
            <ac:spMk id="2" creationId="{A7F77988-03FB-4DDD-A67A-FF7610A722B1}"/>
          </ac:spMkLst>
        </pc:spChg>
        <pc:spChg chg="mod">
          <ac:chgData name="John Paserba" userId="77bd6c8a-d0c1-4fea-8705-0169f65d0c0e" providerId="ADAL" clId="{FD5E66A9-D36E-40B5-9161-8BB75765BB68}" dt="2025-10-13T02:14:38.256" v="3985" actId="207"/>
          <ac:spMkLst>
            <pc:docMk/>
            <pc:sldMk cId="3105101276" sldId="2147471822"/>
            <ac:spMk id="12" creationId="{7637F54C-2D4B-44A5-B3F7-1642BB564316}"/>
          </ac:spMkLst>
        </pc:spChg>
      </pc:sldChg>
      <pc:sldChg chg="modSp add mod">
        <pc:chgData name="John Paserba" userId="77bd6c8a-d0c1-4fea-8705-0169f65d0c0e" providerId="ADAL" clId="{FD5E66A9-D36E-40B5-9161-8BB75765BB68}" dt="2025-10-13T02:07:41.096" v="3890" actId="207"/>
        <pc:sldMkLst>
          <pc:docMk/>
          <pc:sldMk cId="1848293232" sldId="2147471823"/>
        </pc:sldMkLst>
        <pc:spChg chg="mod">
          <ac:chgData name="John Paserba" userId="77bd6c8a-d0c1-4fea-8705-0169f65d0c0e" providerId="ADAL" clId="{FD5E66A9-D36E-40B5-9161-8BB75765BB68}" dt="2025-10-13T02:07:41.096" v="3890" actId="207"/>
          <ac:spMkLst>
            <pc:docMk/>
            <pc:sldMk cId="1848293232" sldId="2147471823"/>
            <ac:spMk id="3" creationId="{E6993746-A424-4F09-867F-B919F4E18ECB}"/>
          </ac:spMkLst>
        </pc:spChg>
        <pc:spChg chg="mod">
          <ac:chgData name="John Paserba" userId="77bd6c8a-d0c1-4fea-8705-0169f65d0c0e" providerId="ADAL" clId="{FD5E66A9-D36E-40B5-9161-8BB75765BB68}" dt="2025-10-13T00:24:15.129" v="3180"/>
          <ac:spMkLst>
            <pc:docMk/>
            <pc:sldMk cId="1848293232" sldId="2147471823"/>
            <ac:spMk id="3328002" creationId="{00000000-0000-0000-0000-000000000000}"/>
          </ac:spMkLst>
        </pc:spChg>
      </pc:sldChg>
      <pc:sldChg chg="delSp modSp add mod modAnim">
        <pc:chgData name="John Paserba" userId="77bd6c8a-d0c1-4fea-8705-0169f65d0c0e" providerId="ADAL" clId="{FD5E66A9-D36E-40B5-9161-8BB75765BB68}" dt="2025-10-14T03:30:17.836" v="5373"/>
        <pc:sldMkLst>
          <pc:docMk/>
          <pc:sldMk cId="3891908509" sldId="2147471824"/>
        </pc:sldMkLst>
        <pc:spChg chg="mod">
          <ac:chgData name="John Paserba" userId="77bd6c8a-d0c1-4fea-8705-0169f65d0c0e" providerId="ADAL" clId="{FD5E66A9-D36E-40B5-9161-8BB75765BB68}" dt="2025-10-13T00:58:47.694" v="3525" actId="14100"/>
          <ac:spMkLst>
            <pc:docMk/>
            <pc:sldMk cId="3891908509" sldId="2147471824"/>
            <ac:spMk id="12" creationId="{DEBF57B7-9A56-4EFB-972B-BE267788A9E7}"/>
          </ac:spMkLst>
        </pc:spChg>
        <pc:spChg chg="mod">
          <ac:chgData name="John Paserba" userId="77bd6c8a-d0c1-4fea-8705-0169f65d0c0e" providerId="ADAL" clId="{FD5E66A9-D36E-40B5-9161-8BB75765BB68}" dt="2025-10-14T03:29:25.089" v="5346" actId="12"/>
          <ac:spMkLst>
            <pc:docMk/>
            <pc:sldMk cId="3891908509" sldId="2147471824"/>
            <ac:spMk id="14" creationId="{550C1E85-393D-4D99-B71E-991D9B8C9FD2}"/>
          </ac:spMkLst>
        </pc:spChg>
        <pc:spChg chg="mod">
          <ac:chgData name="John Paserba" userId="77bd6c8a-d0c1-4fea-8705-0169f65d0c0e" providerId="ADAL" clId="{FD5E66A9-D36E-40B5-9161-8BB75765BB68}" dt="2025-10-13T00:58:25.706" v="3524" actId="14100"/>
          <ac:spMkLst>
            <pc:docMk/>
            <pc:sldMk cId="3891908509" sldId="2147471824"/>
            <ac:spMk id="17" creationId="{B65B23DD-ABA9-4E20-95E2-67C51EFD56D1}"/>
          </ac:spMkLst>
        </pc:spChg>
        <pc:spChg chg="mod">
          <ac:chgData name="John Paserba" userId="77bd6c8a-d0c1-4fea-8705-0169f65d0c0e" providerId="ADAL" clId="{FD5E66A9-D36E-40B5-9161-8BB75765BB68}" dt="2025-10-14T03:29:59.633" v="5351" actId="20577"/>
          <ac:spMkLst>
            <pc:docMk/>
            <pc:sldMk cId="3891908509" sldId="2147471824"/>
            <ac:spMk id="19" creationId="{A9CFE05C-8980-4BA1-BDB7-95569D51056B}"/>
          </ac:spMkLst>
        </pc:spChg>
        <pc:spChg chg="del">
          <ac:chgData name="John Paserba" userId="77bd6c8a-d0c1-4fea-8705-0169f65d0c0e" providerId="ADAL" clId="{FD5E66A9-D36E-40B5-9161-8BB75765BB68}" dt="2025-10-13T00:58:17.392" v="3523" actId="478"/>
          <ac:spMkLst>
            <pc:docMk/>
            <pc:sldMk cId="3891908509" sldId="2147471824"/>
            <ac:spMk id="21" creationId="{77AD9D54-6185-418B-9BB9-0CC3393CB42D}"/>
          </ac:spMkLst>
        </pc:spChg>
        <pc:spChg chg="mod">
          <ac:chgData name="John Paserba" userId="77bd6c8a-d0c1-4fea-8705-0169f65d0c0e" providerId="ADAL" clId="{FD5E66A9-D36E-40B5-9161-8BB75765BB68}" dt="2025-10-13T00:48:26.002" v="3403"/>
          <ac:spMkLst>
            <pc:docMk/>
            <pc:sldMk cId="3891908509" sldId="2147471824"/>
            <ac:spMk id="3328002" creationId="{00000000-0000-0000-0000-000000000000}"/>
          </ac:spMkLst>
        </pc:spChg>
      </pc:sldChg>
      <pc:sldChg chg="addSp delSp modSp add mod">
        <pc:chgData name="John Paserba" userId="77bd6c8a-d0c1-4fea-8705-0169f65d0c0e" providerId="ADAL" clId="{FD5E66A9-D36E-40B5-9161-8BB75765BB68}" dt="2025-10-13T00:55:51.842" v="3511" actId="1036"/>
        <pc:sldMkLst>
          <pc:docMk/>
          <pc:sldMk cId="3521576497" sldId="2147471825"/>
        </pc:sldMkLst>
        <pc:spChg chg="del mod">
          <ac:chgData name="John Paserba" userId="77bd6c8a-d0c1-4fea-8705-0169f65d0c0e" providerId="ADAL" clId="{FD5E66A9-D36E-40B5-9161-8BB75765BB68}" dt="2025-10-13T00:55:30.980" v="3483" actId="478"/>
          <ac:spMkLst>
            <pc:docMk/>
            <pc:sldMk cId="3521576497" sldId="2147471825"/>
            <ac:spMk id="3" creationId="{E6993746-A424-4F09-867F-B919F4E18ECB}"/>
          </ac:spMkLst>
        </pc:spChg>
        <pc:spChg chg="add del mod">
          <ac:chgData name="John Paserba" userId="77bd6c8a-d0c1-4fea-8705-0169f65d0c0e" providerId="ADAL" clId="{FD5E66A9-D36E-40B5-9161-8BB75765BB68}" dt="2025-10-13T00:55:37.998" v="3484" actId="478"/>
          <ac:spMkLst>
            <pc:docMk/>
            <pc:sldMk cId="3521576497" sldId="2147471825"/>
            <ac:spMk id="7" creationId="{3F01F5CB-F9DE-4F94-B2BE-62DE6809276D}"/>
          </ac:spMkLst>
        </pc:spChg>
        <pc:spChg chg="del mod">
          <ac:chgData name="John Paserba" userId="77bd6c8a-d0c1-4fea-8705-0169f65d0c0e" providerId="ADAL" clId="{FD5E66A9-D36E-40B5-9161-8BB75765BB68}" dt="2025-10-13T00:55:30.980" v="3483" actId="478"/>
          <ac:spMkLst>
            <pc:docMk/>
            <pc:sldMk cId="3521576497" sldId="2147471825"/>
            <ac:spMk id="9" creationId="{2D87B28F-7BFC-47CE-8AF4-C6E38B21B076}"/>
          </ac:spMkLst>
        </pc:spChg>
        <pc:spChg chg="mod">
          <ac:chgData name="John Paserba" userId="77bd6c8a-d0c1-4fea-8705-0169f65d0c0e" providerId="ADAL" clId="{FD5E66A9-D36E-40B5-9161-8BB75765BB68}" dt="2025-10-13T00:48:33.155" v="3405"/>
          <ac:spMkLst>
            <pc:docMk/>
            <pc:sldMk cId="3521576497" sldId="2147471825"/>
            <ac:spMk id="3328002" creationId="{00000000-0000-0000-0000-000000000000}"/>
          </ac:spMkLst>
        </pc:spChg>
        <pc:graphicFrameChg chg="mod">
          <ac:chgData name="John Paserba" userId="77bd6c8a-d0c1-4fea-8705-0169f65d0c0e" providerId="ADAL" clId="{FD5E66A9-D36E-40B5-9161-8BB75765BB68}" dt="2025-10-13T00:55:51.842" v="3511" actId="1036"/>
          <ac:graphicFrameMkLst>
            <pc:docMk/>
            <pc:sldMk cId="3521576497" sldId="2147471825"/>
            <ac:graphicFrameMk id="2" creationId="{665EF968-A3DF-4C28-851C-49CF0F511DDC}"/>
          </ac:graphicFrameMkLst>
        </pc:graphicFrameChg>
      </pc:sldChg>
      <pc:sldChg chg="modSp add mod">
        <pc:chgData name="John Paserba" userId="77bd6c8a-d0c1-4fea-8705-0169f65d0c0e" providerId="ADAL" clId="{FD5E66A9-D36E-40B5-9161-8BB75765BB68}" dt="2025-10-13T02:11:31.362" v="3944" actId="207"/>
        <pc:sldMkLst>
          <pc:docMk/>
          <pc:sldMk cId="3060494149" sldId="2147471826"/>
        </pc:sldMkLst>
        <pc:spChg chg="mod">
          <ac:chgData name="John Paserba" userId="77bd6c8a-d0c1-4fea-8705-0169f65d0c0e" providerId="ADAL" clId="{FD5E66A9-D36E-40B5-9161-8BB75765BB68}" dt="2025-10-13T02:11:31.362" v="3944" actId="207"/>
          <ac:spMkLst>
            <pc:docMk/>
            <pc:sldMk cId="3060494149" sldId="2147471826"/>
            <ac:spMk id="3" creationId="{E6993746-A424-4F09-867F-B919F4E18ECB}"/>
          </ac:spMkLst>
        </pc:spChg>
        <pc:spChg chg="mod">
          <ac:chgData name="John Paserba" userId="77bd6c8a-d0c1-4fea-8705-0169f65d0c0e" providerId="ADAL" clId="{FD5E66A9-D36E-40B5-9161-8BB75765BB68}" dt="2025-10-13T00:48:35.948" v="3406"/>
          <ac:spMkLst>
            <pc:docMk/>
            <pc:sldMk cId="3060494149" sldId="2147471826"/>
            <ac:spMk id="3328002" creationId="{00000000-0000-0000-0000-000000000000}"/>
          </ac:spMkLst>
        </pc:spChg>
      </pc:sldChg>
      <pc:sldChg chg="modSp add mod">
        <pc:chgData name="John Paserba" userId="77bd6c8a-d0c1-4fea-8705-0169f65d0c0e" providerId="ADAL" clId="{FD5E66A9-D36E-40B5-9161-8BB75765BB68}" dt="2025-10-13T02:11:43.248" v="3947" actId="207"/>
        <pc:sldMkLst>
          <pc:docMk/>
          <pc:sldMk cId="1518505039" sldId="2147471827"/>
        </pc:sldMkLst>
        <pc:spChg chg="mod">
          <ac:chgData name="John Paserba" userId="77bd6c8a-d0c1-4fea-8705-0169f65d0c0e" providerId="ADAL" clId="{FD5E66A9-D36E-40B5-9161-8BB75765BB68}" dt="2025-10-13T02:11:43.248" v="3947" actId="207"/>
          <ac:spMkLst>
            <pc:docMk/>
            <pc:sldMk cId="1518505039" sldId="2147471827"/>
            <ac:spMk id="3" creationId="{E6993746-A424-4F09-867F-B919F4E18ECB}"/>
          </ac:spMkLst>
        </pc:spChg>
        <pc:spChg chg="mod">
          <ac:chgData name="John Paserba" userId="77bd6c8a-d0c1-4fea-8705-0169f65d0c0e" providerId="ADAL" clId="{FD5E66A9-D36E-40B5-9161-8BB75765BB68}" dt="2025-10-13T00:48:41.662" v="3408"/>
          <ac:spMkLst>
            <pc:docMk/>
            <pc:sldMk cId="1518505039" sldId="2147471827"/>
            <ac:spMk id="3328002" creationId="{00000000-0000-0000-0000-000000000000}"/>
          </ac:spMkLst>
        </pc:spChg>
      </pc:sldChg>
      <pc:sldChg chg="modSp add mod">
        <pc:chgData name="John Paserba" userId="77bd6c8a-d0c1-4fea-8705-0169f65d0c0e" providerId="ADAL" clId="{FD5E66A9-D36E-40B5-9161-8BB75765BB68}" dt="2025-10-13T02:12:24.538" v="3959" actId="207"/>
        <pc:sldMkLst>
          <pc:docMk/>
          <pc:sldMk cId="2934761795" sldId="2147471828"/>
        </pc:sldMkLst>
        <pc:spChg chg="mod">
          <ac:chgData name="John Paserba" userId="77bd6c8a-d0c1-4fea-8705-0169f65d0c0e" providerId="ADAL" clId="{FD5E66A9-D36E-40B5-9161-8BB75765BB68}" dt="2025-10-13T02:12:24.538" v="3959" actId="207"/>
          <ac:spMkLst>
            <pc:docMk/>
            <pc:sldMk cId="2934761795" sldId="2147471828"/>
            <ac:spMk id="3" creationId="{E6993746-A424-4F09-867F-B919F4E18ECB}"/>
          </ac:spMkLst>
        </pc:spChg>
        <pc:spChg chg="mod">
          <ac:chgData name="John Paserba" userId="77bd6c8a-d0c1-4fea-8705-0169f65d0c0e" providerId="ADAL" clId="{FD5E66A9-D36E-40B5-9161-8BB75765BB68}" dt="2025-10-13T00:48:53.999" v="3412"/>
          <ac:spMkLst>
            <pc:docMk/>
            <pc:sldMk cId="2934761795" sldId="2147471828"/>
            <ac:spMk id="3328002" creationId="{00000000-0000-0000-0000-000000000000}"/>
          </ac:spMkLst>
        </pc:spChg>
      </pc:sldChg>
      <pc:sldChg chg="modSp add del">
        <pc:chgData name="John Paserba" userId="77bd6c8a-d0c1-4fea-8705-0169f65d0c0e" providerId="ADAL" clId="{FD5E66A9-D36E-40B5-9161-8BB75765BB68}" dt="2025-10-14T03:23:46.698" v="5278" actId="47"/>
        <pc:sldMkLst>
          <pc:docMk/>
          <pc:sldMk cId="2458435600" sldId="2147471829"/>
        </pc:sldMkLst>
        <pc:spChg chg="mod">
          <ac:chgData name="John Paserba" userId="77bd6c8a-d0c1-4fea-8705-0169f65d0c0e" providerId="ADAL" clId="{FD5E66A9-D36E-40B5-9161-8BB75765BB68}" dt="2025-10-13T01:13:06.595" v="3618"/>
          <ac:spMkLst>
            <pc:docMk/>
            <pc:sldMk cId="2458435600" sldId="2147471829"/>
            <ac:spMk id="2" creationId="{77588B58-6153-F1B8-4DB0-D1ACF93A24C7}"/>
          </ac:spMkLst>
        </pc:spChg>
      </pc:sldChg>
      <pc:sldChg chg="modSp add del mod">
        <pc:chgData name="John Paserba" userId="77bd6c8a-d0c1-4fea-8705-0169f65d0c0e" providerId="ADAL" clId="{FD5E66A9-D36E-40B5-9161-8BB75765BB68}" dt="2025-10-14T03:23:46.698" v="5278" actId="47"/>
        <pc:sldMkLst>
          <pc:docMk/>
          <pc:sldMk cId="1889566764" sldId="2147471830"/>
        </pc:sldMkLst>
        <pc:spChg chg="mod">
          <ac:chgData name="John Paserba" userId="77bd6c8a-d0c1-4fea-8705-0169f65d0c0e" providerId="ADAL" clId="{FD5E66A9-D36E-40B5-9161-8BB75765BB68}" dt="2025-10-13T01:13:48.987" v="3623"/>
          <ac:spMkLst>
            <pc:docMk/>
            <pc:sldMk cId="1889566764" sldId="2147471830"/>
            <ac:spMk id="2" creationId="{77588B58-6153-F1B8-4DB0-D1ACF93A24C7}"/>
          </ac:spMkLst>
        </pc:spChg>
        <pc:spChg chg="mod">
          <ac:chgData name="John Paserba" userId="77bd6c8a-d0c1-4fea-8705-0169f65d0c0e" providerId="ADAL" clId="{FD5E66A9-D36E-40B5-9161-8BB75765BB68}" dt="2025-10-13T01:24:51.814" v="3747" actId="179"/>
          <ac:spMkLst>
            <pc:docMk/>
            <pc:sldMk cId="1889566764" sldId="2147471830"/>
            <ac:spMk id="7" creationId="{8A8C02B1-60E9-4D5A-BDDF-269408F5AEE2}"/>
          </ac:spMkLst>
        </pc:spChg>
      </pc:sldChg>
      <pc:sldChg chg="modSp add del mod">
        <pc:chgData name="John Paserba" userId="77bd6c8a-d0c1-4fea-8705-0169f65d0c0e" providerId="ADAL" clId="{FD5E66A9-D36E-40B5-9161-8BB75765BB68}" dt="2025-10-14T03:23:46.698" v="5278" actId="47"/>
        <pc:sldMkLst>
          <pc:docMk/>
          <pc:sldMk cId="3289599524" sldId="2147471831"/>
        </pc:sldMkLst>
        <pc:spChg chg="mod">
          <ac:chgData name="John Paserba" userId="77bd6c8a-d0c1-4fea-8705-0169f65d0c0e" providerId="ADAL" clId="{FD5E66A9-D36E-40B5-9161-8BB75765BB68}" dt="2025-10-13T01:13:53.561" v="3624"/>
          <ac:spMkLst>
            <pc:docMk/>
            <pc:sldMk cId="3289599524" sldId="2147471831"/>
            <ac:spMk id="2" creationId="{77588B58-6153-F1B8-4DB0-D1ACF93A24C7}"/>
          </ac:spMkLst>
        </pc:spChg>
        <pc:spChg chg="mod">
          <ac:chgData name="John Paserba" userId="77bd6c8a-d0c1-4fea-8705-0169f65d0c0e" providerId="ADAL" clId="{FD5E66A9-D36E-40B5-9161-8BB75765BB68}" dt="2025-10-13T01:20:47.631" v="3714" actId="1036"/>
          <ac:spMkLst>
            <pc:docMk/>
            <pc:sldMk cId="3289599524" sldId="2147471831"/>
            <ac:spMk id="3" creationId="{6ED8D6F9-A542-4E13-9FAE-1588803CD45E}"/>
          </ac:spMkLst>
        </pc:spChg>
        <pc:spChg chg="mod">
          <ac:chgData name="John Paserba" userId="77bd6c8a-d0c1-4fea-8705-0169f65d0c0e" providerId="ADAL" clId="{FD5E66A9-D36E-40B5-9161-8BB75765BB68}" dt="2025-10-13T01:20:57.146" v="3716" actId="255"/>
          <ac:spMkLst>
            <pc:docMk/>
            <pc:sldMk cId="3289599524" sldId="2147471831"/>
            <ac:spMk id="7" creationId="{8A8C02B1-60E9-4D5A-BDDF-269408F5AEE2}"/>
          </ac:spMkLst>
        </pc:spChg>
        <pc:picChg chg="mod">
          <ac:chgData name="John Paserba" userId="77bd6c8a-d0c1-4fea-8705-0169f65d0c0e" providerId="ADAL" clId="{FD5E66A9-D36E-40B5-9161-8BB75765BB68}" dt="2025-10-13T01:20:47.631" v="3714" actId="1036"/>
          <ac:picMkLst>
            <pc:docMk/>
            <pc:sldMk cId="3289599524" sldId="2147471831"/>
            <ac:picMk id="8" creationId="{8153573B-D790-4A6A-92BC-F2AFDAD0169C}"/>
          </ac:picMkLst>
        </pc:picChg>
      </pc:sldChg>
      <pc:sldChg chg="modSp add del">
        <pc:chgData name="John Paserba" userId="77bd6c8a-d0c1-4fea-8705-0169f65d0c0e" providerId="ADAL" clId="{FD5E66A9-D36E-40B5-9161-8BB75765BB68}" dt="2025-10-14T03:23:46.698" v="5278" actId="47"/>
        <pc:sldMkLst>
          <pc:docMk/>
          <pc:sldMk cId="3745932163" sldId="2147471832"/>
        </pc:sldMkLst>
        <pc:spChg chg="mod">
          <ac:chgData name="John Paserba" userId="77bd6c8a-d0c1-4fea-8705-0169f65d0c0e" providerId="ADAL" clId="{FD5E66A9-D36E-40B5-9161-8BB75765BB68}" dt="2025-10-13T01:14:09.208" v="3626"/>
          <ac:spMkLst>
            <pc:docMk/>
            <pc:sldMk cId="3745932163" sldId="2147471832"/>
            <ac:spMk id="2" creationId="{77588B58-6153-F1B8-4DB0-D1ACF93A24C7}"/>
          </ac:spMkLst>
        </pc:spChg>
      </pc:sldChg>
      <pc:sldChg chg="delSp modSp add del mod delAnim">
        <pc:chgData name="John Paserba" userId="77bd6c8a-d0c1-4fea-8705-0169f65d0c0e" providerId="ADAL" clId="{FD5E66A9-D36E-40B5-9161-8BB75765BB68}" dt="2025-10-14T03:23:46.698" v="5278" actId="47"/>
        <pc:sldMkLst>
          <pc:docMk/>
          <pc:sldMk cId="317147282" sldId="2147471833"/>
        </pc:sldMkLst>
        <pc:spChg chg="mod">
          <ac:chgData name="John Paserba" userId="77bd6c8a-d0c1-4fea-8705-0169f65d0c0e" providerId="ADAL" clId="{FD5E66A9-D36E-40B5-9161-8BB75765BB68}" dt="2025-10-13T01:14:24.324" v="3630" actId="14100"/>
          <ac:spMkLst>
            <pc:docMk/>
            <pc:sldMk cId="317147282" sldId="2147471833"/>
            <ac:spMk id="2" creationId="{77588B58-6153-F1B8-4DB0-D1ACF93A24C7}"/>
          </ac:spMkLst>
        </pc:spChg>
        <pc:spChg chg="mod">
          <ac:chgData name="John Paserba" userId="77bd6c8a-d0c1-4fea-8705-0169f65d0c0e" providerId="ADAL" clId="{FD5E66A9-D36E-40B5-9161-8BB75765BB68}" dt="2025-10-13T01:22:47.596" v="3732" actId="12"/>
          <ac:spMkLst>
            <pc:docMk/>
            <pc:sldMk cId="317147282" sldId="2147471833"/>
            <ac:spMk id="7" creationId="{DA5ECC97-6763-36BC-EF1B-6D9AB9F59BA9}"/>
          </ac:spMkLst>
        </pc:spChg>
        <pc:spChg chg="mod">
          <ac:chgData name="John Paserba" userId="77bd6c8a-d0c1-4fea-8705-0169f65d0c0e" providerId="ADAL" clId="{FD5E66A9-D36E-40B5-9161-8BB75765BB68}" dt="2025-10-13T01:22:53.271" v="3734" actId="12"/>
          <ac:spMkLst>
            <pc:docMk/>
            <pc:sldMk cId="317147282" sldId="2147471833"/>
            <ac:spMk id="9" creationId="{191E70D0-15F3-0AC7-E6D4-D256059D5DEB}"/>
          </ac:spMkLst>
        </pc:spChg>
        <pc:spChg chg="mod">
          <ac:chgData name="John Paserba" userId="77bd6c8a-d0c1-4fea-8705-0169f65d0c0e" providerId="ADAL" clId="{FD5E66A9-D36E-40B5-9161-8BB75765BB68}" dt="2025-10-13T01:22:57.802" v="3736" actId="12"/>
          <ac:spMkLst>
            <pc:docMk/>
            <pc:sldMk cId="317147282" sldId="2147471833"/>
            <ac:spMk id="10" creationId="{F62FBE67-680A-3A95-2683-017F987E2EA4}"/>
          </ac:spMkLst>
        </pc:spChg>
        <pc:spChg chg="mod">
          <ac:chgData name="John Paserba" userId="77bd6c8a-d0c1-4fea-8705-0169f65d0c0e" providerId="ADAL" clId="{FD5E66A9-D36E-40B5-9161-8BB75765BB68}" dt="2025-10-13T01:22:07.689" v="3724" actId="1076"/>
          <ac:spMkLst>
            <pc:docMk/>
            <pc:sldMk cId="317147282" sldId="2147471833"/>
            <ac:spMk id="17" creationId="{4A614A9F-FD9C-8A47-F04D-DB6D735A492F}"/>
          </ac:spMkLst>
        </pc:spChg>
        <pc:spChg chg="del mod">
          <ac:chgData name="John Paserba" userId="77bd6c8a-d0c1-4fea-8705-0169f65d0c0e" providerId="ADAL" clId="{FD5E66A9-D36E-40B5-9161-8BB75765BB68}" dt="2025-10-13T01:21:51.345" v="3721" actId="478"/>
          <ac:spMkLst>
            <pc:docMk/>
            <pc:sldMk cId="317147282" sldId="2147471833"/>
            <ac:spMk id="35" creationId="{9C0607D6-0735-0295-A717-0C2102D08DD1}"/>
          </ac:spMkLst>
        </pc:spChg>
      </pc:sldChg>
      <pc:sldChg chg="modSp add del">
        <pc:chgData name="John Paserba" userId="77bd6c8a-d0c1-4fea-8705-0169f65d0c0e" providerId="ADAL" clId="{FD5E66A9-D36E-40B5-9161-8BB75765BB68}" dt="2025-10-14T03:23:46.698" v="5278" actId="47"/>
        <pc:sldMkLst>
          <pc:docMk/>
          <pc:sldMk cId="846043046" sldId="2147471834"/>
        </pc:sldMkLst>
        <pc:spChg chg="mod">
          <ac:chgData name="John Paserba" userId="77bd6c8a-d0c1-4fea-8705-0169f65d0c0e" providerId="ADAL" clId="{FD5E66A9-D36E-40B5-9161-8BB75765BB68}" dt="2025-10-13T01:15:05.326" v="3639"/>
          <ac:spMkLst>
            <pc:docMk/>
            <pc:sldMk cId="846043046" sldId="2147471834"/>
            <ac:spMk id="3328002" creationId="{12287A3C-EF5F-A8E6-A637-887D5536A051}"/>
          </ac:spMkLst>
        </pc:spChg>
      </pc:sldChg>
      <pc:sldChg chg="modSp add del mod">
        <pc:chgData name="John Paserba" userId="77bd6c8a-d0c1-4fea-8705-0169f65d0c0e" providerId="ADAL" clId="{FD5E66A9-D36E-40B5-9161-8BB75765BB68}" dt="2025-10-14T03:23:46.698" v="5278" actId="47"/>
        <pc:sldMkLst>
          <pc:docMk/>
          <pc:sldMk cId="358134025" sldId="2147471835"/>
        </pc:sldMkLst>
        <pc:spChg chg="mod">
          <ac:chgData name="John Paserba" userId="77bd6c8a-d0c1-4fea-8705-0169f65d0c0e" providerId="ADAL" clId="{FD5E66A9-D36E-40B5-9161-8BB75765BB68}" dt="2025-10-13T02:13:07.447" v="3965" actId="207"/>
          <ac:spMkLst>
            <pc:docMk/>
            <pc:sldMk cId="358134025" sldId="2147471835"/>
            <ac:spMk id="9" creationId="{A1E709B9-3A7F-E4CF-9688-774FE809C069}"/>
          </ac:spMkLst>
        </pc:spChg>
      </pc:sldChg>
      <pc:sldChg chg="modSp add del mod">
        <pc:chgData name="John Paserba" userId="77bd6c8a-d0c1-4fea-8705-0169f65d0c0e" providerId="ADAL" clId="{FD5E66A9-D36E-40B5-9161-8BB75765BB68}" dt="2025-10-14T03:23:46.698" v="5278" actId="47"/>
        <pc:sldMkLst>
          <pc:docMk/>
          <pc:sldMk cId="700796200" sldId="2147471836"/>
        </pc:sldMkLst>
        <pc:spChg chg="mod">
          <ac:chgData name="John Paserba" userId="77bd6c8a-d0c1-4fea-8705-0169f65d0c0e" providerId="ADAL" clId="{FD5E66A9-D36E-40B5-9161-8BB75765BB68}" dt="2025-10-13T02:12:59.803" v="3963" actId="207"/>
          <ac:spMkLst>
            <pc:docMk/>
            <pc:sldMk cId="700796200" sldId="2147471836"/>
            <ac:spMk id="3" creationId="{C8D18A6C-9CE3-435C-1FBC-6D323C595BE6}"/>
          </ac:spMkLst>
        </pc:spChg>
      </pc:sldChg>
      <pc:sldChg chg="modSp add del mod">
        <pc:chgData name="John Paserba" userId="77bd6c8a-d0c1-4fea-8705-0169f65d0c0e" providerId="ADAL" clId="{FD5E66A9-D36E-40B5-9161-8BB75765BB68}" dt="2025-10-14T03:23:46.698" v="5278" actId="47"/>
        <pc:sldMkLst>
          <pc:docMk/>
          <pc:sldMk cId="2693308933" sldId="2147471837"/>
        </pc:sldMkLst>
        <pc:spChg chg="mod">
          <ac:chgData name="John Paserba" userId="77bd6c8a-d0c1-4fea-8705-0169f65d0c0e" providerId="ADAL" clId="{FD5E66A9-D36E-40B5-9161-8BB75765BB68}" dt="2025-10-13T01:31:36.466" v="3806" actId="20577"/>
          <ac:spMkLst>
            <pc:docMk/>
            <pc:sldMk cId="2693308933" sldId="2147471837"/>
            <ac:spMk id="9" creationId="{8E076489-02B8-6FF8-ED72-6ADEBBE3566D}"/>
          </ac:spMkLst>
        </pc:spChg>
      </pc:sldChg>
      <pc:sldChg chg="modSp add del mod">
        <pc:chgData name="John Paserba" userId="77bd6c8a-d0c1-4fea-8705-0169f65d0c0e" providerId="ADAL" clId="{FD5E66A9-D36E-40B5-9161-8BB75765BB68}" dt="2025-10-14T03:23:46.698" v="5278" actId="47"/>
        <pc:sldMkLst>
          <pc:docMk/>
          <pc:sldMk cId="1823009741" sldId="2147471838"/>
        </pc:sldMkLst>
        <pc:spChg chg="mod">
          <ac:chgData name="John Paserba" userId="77bd6c8a-d0c1-4fea-8705-0169f65d0c0e" providerId="ADAL" clId="{FD5E66A9-D36E-40B5-9161-8BB75765BB68}" dt="2025-10-13T02:12:47.737" v="3961" actId="207"/>
          <ac:spMkLst>
            <pc:docMk/>
            <pc:sldMk cId="1823009741" sldId="2147471838"/>
            <ac:spMk id="9" creationId="{8E076489-02B8-6FF8-ED72-6ADEBBE3566D}"/>
          </ac:spMkLst>
        </pc:spChg>
      </pc:sldChg>
      <pc:sldChg chg="modSp add mod">
        <pc:chgData name="John Paserba" userId="77bd6c8a-d0c1-4fea-8705-0169f65d0c0e" providerId="ADAL" clId="{FD5E66A9-D36E-40B5-9161-8BB75765BB68}" dt="2025-10-13T02:17:56.110" v="4023" actId="20577"/>
        <pc:sldMkLst>
          <pc:docMk/>
          <pc:sldMk cId="48580802" sldId="2147471839"/>
        </pc:sldMkLst>
        <pc:spChg chg="mod">
          <ac:chgData name="John Paserba" userId="77bd6c8a-d0c1-4fea-8705-0169f65d0c0e" providerId="ADAL" clId="{FD5E66A9-D36E-40B5-9161-8BB75765BB68}" dt="2025-10-13T02:17:56.110" v="4023" actId="20577"/>
          <ac:spMkLst>
            <pc:docMk/>
            <pc:sldMk cId="48580802" sldId="2147471839"/>
            <ac:spMk id="12" creationId="{F45E667D-D9ED-4BE1-999E-2A4766484A8F}"/>
          </ac:spMkLst>
        </pc:spChg>
      </pc:sldChg>
      <pc:sldChg chg="addSp delSp modSp mod">
        <pc:chgData name="John Paserba" userId="77bd6c8a-d0c1-4fea-8705-0169f65d0c0e" providerId="ADAL" clId="{FD5E66A9-D36E-40B5-9161-8BB75765BB68}" dt="2025-10-14T01:18:22.147" v="4649" actId="20577"/>
        <pc:sldMkLst>
          <pc:docMk/>
          <pc:sldMk cId="4015630486" sldId="2147471840"/>
        </pc:sldMkLst>
        <pc:spChg chg="mod">
          <ac:chgData name="John Paserba" userId="77bd6c8a-d0c1-4fea-8705-0169f65d0c0e" providerId="ADAL" clId="{FD5E66A9-D36E-40B5-9161-8BB75765BB68}" dt="2025-10-14T01:18:22.147" v="4649" actId="20577"/>
          <ac:spMkLst>
            <pc:docMk/>
            <pc:sldMk cId="4015630486" sldId="2147471840"/>
            <ac:spMk id="19" creationId="{00000000-0000-0000-0000-000000000000}"/>
          </ac:spMkLst>
        </pc:spChg>
        <pc:spChg chg="mod">
          <ac:chgData name="John Paserba" userId="77bd6c8a-d0c1-4fea-8705-0169f65d0c0e" providerId="ADAL" clId="{FD5E66A9-D36E-40B5-9161-8BB75765BB68}" dt="2025-10-14T01:17:55.465" v="4644"/>
          <ac:spMkLst>
            <pc:docMk/>
            <pc:sldMk cId="4015630486" sldId="2147471840"/>
            <ac:spMk id="27" creationId="{6158D58D-1D15-4FFC-BCF2-54FE9CBF8103}"/>
          </ac:spMkLst>
        </pc:spChg>
        <pc:spChg chg="add del mod">
          <ac:chgData name="John Paserba" userId="77bd6c8a-d0c1-4fea-8705-0169f65d0c0e" providerId="ADAL" clId="{FD5E66A9-D36E-40B5-9161-8BB75765BB68}" dt="2025-10-14T01:17:43.931" v="4641"/>
          <ac:spMkLst>
            <pc:docMk/>
            <pc:sldMk cId="4015630486" sldId="2147471840"/>
            <ac:spMk id="28" creationId="{B2FCE8FF-919A-44AD-9512-DE5F03230972}"/>
          </ac:spMkLst>
        </pc:spChg>
        <pc:spChg chg="add mod">
          <ac:chgData name="John Paserba" userId="77bd6c8a-d0c1-4fea-8705-0169f65d0c0e" providerId="ADAL" clId="{FD5E66A9-D36E-40B5-9161-8BB75765BB68}" dt="2025-10-14T01:18:04.804" v="4645"/>
          <ac:spMkLst>
            <pc:docMk/>
            <pc:sldMk cId="4015630486" sldId="2147471840"/>
            <ac:spMk id="29" creationId="{831B857A-93B6-4539-B937-5D2A1A9489F8}"/>
          </ac:spMkLst>
        </pc:spChg>
      </pc:sldChg>
      <pc:sldChg chg="del">
        <pc:chgData name="John Paserba" userId="77bd6c8a-d0c1-4fea-8705-0169f65d0c0e" providerId="ADAL" clId="{FD5E66A9-D36E-40B5-9161-8BB75765BB68}" dt="2025-10-14T03:23:46.698" v="5278" actId="47"/>
        <pc:sldMkLst>
          <pc:docMk/>
          <pc:sldMk cId="2578400383" sldId="2147471843"/>
        </pc:sldMkLst>
      </pc:sldChg>
      <pc:sldChg chg="del">
        <pc:chgData name="John Paserba" userId="77bd6c8a-d0c1-4fea-8705-0169f65d0c0e" providerId="ADAL" clId="{FD5E66A9-D36E-40B5-9161-8BB75765BB68}" dt="2025-10-13T04:03:50.432" v="4062" actId="2696"/>
        <pc:sldMkLst>
          <pc:docMk/>
          <pc:sldMk cId="2394947567" sldId="2147471844"/>
        </pc:sldMkLst>
      </pc:sldChg>
      <pc:sldChg chg="del">
        <pc:chgData name="John Paserba" userId="77bd6c8a-d0c1-4fea-8705-0169f65d0c0e" providerId="ADAL" clId="{FD5E66A9-D36E-40B5-9161-8BB75765BB68}" dt="2025-10-14T01:13:05.689" v="4574" actId="47"/>
        <pc:sldMkLst>
          <pc:docMk/>
          <pc:sldMk cId="1960846689" sldId="2147471847"/>
        </pc:sldMkLst>
      </pc:sldChg>
      <pc:sldChg chg="modSp mod">
        <pc:chgData name="John Paserba" userId="77bd6c8a-d0c1-4fea-8705-0169f65d0c0e" providerId="ADAL" clId="{FD5E66A9-D36E-40B5-9161-8BB75765BB68}" dt="2025-10-14T01:38:38.480" v="4805" actId="20577"/>
        <pc:sldMkLst>
          <pc:docMk/>
          <pc:sldMk cId="3548863867" sldId="2147471847"/>
        </pc:sldMkLst>
        <pc:spChg chg="mod">
          <ac:chgData name="John Paserba" userId="77bd6c8a-d0c1-4fea-8705-0169f65d0c0e" providerId="ADAL" clId="{FD5E66A9-D36E-40B5-9161-8BB75765BB68}" dt="2025-10-14T01:38:34.176" v="4801" actId="20577"/>
          <ac:spMkLst>
            <pc:docMk/>
            <pc:sldMk cId="3548863867" sldId="2147471847"/>
            <ac:spMk id="2" creationId="{604011DC-D533-4243-B17F-6BCA0E778325}"/>
          </ac:spMkLst>
        </pc:spChg>
        <pc:spChg chg="mod">
          <ac:chgData name="John Paserba" userId="77bd6c8a-d0c1-4fea-8705-0169f65d0c0e" providerId="ADAL" clId="{FD5E66A9-D36E-40B5-9161-8BB75765BB68}" dt="2025-10-14T01:38:38.480" v="4805" actId="20577"/>
          <ac:spMkLst>
            <pc:docMk/>
            <pc:sldMk cId="3548863867" sldId="2147471847"/>
            <ac:spMk id="4" creationId="{935F3E8D-84AC-4F81-B4E8-B40C01F0E096}"/>
          </ac:spMkLst>
        </pc:spChg>
      </pc:sldChg>
      <pc:sldChg chg="addSp modSp mod">
        <pc:chgData name="John Paserba" userId="77bd6c8a-d0c1-4fea-8705-0169f65d0c0e" providerId="ADAL" clId="{FD5E66A9-D36E-40B5-9161-8BB75765BB68}" dt="2025-10-14T02:01:17.838" v="4862" actId="20577"/>
        <pc:sldMkLst>
          <pc:docMk/>
          <pc:sldMk cId="3859739026" sldId="2147471848"/>
        </pc:sldMkLst>
        <pc:spChg chg="add mod">
          <ac:chgData name="John Paserba" userId="77bd6c8a-d0c1-4fea-8705-0169f65d0c0e" providerId="ADAL" clId="{FD5E66A9-D36E-40B5-9161-8BB75765BB68}" dt="2025-10-14T02:01:17.838" v="4862" actId="20577"/>
          <ac:spMkLst>
            <pc:docMk/>
            <pc:sldMk cId="3859739026" sldId="2147471848"/>
            <ac:spMk id="7" creationId="{FF082446-85E9-46C9-B4F2-316BC3643A41}"/>
          </ac:spMkLst>
        </pc:spChg>
      </pc:sldChg>
      <pc:sldChg chg="addSp delSp modSp mod">
        <pc:chgData name="John Paserba" userId="77bd6c8a-d0c1-4fea-8705-0169f65d0c0e" providerId="ADAL" clId="{FD5E66A9-D36E-40B5-9161-8BB75765BB68}" dt="2025-10-14T02:04:41.632" v="4907" actId="167"/>
        <pc:sldMkLst>
          <pc:docMk/>
          <pc:sldMk cId="4085070674" sldId="2147471849"/>
        </pc:sldMkLst>
        <pc:spChg chg="mod">
          <ac:chgData name="John Paserba" userId="77bd6c8a-d0c1-4fea-8705-0169f65d0c0e" providerId="ADAL" clId="{FD5E66A9-D36E-40B5-9161-8BB75765BB68}" dt="2025-10-14T02:01:56.397" v="4895" actId="20577"/>
          <ac:spMkLst>
            <pc:docMk/>
            <pc:sldMk cId="4085070674" sldId="2147471849"/>
            <ac:spMk id="7" creationId="{FF082446-85E9-46C9-B4F2-316BC3643A41}"/>
          </ac:spMkLst>
        </pc:spChg>
        <pc:spChg chg="del">
          <ac:chgData name="John Paserba" userId="77bd6c8a-d0c1-4fea-8705-0169f65d0c0e" providerId="ADAL" clId="{FD5E66A9-D36E-40B5-9161-8BB75765BB68}" dt="2025-10-14T02:02:03.596" v="4896" actId="478"/>
          <ac:spMkLst>
            <pc:docMk/>
            <pc:sldMk cId="4085070674" sldId="2147471849"/>
            <ac:spMk id="15" creationId="{6D62F5C6-B1B7-4697-B803-AEAB9E5E5B49}"/>
          </ac:spMkLst>
        </pc:spChg>
        <pc:graphicFrameChg chg="add mod ord">
          <ac:chgData name="John Paserba" userId="77bd6c8a-d0c1-4fea-8705-0169f65d0c0e" providerId="ADAL" clId="{FD5E66A9-D36E-40B5-9161-8BB75765BB68}" dt="2025-10-14T02:04:41.632" v="4907" actId="167"/>
          <ac:graphicFrameMkLst>
            <pc:docMk/>
            <pc:sldMk cId="4085070674" sldId="2147471849"/>
            <ac:graphicFrameMk id="3" creationId="{F58743CF-B3A4-4BBA-90EC-52AD24C80ABE}"/>
          </ac:graphicFrameMkLst>
        </pc:graphicFrameChg>
        <pc:graphicFrameChg chg="add del">
          <ac:chgData name="John Paserba" userId="77bd6c8a-d0c1-4fea-8705-0169f65d0c0e" providerId="ADAL" clId="{FD5E66A9-D36E-40B5-9161-8BB75765BB68}" dt="2025-10-14T02:02:53.737" v="4901" actId="478"/>
          <ac:graphicFrameMkLst>
            <pc:docMk/>
            <pc:sldMk cId="4085070674" sldId="2147471849"/>
            <ac:graphicFrameMk id="16" creationId="{D31FAF4C-2A7D-476C-AD49-64B5287B7715}"/>
          </ac:graphicFrameMkLst>
        </pc:graphicFrameChg>
        <pc:picChg chg="add del mod">
          <ac:chgData name="John Paserba" userId="77bd6c8a-d0c1-4fea-8705-0169f65d0c0e" providerId="ADAL" clId="{FD5E66A9-D36E-40B5-9161-8BB75765BB68}" dt="2025-10-14T02:03:20.207" v="4904" actId="478"/>
          <ac:picMkLst>
            <pc:docMk/>
            <pc:sldMk cId="4085070674" sldId="2147471849"/>
            <ac:picMk id="2" creationId="{1B1143DC-12E7-4120-8958-031BBF3B13E9}"/>
          </ac:picMkLst>
        </pc:picChg>
      </pc:sldChg>
      <pc:sldChg chg="addSp modSp add">
        <pc:chgData name="John Paserba" userId="77bd6c8a-d0c1-4fea-8705-0169f65d0c0e" providerId="ADAL" clId="{FD5E66A9-D36E-40B5-9161-8BB75765BB68}" dt="2025-10-14T02:34:40.855" v="4981"/>
        <pc:sldMkLst>
          <pc:docMk/>
          <pc:sldMk cId="795209985" sldId="2147471850"/>
        </pc:sldMkLst>
        <pc:spChg chg="add mod">
          <ac:chgData name="John Paserba" userId="77bd6c8a-d0c1-4fea-8705-0169f65d0c0e" providerId="ADAL" clId="{FD5E66A9-D36E-40B5-9161-8BB75765BB68}" dt="2025-10-14T02:34:40.855" v="4981"/>
          <ac:spMkLst>
            <pc:docMk/>
            <pc:sldMk cId="795209985" sldId="2147471850"/>
            <ac:spMk id="6" creationId="{CA0EEF84-599F-40C0-BA80-63701F820D8C}"/>
          </ac:spMkLst>
        </pc:spChg>
      </pc:sldChg>
      <pc:sldChg chg="add del">
        <pc:chgData name="John Paserba" userId="77bd6c8a-d0c1-4fea-8705-0169f65d0c0e" providerId="ADAL" clId="{FD5E66A9-D36E-40B5-9161-8BB75765BB68}" dt="2025-10-14T02:02:47.265" v="4899"/>
        <pc:sldMkLst>
          <pc:docMk/>
          <pc:sldMk cId="3623207458" sldId="2147471850"/>
        </pc:sldMkLst>
      </pc:sldChg>
      <pc:sldChg chg="delSp modSp add del mod">
        <pc:chgData name="John Paserba" userId="77bd6c8a-d0c1-4fea-8705-0169f65d0c0e" providerId="ADAL" clId="{FD5E66A9-D36E-40B5-9161-8BB75765BB68}" dt="2025-10-14T03:03:41.253" v="4987" actId="47"/>
        <pc:sldMkLst>
          <pc:docMk/>
          <pc:sldMk cId="1893082581" sldId="2147471851"/>
        </pc:sldMkLst>
        <pc:spChg chg="mod">
          <ac:chgData name="John Paserba" userId="77bd6c8a-d0c1-4fea-8705-0169f65d0c0e" providerId="ADAL" clId="{FD5E66A9-D36E-40B5-9161-8BB75765BB68}" dt="2025-10-14T02:33:59.293" v="4977" actId="20577"/>
          <ac:spMkLst>
            <pc:docMk/>
            <pc:sldMk cId="1893082581" sldId="2147471851"/>
            <ac:spMk id="2" creationId="{24EFA49A-D6F0-94EB-2E4A-46AC510574DD}"/>
          </ac:spMkLst>
        </pc:spChg>
        <pc:picChg chg="del">
          <ac:chgData name="John Paserba" userId="77bd6c8a-d0c1-4fea-8705-0169f65d0c0e" providerId="ADAL" clId="{FD5E66A9-D36E-40B5-9161-8BB75765BB68}" dt="2025-10-14T02:34:44.556" v="4982" actId="478"/>
          <ac:picMkLst>
            <pc:docMk/>
            <pc:sldMk cId="1893082581" sldId="2147471851"/>
            <ac:picMk id="3" creationId="{E5C7A4F3-CB5E-4A99-973F-D43659E1DAD5}"/>
          </ac:picMkLst>
        </pc:picChg>
      </pc:sldChg>
      <pc:sldChg chg="modSp add mod">
        <pc:chgData name="John Paserba" userId="77bd6c8a-d0c1-4fea-8705-0169f65d0c0e" providerId="ADAL" clId="{FD5E66A9-D36E-40B5-9161-8BB75765BB68}" dt="2025-10-14T03:03:38.599" v="4986"/>
        <pc:sldMkLst>
          <pc:docMk/>
          <pc:sldMk cId="1707099215" sldId="2147471852"/>
        </pc:sldMkLst>
        <pc:spChg chg="mod">
          <ac:chgData name="John Paserba" userId="77bd6c8a-d0c1-4fea-8705-0169f65d0c0e" providerId="ADAL" clId="{FD5E66A9-D36E-40B5-9161-8BB75765BB68}" dt="2025-10-14T03:03:38.599" v="4986"/>
          <ac:spMkLst>
            <pc:docMk/>
            <pc:sldMk cId="1707099215" sldId="2147471852"/>
            <ac:spMk id="12" creationId="{F45E667D-D9ED-4BE1-999E-2A4766484A8F}"/>
          </ac:spMkLst>
        </pc:spChg>
      </pc:sldChg>
      <pc:sldChg chg="del">
        <pc:chgData name="John Paserba" userId="77bd6c8a-d0c1-4fea-8705-0169f65d0c0e" providerId="ADAL" clId="{FD5E66A9-D36E-40B5-9161-8BB75765BB68}" dt="2025-10-14T03:13:25.577" v="5245" actId="47"/>
        <pc:sldMkLst>
          <pc:docMk/>
          <pc:sldMk cId="139567890" sldId="2147471853"/>
        </pc:sldMkLst>
      </pc:sldChg>
      <pc:sldChg chg="addSp delSp modSp mod">
        <pc:chgData name="John Paserba" userId="77bd6c8a-d0c1-4fea-8705-0169f65d0c0e" providerId="ADAL" clId="{FD5E66A9-D36E-40B5-9161-8BB75765BB68}" dt="2025-10-14T03:13:48.491" v="5258" actId="5793"/>
        <pc:sldMkLst>
          <pc:docMk/>
          <pc:sldMk cId="2809262590" sldId="2147471854"/>
        </pc:sldMkLst>
        <pc:spChg chg="mod">
          <ac:chgData name="John Paserba" userId="77bd6c8a-d0c1-4fea-8705-0169f65d0c0e" providerId="ADAL" clId="{FD5E66A9-D36E-40B5-9161-8BB75765BB68}" dt="2025-10-14T03:13:48.491" v="5258" actId="5793"/>
          <ac:spMkLst>
            <pc:docMk/>
            <pc:sldMk cId="2809262590" sldId="2147471854"/>
            <ac:spMk id="2" creationId="{24EFA49A-D6F0-94EB-2E4A-46AC510574DD}"/>
          </ac:spMkLst>
        </pc:spChg>
        <pc:spChg chg="add del mod">
          <ac:chgData name="John Paserba" userId="77bd6c8a-d0c1-4fea-8705-0169f65d0c0e" providerId="ADAL" clId="{FD5E66A9-D36E-40B5-9161-8BB75765BB68}" dt="2025-10-14T03:13:31.378" v="5248" actId="478"/>
          <ac:spMkLst>
            <pc:docMk/>
            <pc:sldMk cId="2809262590" sldId="2147471854"/>
            <ac:spMk id="4" creationId="{69F866FB-5765-4CC6-9396-5B373055E20E}"/>
          </ac:spMkLst>
        </pc:spChg>
        <pc:picChg chg="del">
          <ac:chgData name="John Paserba" userId="77bd6c8a-d0c1-4fea-8705-0169f65d0c0e" providerId="ADAL" clId="{FD5E66A9-D36E-40B5-9161-8BB75765BB68}" dt="2025-10-14T03:13:28.927" v="5247" actId="478"/>
          <ac:picMkLst>
            <pc:docMk/>
            <pc:sldMk cId="2809262590" sldId="2147471854"/>
            <ac:picMk id="7" creationId="{56A97FAB-D0F7-4C64-B7FE-1DED324BEDBD}"/>
          </ac:picMkLst>
        </pc:picChg>
        <pc:picChg chg="del">
          <ac:chgData name="John Paserba" userId="77bd6c8a-d0c1-4fea-8705-0169f65d0c0e" providerId="ADAL" clId="{FD5E66A9-D36E-40B5-9161-8BB75765BB68}" dt="2025-10-14T03:13:27.374" v="5246" actId="478"/>
          <ac:picMkLst>
            <pc:docMk/>
            <pc:sldMk cId="2809262590" sldId="2147471854"/>
            <ac:picMk id="8" creationId="{8D649C5B-5CC3-49C2-81DD-2A4A145C109D}"/>
          </ac:picMkLst>
        </pc:picChg>
      </pc:sldChg>
      <pc:sldChg chg="modSp">
        <pc:chgData name="John Paserba" userId="77bd6c8a-d0c1-4fea-8705-0169f65d0c0e" providerId="ADAL" clId="{FD5E66A9-D36E-40B5-9161-8BB75765BB68}" dt="2025-10-14T03:32:03.613" v="5413"/>
        <pc:sldMkLst>
          <pc:docMk/>
          <pc:sldMk cId="2458435600" sldId="2147471855"/>
        </pc:sldMkLst>
        <pc:spChg chg="mod">
          <ac:chgData name="John Paserba" userId="77bd6c8a-d0c1-4fea-8705-0169f65d0c0e" providerId="ADAL" clId="{FD5E66A9-D36E-40B5-9161-8BB75765BB68}" dt="2025-10-14T03:32:03.613" v="5413"/>
          <ac:spMkLst>
            <pc:docMk/>
            <pc:sldMk cId="2458435600" sldId="2147471855"/>
            <ac:spMk id="2" creationId="{77588B58-6153-F1B8-4DB0-D1ACF93A24C7}"/>
          </ac:spMkLst>
        </pc:spChg>
      </pc:sldChg>
      <pc:sldChg chg="modSp mod">
        <pc:chgData name="John Paserba" userId="77bd6c8a-d0c1-4fea-8705-0169f65d0c0e" providerId="ADAL" clId="{FD5E66A9-D36E-40B5-9161-8BB75765BB68}" dt="2025-10-14T03:40:51.639" v="5453" actId="1076"/>
        <pc:sldMkLst>
          <pc:docMk/>
          <pc:sldMk cId="1889566764" sldId="2147471856"/>
        </pc:sldMkLst>
        <pc:spChg chg="mod">
          <ac:chgData name="John Paserba" userId="77bd6c8a-d0c1-4fea-8705-0169f65d0c0e" providerId="ADAL" clId="{FD5E66A9-D36E-40B5-9161-8BB75765BB68}" dt="2025-10-14T03:32:13.828" v="5417"/>
          <ac:spMkLst>
            <pc:docMk/>
            <pc:sldMk cId="1889566764" sldId="2147471856"/>
            <ac:spMk id="2" creationId="{77588B58-6153-F1B8-4DB0-D1ACF93A24C7}"/>
          </ac:spMkLst>
        </pc:spChg>
        <pc:spChg chg="mod">
          <ac:chgData name="John Paserba" userId="77bd6c8a-d0c1-4fea-8705-0169f65d0c0e" providerId="ADAL" clId="{FD5E66A9-D36E-40B5-9161-8BB75765BB68}" dt="2025-10-14T03:40:51.639" v="5453" actId="1076"/>
          <ac:spMkLst>
            <pc:docMk/>
            <pc:sldMk cId="1889566764" sldId="2147471856"/>
            <ac:spMk id="7" creationId="{8A8C02B1-60E9-4D5A-BDDF-269408F5AEE2}"/>
          </ac:spMkLst>
        </pc:spChg>
      </pc:sldChg>
      <pc:sldChg chg="modSp mod">
        <pc:chgData name="John Paserba" userId="77bd6c8a-d0c1-4fea-8705-0169f65d0c0e" providerId="ADAL" clId="{FD5E66A9-D36E-40B5-9161-8BB75765BB68}" dt="2025-10-14T03:40:56.350" v="5454" actId="115"/>
        <pc:sldMkLst>
          <pc:docMk/>
          <pc:sldMk cId="3289599524" sldId="2147471857"/>
        </pc:sldMkLst>
        <pc:spChg chg="mod">
          <ac:chgData name="John Paserba" userId="77bd6c8a-d0c1-4fea-8705-0169f65d0c0e" providerId="ADAL" clId="{FD5E66A9-D36E-40B5-9161-8BB75765BB68}" dt="2025-10-14T03:32:16.392" v="5418"/>
          <ac:spMkLst>
            <pc:docMk/>
            <pc:sldMk cId="3289599524" sldId="2147471857"/>
            <ac:spMk id="2" creationId="{77588B58-6153-F1B8-4DB0-D1ACF93A24C7}"/>
          </ac:spMkLst>
        </pc:spChg>
        <pc:spChg chg="mod">
          <ac:chgData name="John Paserba" userId="77bd6c8a-d0c1-4fea-8705-0169f65d0c0e" providerId="ADAL" clId="{FD5E66A9-D36E-40B5-9161-8BB75765BB68}" dt="2025-10-14T03:40:56.350" v="5454" actId="115"/>
          <ac:spMkLst>
            <pc:docMk/>
            <pc:sldMk cId="3289599524" sldId="2147471857"/>
            <ac:spMk id="7" creationId="{8A8C02B1-60E9-4D5A-BDDF-269408F5AEE2}"/>
          </ac:spMkLst>
        </pc:spChg>
      </pc:sldChg>
      <pc:sldChg chg="modSp">
        <pc:chgData name="John Paserba" userId="77bd6c8a-d0c1-4fea-8705-0169f65d0c0e" providerId="ADAL" clId="{FD5E66A9-D36E-40B5-9161-8BB75765BB68}" dt="2025-10-14T03:32:21.246" v="5420"/>
        <pc:sldMkLst>
          <pc:docMk/>
          <pc:sldMk cId="3745932163" sldId="2147471858"/>
        </pc:sldMkLst>
        <pc:spChg chg="mod">
          <ac:chgData name="John Paserba" userId="77bd6c8a-d0c1-4fea-8705-0169f65d0c0e" providerId="ADAL" clId="{FD5E66A9-D36E-40B5-9161-8BB75765BB68}" dt="2025-10-14T03:32:21.246" v="5420"/>
          <ac:spMkLst>
            <pc:docMk/>
            <pc:sldMk cId="3745932163" sldId="2147471858"/>
            <ac:spMk id="2" creationId="{77588B58-6153-F1B8-4DB0-D1ACF93A24C7}"/>
          </ac:spMkLst>
        </pc:spChg>
      </pc:sldChg>
      <pc:sldChg chg="modSp mod">
        <pc:chgData name="John Paserba" userId="77bd6c8a-d0c1-4fea-8705-0169f65d0c0e" providerId="ADAL" clId="{FD5E66A9-D36E-40B5-9161-8BB75765BB68}" dt="2025-10-14T03:41:46.018" v="5465" actId="12"/>
        <pc:sldMkLst>
          <pc:docMk/>
          <pc:sldMk cId="317147282" sldId="2147471859"/>
        </pc:sldMkLst>
        <pc:spChg chg="mod">
          <ac:chgData name="John Paserba" userId="77bd6c8a-d0c1-4fea-8705-0169f65d0c0e" providerId="ADAL" clId="{FD5E66A9-D36E-40B5-9161-8BB75765BB68}" dt="2025-10-14T03:34:09.241" v="5435" actId="27636"/>
          <ac:spMkLst>
            <pc:docMk/>
            <pc:sldMk cId="317147282" sldId="2147471859"/>
            <ac:spMk id="2" creationId="{77588B58-6153-F1B8-4DB0-D1ACF93A24C7}"/>
          </ac:spMkLst>
        </pc:spChg>
        <pc:spChg chg="mod">
          <ac:chgData name="John Paserba" userId="77bd6c8a-d0c1-4fea-8705-0169f65d0c0e" providerId="ADAL" clId="{FD5E66A9-D36E-40B5-9161-8BB75765BB68}" dt="2025-10-14T03:41:40.924" v="5463" actId="12"/>
          <ac:spMkLst>
            <pc:docMk/>
            <pc:sldMk cId="317147282" sldId="2147471859"/>
            <ac:spMk id="7" creationId="{DA5ECC97-6763-36BC-EF1B-6D9AB9F59BA9}"/>
          </ac:spMkLst>
        </pc:spChg>
        <pc:spChg chg="mod">
          <ac:chgData name="John Paserba" userId="77bd6c8a-d0c1-4fea-8705-0169f65d0c0e" providerId="ADAL" clId="{FD5E66A9-D36E-40B5-9161-8BB75765BB68}" dt="2025-10-14T03:41:43.975" v="5464" actId="12"/>
          <ac:spMkLst>
            <pc:docMk/>
            <pc:sldMk cId="317147282" sldId="2147471859"/>
            <ac:spMk id="9" creationId="{191E70D0-15F3-0AC7-E6D4-D256059D5DEB}"/>
          </ac:spMkLst>
        </pc:spChg>
        <pc:spChg chg="mod">
          <ac:chgData name="John Paserba" userId="77bd6c8a-d0c1-4fea-8705-0169f65d0c0e" providerId="ADAL" clId="{FD5E66A9-D36E-40B5-9161-8BB75765BB68}" dt="2025-10-14T03:41:46.018" v="5465" actId="12"/>
          <ac:spMkLst>
            <pc:docMk/>
            <pc:sldMk cId="317147282" sldId="2147471859"/>
            <ac:spMk id="10" creationId="{F62FBE67-680A-3A95-2683-017F987E2EA4}"/>
          </ac:spMkLst>
        </pc:spChg>
      </pc:sldChg>
      <pc:sldChg chg="modSp">
        <pc:chgData name="John Paserba" userId="77bd6c8a-d0c1-4fea-8705-0169f65d0c0e" providerId="ADAL" clId="{FD5E66A9-D36E-40B5-9161-8BB75765BB68}" dt="2025-10-14T03:32:38.367" v="5425"/>
        <pc:sldMkLst>
          <pc:docMk/>
          <pc:sldMk cId="89947543" sldId="2147471860"/>
        </pc:sldMkLst>
        <pc:spChg chg="mod">
          <ac:chgData name="John Paserba" userId="77bd6c8a-d0c1-4fea-8705-0169f65d0c0e" providerId="ADAL" clId="{FD5E66A9-D36E-40B5-9161-8BB75765BB68}" dt="2025-10-14T03:32:38.367" v="5425"/>
          <ac:spMkLst>
            <pc:docMk/>
            <pc:sldMk cId="89947543" sldId="2147471860"/>
            <ac:spMk id="2" creationId="{E48B5B95-8D98-54EE-CD8E-5CAC4BF6B2DC}"/>
          </ac:spMkLst>
        </pc:spChg>
      </pc:sldChg>
      <pc:sldChg chg="modSp mod">
        <pc:chgData name="John Paserba" userId="77bd6c8a-d0c1-4fea-8705-0169f65d0c0e" providerId="ADAL" clId="{FD5E66A9-D36E-40B5-9161-8BB75765BB68}" dt="2025-10-14T03:44:24.214" v="5487" actId="2711"/>
        <pc:sldMkLst>
          <pc:docMk/>
          <pc:sldMk cId="846043046" sldId="2147471861"/>
        </pc:sldMkLst>
        <pc:spChg chg="mod">
          <ac:chgData name="John Paserba" userId="77bd6c8a-d0c1-4fea-8705-0169f65d0c0e" providerId="ADAL" clId="{FD5E66A9-D36E-40B5-9161-8BB75765BB68}" dt="2025-10-14T03:44:04.627" v="5484" actId="2711"/>
          <ac:spMkLst>
            <pc:docMk/>
            <pc:sldMk cId="846043046" sldId="2147471861"/>
            <ac:spMk id="19" creationId="{A6CA8A9A-4C38-AD82-DA39-E4E522069680}"/>
          </ac:spMkLst>
        </pc:spChg>
        <pc:spChg chg="mod">
          <ac:chgData name="John Paserba" userId="77bd6c8a-d0c1-4fea-8705-0169f65d0c0e" providerId="ADAL" clId="{FD5E66A9-D36E-40B5-9161-8BB75765BB68}" dt="2025-10-14T03:44:08.976" v="5485" actId="2711"/>
          <ac:spMkLst>
            <pc:docMk/>
            <pc:sldMk cId="846043046" sldId="2147471861"/>
            <ac:spMk id="22" creationId="{A2256342-D8A2-9C68-CF26-A3DFF3C6BCC5}"/>
          </ac:spMkLst>
        </pc:spChg>
        <pc:spChg chg="mod">
          <ac:chgData name="John Paserba" userId="77bd6c8a-d0c1-4fea-8705-0169f65d0c0e" providerId="ADAL" clId="{FD5E66A9-D36E-40B5-9161-8BB75765BB68}" dt="2025-10-14T03:32:55.177" v="5429"/>
          <ac:spMkLst>
            <pc:docMk/>
            <pc:sldMk cId="846043046" sldId="2147471861"/>
            <ac:spMk id="3328002" creationId="{12287A3C-EF5F-A8E6-A637-887D5536A051}"/>
          </ac:spMkLst>
        </pc:spChg>
        <pc:graphicFrameChg chg="modGraphic">
          <ac:chgData name="John Paserba" userId="77bd6c8a-d0c1-4fea-8705-0169f65d0c0e" providerId="ADAL" clId="{FD5E66A9-D36E-40B5-9161-8BB75765BB68}" dt="2025-10-14T03:44:16.722" v="5486" actId="2711"/>
          <ac:graphicFrameMkLst>
            <pc:docMk/>
            <pc:sldMk cId="846043046" sldId="2147471861"/>
            <ac:graphicFrameMk id="17" creationId="{DC48DC86-F83D-5649-3E4C-4464640B6AC9}"/>
          </ac:graphicFrameMkLst>
        </pc:graphicFrameChg>
        <pc:graphicFrameChg chg="modGraphic">
          <ac:chgData name="John Paserba" userId="77bd6c8a-d0c1-4fea-8705-0169f65d0c0e" providerId="ADAL" clId="{FD5E66A9-D36E-40B5-9161-8BB75765BB68}" dt="2025-10-14T03:44:24.214" v="5487" actId="2711"/>
          <ac:graphicFrameMkLst>
            <pc:docMk/>
            <pc:sldMk cId="846043046" sldId="2147471861"/>
            <ac:graphicFrameMk id="21" creationId="{0808E616-BC38-61EC-91CF-7D5DB33CB3F5}"/>
          </ac:graphicFrameMkLst>
        </pc:graphicFrameChg>
      </pc:sldChg>
      <pc:sldChg chg="modSp mod">
        <pc:chgData name="John Paserba" userId="77bd6c8a-d0c1-4fea-8705-0169f65d0c0e" providerId="ADAL" clId="{FD5E66A9-D36E-40B5-9161-8BB75765BB68}" dt="2025-10-14T03:44:46.117" v="5489" actId="207"/>
        <pc:sldMkLst>
          <pc:docMk/>
          <pc:sldMk cId="700796200" sldId="2147471863"/>
        </pc:sldMkLst>
        <pc:spChg chg="mod">
          <ac:chgData name="John Paserba" userId="77bd6c8a-d0c1-4fea-8705-0169f65d0c0e" providerId="ADAL" clId="{FD5E66A9-D36E-40B5-9161-8BB75765BB68}" dt="2025-10-14T03:44:46.117" v="5489" actId="207"/>
          <ac:spMkLst>
            <pc:docMk/>
            <pc:sldMk cId="700796200" sldId="2147471863"/>
            <ac:spMk id="3" creationId="{C8D18A6C-9CE3-435C-1FBC-6D323C595BE6}"/>
          </ac:spMkLst>
        </pc:spChg>
      </pc:sldChg>
      <pc:sldMasterChg chg="del delSldLayout">
        <pc:chgData name="John Paserba" userId="77bd6c8a-d0c1-4fea-8705-0169f65d0c0e" providerId="ADAL" clId="{FD5E66A9-D36E-40B5-9161-8BB75765BB68}" dt="2025-10-13T00:47:36.128" v="3395" actId="47"/>
        <pc:sldMasterMkLst>
          <pc:docMk/>
          <pc:sldMasterMk cId="2365600505" sldId="2147483884"/>
        </pc:sldMasterMkLst>
        <pc:sldLayoutChg chg="del">
          <pc:chgData name="John Paserba" userId="77bd6c8a-d0c1-4fea-8705-0169f65d0c0e" providerId="ADAL" clId="{FD5E66A9-D36E-40B5-9161-8BB75765BB68}" dt="2025-10-13T00:47:36.128" v="3395" actId="47"/>
          <pc:sldLayoutMkLst>
            <pc:docMk/>
            <pc:sldMasterMk cId="2365600505" sldId="2147483884"/>
            <pc:sldLayoutMk cId="3694583753" sldId="2147483885"/>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3581207358" sldId="2147483886"/>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3969143089" sldId="2147483887"/>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3711127451" sldId="2147483888"/>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963315441" sldId="2147483889"/>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3397962170" sldId="2147483890"/>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2812960966" sldId="2147483891"/>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3926695987" sldId="2147483892"/>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852330288" sldId="2147483893"/>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900744287" sldId="2147483894"/>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328427478" sldId="2147483895"/>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435466334" sldId="2147483896"/>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105379564" sldId="2147483897"/>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2393187382" sldId="2147483898"/>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300940622" sldId="2147483899"/>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19803204" sldId="2147483900"/>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615146145" sldId="2147483901"/>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879572854" sldId="2147483902"/>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2241699027" sldId="2147483903"/>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131398894" sldId="2147483904"/>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451976732" sldId="2147483905"/>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4047921474" sldId="2147483906"/>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3205386662" sldId="2147483907"/>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328605988" sldId="2147483908"/>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26947241" sldId="2147483909"/>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3314773811" sldId="2147483910"/>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3516391941" sldId="2147483911"/>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025254819" sldId="2147483912"/>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510783481" sldId="2147483913"/>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064860501" sldId="2147483914"/>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761024727" sldId="2147483915"/>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4023913210" sldId="2147483916"/>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3512227906" sldId="2147483917"/>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3122184310" sldId="2147483918"/>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4076161490" sldId="2147483919"/>
          </pc:sldLayoutMkLst>
        </pc:sldLayoutChg>
        <pc:sldLayoutChg chg="del">
          <pc:chgData name="John Paserba" userId="77bd6c8a-d0c1-4fea-8705-0169f65d0c0e" providerId="ADAL" clId="{FD5E66A9-D36E-40B5-9161-8BB75765BB68}" dt="2025-10-13T00:47:36.128" v="3395" actId="47"/>
          <pc:sldLayoutMkLst>
            <pc:docMk/>
            <pc:sldMasterMk cId="2365600505" sldId="2147483884"/>
            <pc:sldLayoutMk cId="132114302" sldId="2147483920"/>
          </pc:sldLayoutMkLst>
        </pc:sldLayoutChg>
      </pc:sldMasterChg>
      <pc:sldMasterChg chg="del delSldLayout">
        <pc:chgData name="John Paserba" userId="77bd6c8a-d0c1-4fea-8705-0169f65d0c0e" providerId="ADAL" clId="{FD5E66A9-D36E-40B5-9161-8BB75765BB68}" dt="2025-10-14T02:33:18.412" v="4911" actId="47"/>
        <pc:sldMasterMkLst>
          <pc:docMk/>
          <pc:sldMasterMk cId="1649277620" sldId="2147483959"/>
        </pc:sldMasterMkLst>
        <pc:sldLayoutChg chg="del">
          <pc:chgData name="John Paserba" userId="77bd6c8a-d0c1-4fea-8705-0169f65d0c0e" providerId="ADAL" clId="{FD5E66A9-D36E-40B5-9161-8BB75765BB68}" dt="2025-10-14T02:33:18.412" v="4911" actId="47"/>
          <pc:sldLayoutMkLst>
            <pc:docMk/>
            <pc:sldMasterMk cId="1649277620" sldId="2147483959"/>
            <pc:sldLayoutMk cId="2923244966" sldId="2147483960"/>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3869404858" sldId="2147483961"/>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2643863040" sldId="2147483962"/>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1043608320" sldId="2147483963"/>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2076417381" sldId="2147483964"/>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1322077185" sldId="2147483965"/>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2729363846" sldId="2147483966"/>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2830038033" sldId="2147483967"/>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1409726942" sldId="2147483968"/>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1493172521" sldId="2147483969"/>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3393141524" sldId="2147483970"/>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2789543956" sldId="2147483971"/>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1911187226" sldId="2147483972"/>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1631567685" sldId="2147483973"/>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3116319099" sldId="2147483974"/>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3854342805" sldId="2147483975"/>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4123121278" sldId="2147483976"/>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3721451572" sldId="2147483977"/>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3099260350" sldId="2147483978"/>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3140695976" sldId="2147483979"/>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2594148073" sldId="2147483980"/>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1582277898" sldId="2147483981"/>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690832328" sldId="2147483982"/>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1684253979" sldId="2147483983"/>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3887716262" sldId="2147483984"/>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276177441" sldId="2147483985"/>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371163392" sldId="2147483986"/>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53663108" sldId="2147483987"/>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3787158892" sldId="2147483988"/>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412006314" sldId="2147483989"/>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3548882342" sldId="2147483990"/>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42791659" sldId="2147483991"/>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349003716" sldId="2147483992"/>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2609332934" sldId="2147483993"/>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1826237988" sldId="2147483994"/>
          </pc:sldLayoutMkLst>
        </pc:sldLayoutChg>
        <pc:sldLayoutChg chg="del">
          <pc:chgData name="John Paserba" userId="77bd6c8a-d0c1-4fea-8705-0169f65d0c0e" providerId="ADAL" clId="{FD5E66A9-D36E-40B5-9161-8BB75765BB68}" dt="2025-10-14T02:33:18.412" v="4911" actId="47"/>
          <pc:sldLayoutMkLst>
            <pc:docMk/>
            <pc:sldMasterMk cId="1649277620" sldId="2147483959"/>
            <pc:sldLayoutMk cId="1449298700" sldId="2147483995"/>
          </pc:sldLayoutMkLst>
        </pc:sldLayoutChg>
      </pc:sldMasterChg>
      <pc:sldMasterChg chg="del delSldLayout">
        <pc:chgData name="John Paserba" userId="77bd6c8a-d0c1-4fea-8705-0169f65d0c0e" providerId="ADAL" clId="{FD5E66A9-D36E-40B5-9161-8BB75765BB68}" dt="2025-10-14T03:13:25.577" v="5245" actId="47"/>
        <pc:sldMasterMkLst>
          <pc:docMk/>
          <pc:sldMasterMk cId="2305777553" sldId="2147483959"/>
        </pc:sldMasterMkLst>
        <pc:sldLayoutChg chg="del">
          <pc:chgData name="John Paserba" userId="77bd6c8a-d0c1-4fea-8705-0169f65d0c0e" providerId="ADAL" clId="{FD5E66A9-D36E-40B5-9161-8BB75765BB68}" dt="2025-10-14T03:13:25.577" v="5245" actId="47"/>
          <pc:sldLayoutMkLst>
            <pc:docMk/>
            <pc:sldMasterMk cId="2305777553" sldId="2147483959"/>
            <pc:sldLayoutMk cId="3203288367" sldId="2147483960"/>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541615468" sldId="2147483961"/>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1570597567" sldId="2147483962"/>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847964975" sldId="2147483963"/>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2865024198" sldId="2147483964"/>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785147462" sldId="2147483965"/>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2436685351" sldId="2147483966"/>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561652799" sldId="2147483967"/>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1902827425" sldId="2147483968"/>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2550586193" sldId="2147483969"/>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3915980505" sldId="2147483970"/>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40160988" sldId="2147483971"/>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553757877" sldId="2147483972"/>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3659057889" sldId="2147483973"/>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602033492" sldId="2147483974"/>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1501001772" sldId="2147483975"/>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345885716" sldId="2147483976"/>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2250499842" sldId="2147483977"/>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933378544" sldId="2147483978"/>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2049463923" sldId="2147483979"/>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177572241" sldId="2147483980"/>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4165253742" sldId="2147483981"/>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3701536432" sldId="2147483982"/>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999307204" sldId="2147483983"/>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1981457718" sldId="2147483984"/>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3803304973" sldId="2147483985"/>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1312659763" sldId="2147483986"/>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3442700673" sldId="2147483987"/>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1916311258" sldId="2147483988"/>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1755334879" sldId="2147483989"/>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951895818" sldId="2147483990"/>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2439834277" sldId="2147483991"/>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431352345" sldId="2147483992"/>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2094598755" sldId="2147483993"/>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3308295482" sldId="2147483994"/>
          </pc:sldLayoutMkLst>
        </pc:sldLayoutChg>
        <pc:sldLayoutChg chg="del">
          <pc:chgData name="John Paserba" userId="77bd6c8a-d0c1-4fea-8705-0169f65d0c0e" providerId="ADAL" clId="{FD5E66A9-D36E-40B5-9161-8BB75765BB68}" dt="2025-10-14T03:13:25.577" v="5245" actId="47"/>
          <pc:sldLayoutMkLst>
            <pc:docMk/>
            <pc:sldMasterMk cId="2305777553" sldId="2147483959"/>
            <pc:sldLayoutMk cId="789503862" sldId="2147483995"/>
          </pc:sldLayoutMkLst>
        </pc:sldLayoutChg>
      </pc:sldMasterChg>
    </pc:docChg>
  </pc:docChgLst>
  <pc:docChgLst>
    <pc:chgData name="John Paserba" userId="77bd6c8a-d0c1-4fea-8705-0169f65d0c0e" providerId="ADAL" clId="{569F64FD-FE64-4867-854E-D31ACBDD4BE5}"/>
    <pc:docChg chg="undo redo custSel addSld delSld modSld sldOrd delMainMaster">
      <pc:chgData name="John Paserba" userId="77bd6c8a-d0c1-4fea-8705-0169f65d0c0e" providerId="ADAL" clId="{569F64FD-FE64-4867-854E-D31ACBDD4BE5}" dt="2025-10-19T03:02:23.744" v="2812" actId="20577"/>
      <pc:docMkLst>
        <pc:docMk/>
      </pc:docMkLst>
      <pc:sldChg chg="modSp del mod">
        <pc:chgData name="John Paserba" userId="77bd6c8a-d0c1-4fea-8705-0169f65d0c0e" providerId="ADAL" clId="{569F64FD-FE64-4867-854E-D31ACBDD4BE5}" dt="2025-10-16T05:19:01.754" v="2786" actId="2696"/>
        <pc:sldMkLst>
          <pc:docMk/>
          <pc:sldMk cId="1276255128" sldId="2147471078"/>
        </pc:sldMkLst>
        <pc:spChg chg="mod">
          <ac:chgData name="John Paserba" userId="77bd6c8a-d0c1-4fea-8705-0169f65d0c0e" providerId="ADAL" clId="{569F64FD-FE64-4867-854E-D31ACBDD4BE5}" dt="2025-10-16T02:42:01.815" v="1351" actId="20577"/>
          <ac:spMkLst>
            <pc:docMk/>
            <pc:sldMk cId="1276255128" sldId="2147471078"/>
            <ac:spMk id="3" creationId="{E6993746-A424-4F09-867F-B919F4E18ECB}"/>
          </ac:spMkLst>
        </pc:spChg>
        <pc:spChg chg="mod">
          <ac:chgData name="John Paserba" userId="77bd6c8a-d0c1-4fea-8705-0169f65d0c0e" providerId="ADAL" clId="{569F64FD-FE64-4867-854E-D31ACBDD4BE5}" dt="2025-10-16T02:08:14.004" v="131" actId="20577"/>
          <ac:spMkLst>
            <pc:docMk/>
            <pc:sldMk cId="1276255128" sldId="2147471078"/>
            <ac:spMk id="3328002" creationId="{00000000-0000-0000-0000-000000000000}"/>
          </ac:spMkLst>
        </pc:spChg>
      </pc:sldChg>
      <pc:sldChg chg="add">
        <pc:chgData name="John Paserba" userId="77bd6c8a-d0c1-4fea-8705-0169f65d0c0e" providerId="ADAL" clId="{569F64FD-FE64-4867-854E-D31ACBDD4BE5}" dt="2025-10-16T05:19:09.690" v="2787"/>
        <pc:sldMkLst>
          <pc:docMk/>
          <pc:sldMk cId="4172477377" sldId="2147471078"/>
        </pc:sldMkLst>
      </pc:sldChg>
      <pc:sldChg chg="add">
        <pc:chgData name="John Paserba" userId="77bd6c8a-d0c1-4fea-8705-0169f65d0c0e" providerId="ADAL" clId="{569F64FD-FE64-4867-854E-D31ACBDD4BE5}" dt="2025-10-16T05:19:09.690" v="2787"/>
        <pc:sldMkLst>
          <pc:docMk/>
          <pc:sldMk cId="354132065" sldId="2147471079"/>
        </pc:sldMkLst>
      </pc:sldChg>
      <pc:sldChg chg="del">
        <pc:chgData name="John Paserba" userId="77bd6c8a-d0c1-4fea-8705-0169f65d0c0e" providerId="ADAL" clId="{569F64FD-FE64-4867-854E-D31ACBDD4BE5}" dt="2025-10-16T05:19:01.754" v="2786" actId="2696"/>
        <pc:sldMkLst>
          <pc:docMk/>
          <pc:sldMk cId="4104312237" sldId="2147471079"/>
        </pc:sldMkLst>
      </pc:sldChg>
      <pc:sldChg chg="add">
        <pc:chgData name="John Paserba" userId="77bd6c8a-d0c1-4fea-8705-0169f65d0c0e" providerId="ADAL" clId="{569F64FD-FE64-4867-854E-D31ACBDD4BE5}" dt="2025-10-16T05:19:09.690" v="2787"/>
        <pc:sldMkLst>
          <pc:docMk/>
          <pc:sldMk cId="1460316880" sldId="2147471099"/>
        </pc:sldMkLst>
      </pc:sldChg>
      <pc:sldChg chg="del">
        <pc:chgData name="John Paserba" userId="77bd6c8a-d0c1-4fea-8705-0169f65d0c0e" providerId="ADAL" clId="{569F64FD-FE64-4867-854E-D31ACBDD4BE5}" dt="2025-10-16T05:19:01.754" v="2786" actId="2696"/>
        <pc:sldMkLst>
          <pc:docMk/>
          <pc:sldMk cId="2116055831" sldId="2147471099"/>
        </pc:sldMkLst>
      </pc:sldChg>
      <pc:sldChg chg="modSp del mod">
        <pc:chgData name="John Paserba" userId="77bd6c8a-d0c1-4fea-8705-0169f65d0c0e" providerId="ADAL" clId="{569F64FD-FE64-4867-854E-D31ACBDD4BE5}" dt="2025-10-16T05:19:01.754" v="2786" actId="2696"/>
        <pc:sldMkLst>
          <pc:docMk/>
          <pc:sldMk cId="1905327253" sldId="2147471104"/>
        </pc:sldMkLst>
        <pc:spChg chg="mod">
          <ac:chgData name="John Paserba" userId="77bd6c8a-d0c1-4fea-8705-0169f65d0c0e" providerId="ADAL" clId="{569F64FD-FE64-4867-854E-D31ACBDD4BE5}" dt="2025-10-16T02:36:24.208" v="1120" actId="20577"/>
          <ac:spMkLst>
            <pc:docMk/>
            <pc:sldMk cId="1905327253" sldId="2147471104"/>
            <ac:spMk id="3" creationId="{C7E63D57-1DFE-34B1-3170-34F96412855C}"/>
          </ac:spMkLst>
        </pc:spChg>
      </pc:sldChg>
      <pc:sldChg chg="add">
        <pc:chgData name="John Paserba" userId="77bd6c8a-d0c1-4fea-8705-0169f65d0c0e" providerId="ADAL" clId="{569F64FD-FE64-4867-854E-D31ACBDD4BE5}" dt="2025-10-16T05:19:09.690" v="2787"/>
        <pc:sldMkLst>
          <pc:docMk/>
          <pc:sldMk cId="3317265708" sldId="2147471104"/>
        </pc:sldMkLst>
      </pc:sldChg>
      <pc:sldChg chg="del">
        <pc:chgData name="John Paserba" userId="77bd6c8a-d0c1-4fea-8705-0169f65d0c0e" providerId="ADAL" clId="{569F64FD-FE64-4867-854E-D31ACBDD4BE5}" dt="2025-10-16T05:19:01.754" v="2786" actId="2696"/>
        <pc:sldMkLst>
          <pc:docMk/>
          <pc:sldMk cId="1466334429" sldId="2147471116"/>
        </pc:sldMkLst>
      </pc:sldChg>
      <pc:sldChg chg="add">
        <pc:chgData name="John Paserba" userId="77bd6c8a-d0c1-4fea-8705-0169f65d0c0e" providerId="ADAL" clId="{569F64FD-FE64-4867-854E-D31ACBDD4BE5}" dt="2025-10-16T05:19:09.690" v="2787"/>
        <pc:sldMkLst>
          <pc:docMk/>
          <pc:sldMk cId="2589779508" sldId="2147471116"/>
        </pc:sldMkLst>
      </pc:sldChg>
      <pc:sldChg chg="modSp mod">
        <pc:chgData name="John Paserba" userId="77bd6c8a-d0c1-4fea-8705-0169f65d0c0e" providerId="ADAL" clId="{569F64FD-FE64-4867-854E-D31ACBDD4BE5}" dt="2025-10-19T03:02:23.744" v="2812" actId="20577"/>
        <pc:sldMkLst>
          <pc:docMk/>
          <pc:sldMk cId="3260108025" sldId="2147471143"/>
        </pc:sldMkLst>
        <pc:spChg chg="mod">
          <ac:chgData name="John Paserba" userId="77bd6c8a-d0c1-4fea-8705-0169f65d0c0e" providerId="ADAL" clId="{569F64FD-FE64-4867-854E-D31ACBDD4BE5}" dt="2025-10-19T03:02:23.744" v="2812" actId="20577"/>
          <ac:spMkLst>
            <pc:docMk/>
            <pc:sldMk cId="3260108025" sldId="2147471143"/>
            <ac:spMk id="12" creationId="{F45E667D-D9ED-4BE1-999E-2A4766484A8F}"/>
          </ac:spMkLst>
        </pc:spChg>
      </pc:sldChg>
      <pc:sldChg chg="modSp mod">
        <pc:chgData name="John Paserba" userId="77bd6c8a-d0c1-4fea-8705-0169f65d0c0e" providerId="ADAL" clId="{569F64FD-FE64-4867-854E-D31ACBDD4BE5}" dt="2025-10-16T05:02:46.625" v="2728" actId="1076"/>
        <pc:sldMkLst>
          <pc:docMk/>
          <pc:sldMk cId="2772247767" sldId="2147471154"/>
        </pc:sldMkLst>
        <pc:spChg chg="mod">
          <ac:chgData name="John Paserba" userId="77bd6c8a-d0c1-4fea-8705-0169f65d0c0e" providerId="ADAL" clId="{569F64FD-FE64-4867-854E-D31ACBDD4BE5}" dt="2025-10-16T05:02:46.625" v="2728" actId="1076"/>
          <ac:spMkLst>
            <pc:docMk/>
            <pc:sldMk cId="2772247767" sldId="2147471154"/>
            <ac:spMk id="12" creationId="{0224764F-58D9-42F6-A12E-134DBB28701D}"/>
          </ac:spMkLst>
        </pc:spChg>
      </pc:sldChg>
      <pc:sldChg chg="modSp del mod">
        <pc:chgData name="John Paserba" userId="77bd6c8a-d0c1-4fea-8705-0169f65d0c0e" providerId="ADAL" clId="{569F64FD-FE64-4867-854E-D31ACBDD4BE5}" dt="2025-10-16T05:18:36.194" v="2784" actId="2696"/>
        <pc:sldMkLst>
          <pc:docMk/>
          <pc:sldMk cId="2966926703" sldId="2147471155"/>
        </pc:sldMkLst>
        <pc:spChg chg="mod">
          <ac:chgData name="John Paserba" userId="77bd6c8a-d0c1-4fea-8705-0169f65d0c0e" providerId="ADAL" clId="{569F64FD-FE64-4867-854E-D31ACBDD4BE5}" dt="2025-10-16T05:02:56.535" v="2729" actId="1076"/>
          <ac:spMkLst>
            <pc:docMk/>
            <pc:sldMk cId="2966926703" sldId="2147471155"/>
            <ac:spMk id="12" creationId="{0224764F-58D9-42F6-A12E-134DBB28701D}"/>
          </ac:spMkLst>
        </pc:spChg>
      </pc:sldChg>
      <pc:sldChg chg="add">
        <pc:chgData name="John Paserba" userId="77bd6c8a-d0c1-4fea-8705-0169f65d0c0e" providerId="ADAL" clId="{569F64FD-FE64-4867-854E-D31ACBDD4BE5}" dt="2025-10-16T05:18:47.429" v="2785"/>
        <pc:sldMkLst>
          <pc:docMk/>
          <pc:sldMk cId="3259153746" sldId="2147471155"/>
        </pc:sldMkLst>
      </pc:sldChg>
      <pc:sldChg chg="add">
        <pc:chgData name="John Paserba" userId="77bd6c8a-d0c1-4fea-8705-0169f65d0c0e" providerId="ADAL" clId="{569F64FD-FE64-4867-854E-D31ACBDD4BE5}" dt="2025-10-16T05:19:09.690" v="2787"/>
        <pc:sldMkLst>
          <pc:docMk/>
          <pc:sldMk cId="1347561772" sldId="2147471156"/>
        </pc:sldMkLst>
      </pc:sldChg>
      <pc:sldChg chg="modSp del mod">
        <pc:chgData name="John Paserba" userId="77bd6c8a-d0c1-4fea-8705-0169f65d0c0e" providerId="ADAL" clId="{569F64FD-FE64-4867-854E-D31ACBDD4BE5}" dt="2025-10-16T05:19:01.754" v="2786" actId="2696"/>
        <pc:sldMkLst>
          <pc:docMk/>
          <pc:sldMk cId="3796276003" sldId="2147471156"/>
        </pc:sldMkLst>
        <pc:spChg chg="mod">
          <ac:chgData name="John Paserba" userId="77bd6c8a-d0c1-4fea-8705-0169f65d0c0e" providerId="ADAL" clId="{569F64FD-FE64-4867-854E-D31ACBDD4BE5}" dt="2025-10-16T05:03:05.759" v="2730" actId="1076"/>
          <ac:spMkLst>
            <pc:docMk/>
            <pc:sldMk cId="3796276003" sldId="2147471156"/>
            <ac:spMk id="12" creationId="{0224764F-58D9-42F6-A12E-134DBB28701D}"/>
          </ac:spMkLst>
        </pc:spChg>
      </pc:sldChg>
      <pc:sldChg chg="add">
        <pc:chgData name="John Paserba" userId="77bd6c8a-d0c1-4fea-8705-0169f65d0c0e" providerId="ADAL" clId="{569F64FD-FE64-4867-854E-D31ACBDD4BE5}" dt="2025-10-16T05:18:47.429" v="2785"/>
        <pc:sldMkLst>
          <pc:docMk/>
          <pc:sldMk cId="370409829" sldId="2147471166"/>
        </pc:sldMkLst>
      </pc:sldChg>
      <pc:sldChg chg="modSp del mod">
        <pc:chgData name="John Paserba" userId="77bd6c8a-d0c1-4fea-8705-0169f65d0c0e" providerId="ADAL" clId="{569F64FD-FE64-4867-854E-D31ACBDD4BE5}" dt="2025-10-16T05:18:36.194" v="2784" actId="2696"/>
        <pc:sldMkLst>
          <pc:docMk/>
          <pc:sldMk cId="2731003306" sldId="2147471166"/>
        </pc:sldMkLst>
        <pc:spChg chg="mod">
          <ac:chgData name="John Paserba" userId="77bd6c8a-d0c1-4fea-8705-0169f65d0c0e" providerId="ADAL" clId="{569F64FD-FE64-4867-854E-D31ACBDD4BE5}" dt="2025-10-16T05:04:43.297" v="2757" actId="20577"/>
          <ac:spMkLst>
            <pc:docMk/>
            <pc:sldMk cId="2731003306" sldId="2147471166"/>
            <ac:spMk id="2" creationId="{00000000-0000-0000-0000-000000000000}"/>
          </ac:spMkLst>
        </pc:spChg>
        <pc:graphicFrameChg chg="mod">
          <ac:chgData name="John Paserba" userId="77bd6c8a-d0c1-4fea-8705-0169f65d0c0e" providerId="ADAL" clId="{569F64FD-FE64-4867-854E-D31ACBDD4BE5}" dt="2025-10-16T04:49:21.637" v="2699" actId="20577"/>
          <ac:graphicFrameMkLst>
            <pc:docMk/>
            <pc:sldMk cId="2731003306" sldId="2147471166"/>
            <ac:graphicFrameMk id="12" creationId="{310BB1C9-8561-4E6E-972C-48AFB5150FE9}"/>
          </ac:graphicFrameMkLst>
        </pc:graphicFrameChg>
        <pc:graphicFrameChg chg="mod">
          <ac:chgData name="John Paserba" userId="77bd6c8a-d0c1-4fea-8705-0169f65d0c0e" providerId="ADAL" clId="{569F64FD-FE64-4867-854E-D31ACBDD4BE5}" dt="2025-10-16T04:49:27.681" v="2700" actId="20577"/>
          <ac:graphicFrameMkLst>
            <pc:docMk/>
            <pc:sldMk cId="2731003306" sldId="2147471166"/>
            <ac:graphicFrameMk id="13" creationId="{E266A830-BBE7-449D-A035-108E241ECDB9}"/>
          </ac:graphicFrameMkLst>
        </pc:graphicFrameChg>
      </pc:sldChg>
      <pc:sldChg chg="modSp mod">
        <pc:chgData name="John Paserba" userId="77bd6c8a-d0c1-4fea-8705-0169f65d0c0e" providerId="ADAL" clId="{569F64FD-FE64-4867-854E-D31ACBDD4BE5}" dt="2025-10-16T04:38:42.932" v="2606" actId="339"/>
        <pc:sldMkLst>
          <pc:docMk/>
          <pc:sldMk cId="586829096" sldId="2147471185"/>
        </pc:sldMkLst>
        <pc:spChg chg="mod">
          <ac:chgData name="John Paserba" userId="77bd6c8a-d0c1-4fea-8705-0169f65d0c0e" providerId="ADAL" clId="{569F64FD-FE64-4867-854E-D31ACBDD4BE5}" dt="2025-10-16T02:40:13.033" v="1270" actId="20577"/>
          <ac:spMkLst>
            <pc:docMk/>
            <pc:sldMk cId="586829096" sldId="2147471185"/>
            <ac:spMk id="22" creationId="{E285CF2D-C718-433A-9ADB-CF02886B15AB}"/>
          </ac:spMkLst>
        </pc:spChg>
        <pc:graphicFrameChg chg="mod">
          <ac:chgData name="John Paserba" userId="77bd6c8a-d0c1-4fea-8705-0169f65d0c0e" providerId="ADAL" clId="{569F64FD-FE64-4867-854E-D31ACBDD4BE5}" dt="2025-10-16T04:38:42.932" v="2606" actId="339"/>
          <ac:graphicFrameMkLst>
            <pc:docMk/>
            <pc:sldMk cId="586829096" sldId="2147471185"/>
            <ac:graphicFrameMk id="21" creationId="{A60E9BF1-5140-4E8C-B5DC-A41539EC2A86}"/>
          </ac:graphicFrameMkLst>
        </pc:graphicFrameChg>
      </pc:sldChg>
      <pc:sldChg chg="modSp mod">
        <pc:chgData name="John Paserba" userId="77bd6c8a-d0c1-4fea-8705-0169f65d0c0e" providerId="ADAL" clId="{569F64FD-FE64-4867-854E-D31ACBDD4BE5}" dt="2025-10-16T04:31:29.284" v="2529" actId="27636"/>
        <pc:sldMkLst>
          <pc:docMk/>
          <pc:sldMk cId="3988688197" sldId="2147471187"/>
        </pc:sldMkLst>
        <pc:spChg chg="mod">
          <ac:chgData name="John Paserba" userId="77bd6c8a-d0c1-4fea-8705-0169f65d0c0e" providerId="ADAL" clId="{569F64FD-FE64-4867-854E-D31ACBDD4BE5}" dt="2025-10-16T04:31:29.284" v="2529" actId="27636"/>
          <ac:spMkLst>
            <pc:docMk/>
            <pc:sldMk cId="3988688197" sldId="2147471187"/>
            <ac:spMk id="5" creationId="{6F20F5EE-239B-245C-C76E-33E3340BDF30}"/>
          </ac:spMkLst>
        </pc:spChg>
        <pc:spChg chg="mod">
          <ac:chgData name="John Paserba" userId="77bd6c8a-d0c1-4fea-8705-0169f65d0c0e" providerId="ADAL" clId="{569F64FD-FE64-4867-854E-D31ACBDD4BE5}" dt="2025-10-16T02:10:04.956" v="192" actId="313"/>
          <ac:spMkLst>
            <pc:docMk/>
            <pc:sldMk cId="3988688197" sldId="2147471187"/>
            <ac:spMk id="3328002" creationId="{00000000-0000-0000-0000-000000000000}"/>
          </ac:spMkLst>
        </pc:spChg>
      </pc:sldChg>
      <pc:sldChg chg="modSp mod">
        <pc:chgData name="John Paserba" userId="77bd6c8a-d0c1-4fea-8705-0169f65d0c0e" providerId="ADAL" clId="{569F64FD-FE64-4867-854E-D31ACBDD4BE5}" dt="2025-10-16T04:32:45.954" v="2546" actId="20577"/>
        <pc:sldMkLst>
          <pc:docMk/>
          <pc:sldMk cId="226625141" sldId="2147471194"/>
        </pc:sldMkLst>
        <pc:spChg chg="mod">
          <ac:chgData name="John Paserba" userId="77bd6c8a-d0c1-4fea-8705-0169f65d0c0e" providerId="ADAL" clId="{569F64FD-FE64-4867-854E-D31ACBDD4BE5}" dt="2025-10-16T04:32:45.954" v="2546" actId="20577"/>
          <ac:spMkLst>
            <pc:docMk/>
            <pc:sldMk cId="226625141" sldId="2147471194"/>
            <ac:spMk id="3" creationId="{E6993746-A424-4F09-867F-B919F4E18ECB}"/>
          </ac:spMkLst>
        </pc:spChg>
        <pc:spChg chg="mod">
          <ac:chgData name="John Paserba" userId="77bd6c8a-d0c1-4fea-8705-0169f65d0c0e" providerId="ADAL" clId="{569F64FD-FE64-4867-854E-D31ACBDD4BE5}" dt="2025-10-16T02:40:35.774" v="1282" actId="20577"/>
          <ac:spMkLst>
            <pc:docMk/>
            <pc:sldMk cId="226625141" sldId="2147471194"/>
            <ac:spMk id="3328002" creationId="{00000000-0000-0000-0000-000000000000}"/>
          </ac:spMkLst>
        </pc:spChg>
      </pc:sldChg>
      <pc:sldChg chg="modSp mod">
        <pc:chgData name="John Paserba" userId="77bd6c8a-d0c1-4fea-8705-0169f65d0c0e" providerId="ADAL" clId="{569F64FD-FE64-4867-854E-D31ACBDD4BE5}" dt="2025-10-16T04:30:32.135" v="2518" actId="14100"/>
        <pc:sldMkLst>
          <pc:docMk/>
          <pc:sldMk cId="107756887" sldId="2147471201"/>
        </pc:sldMkLst>
        <pc:spChg chg="mod">
          <ac:chgData name="John Paserba" userId="77bd6c8a-d0c1-4fea-8705-0169f65d0c0e" providerId="ADAL" clId="{569F64FD-FE64-4867-854E-D31ACBDD4BE5}" dt="2025-10-16T04:30:32.135" v="2518" actId="14100"/>
          <ac:spMkLst>
            <pc:docMk/>
            <pc:sldMk cId="107756887" sldId="2147471201"/>
            <ac:spMk id="3" creationId="{C7E63D57-1DFE-34B1-3170-34F96412855C}"/>
          </ac:spMkLst>
        </pc:spChg>
      </pc:sldChg>
      <pc:sldChg chg="modSp del mod">
        <pc:chgData name="John Paserba" userId="77bd6c8a-d0c1-4fea-8705-0169f65d0c0e" providerId="ADAL" clId="{569F64FD-FE64-4867-854E-D31ACBDD4BE5}" dt="2025-10-16T05:18:36.194" v="2784" actId="2696"/>
        <pc:sldMkLst>
          <pc:docMk/>
          <pc:sldMk cId="1003682398" sldId="2147471204"/>
        </pc:sldMkLst>
        <pc:spChg chg="mod">
          <ac:chgData name="John Paserba" userId="77bd6c8a-d0c1-4fea-8705-0169f65d0c0e" providerId="ADAL" clId="{569F64FD-FE64-4867-854E-D31ACBDD4BE5}" dt="2025-10-16T04:49:46.280" v="2705" actId="20577"/>
          <ac:spMkLst>
            <pc:docMk/>
            <pc:sldMk cId="1003682398" sldId="2147471204"/>
            <ac:spMk id="2" creationId="{6D8A165E-458A-41C5-8EC0-ED887338CD4B}"/>
          </ac:spMkLst>
        </pc:spChg>
        <pc:spChg chg="mod">
          <ac:chgData name="John Paserba" userId="77bd6c8a-d0c1-4fea-8705-0169f65d0c0e" providerId="ADAL" clId="{569F64FD-FE64-4867-854E-D31ACBDD4BE5}" dt="2025-10-16T04:50:12.057" v="2708" actId="20577"/>
          <ac:spMkLst>
            <pc:docMk/>
            <pc:sldMk cId="1003682398" sldId="2147471204"/>
            <ac:spMk id="4" creationId="{C2C99258-52AB-4386-BD92-908479CB2924}"/>
          </ac:spMkLst>
        </pc:spChg>
      </pc:sldChg>
      <pc:sldChg chg="add">
        <pc:chgData name="John Paserba" userId="77bd6c8a-d0c1-4fea-8705-0169f65d0c0e" providerId="ADAL" clId="{569F64FD-FE64-4867-854E-D31ACBDD4BE5}" dt="2025-10-16T05:18:47.429" v="2785"/>
        <pc:sldMkLst>
          <pc:docMk/>
          <pc:sldMk cId="4206072105" sldId="2147471204"/>
        </pc:sldMkLst>
      </pc:sldChg>
      <pc:sldChg chg="add">
        <pc:chgData name="John Paserba" userId="77bd6c8a-d0c1-4fea-8705-0169f65d0c0e" providerId="ADAL" clId="{569F64FD-FE64-4867-854E-D31ACBDD4BE5}" dt="2025-10-16T05:18:47.429" v="2785"/>
        <pc:sldMkLst>
          <pc:docMk/>
          <pc:sldMk cId="1192964890" sldId="2147471206"/>
        </pc:sldMkLst>
      </pc:sldChg>
      <pc:sldChg chg="modSp del mod">
        <pc:chgData name="John Paserba" userId="77bd6c8a-d0c1-4fea-8705-0169f65d0c0e" providerId="ADAL" clId="{569F64FD-FE64-4867-854E-D31ACBDD4BE5}" dt="2025-10-16T05:18:36.194" v="2784" actId="2696"/>
        <pc:sldMkLst>
          <pc:docMk/>
          <pc:sldMk cId="2759419585" sldId="2147471206"/>
        </pc:sldMkLst>
        <pc:spChg chg="mod">
          <ac:chgData name="John Paserba" userId="77bd6c8a-d0c1-4fea-8705-0169f65d0c0e" providerId="ADAL" clId="{569F64FD-FE64-4867-854E-D31ACBDD4BE5}" dt="2025-10-16T05:05:04.925" v="2761" actId="20577"/>
          <ac:spMkLst>
            <pc:docMk/>
            <pc:sldMk cId="2759419585" sldId="2147471206"/>
            <ac:spMk id="2" creationId="{6D8A165E-458A-41C5-8EC0-ED887338CD4B}"/>
          </ac:spMkLst>
        </pc:spChg>
      </pc:sldChg>
      <pc:sldChg chg="modSp del mod">
        <pc:chgData name="John Paserba" userId="77bd6c8a-d0c1-4fea-8705-0169f65d0c0e" providerId="ADAL" clId="{569F64FD-FE64-4867-854E-D31ACBDD4BE5}" dt="2025-10-16T05:18:36.194" v="2784" actId="2696"/>
        <pc:sldMkLst>
          <pc:docMk/>
          <pc:sldMk cId="877866503" sldId="2147471207"/>
        </pc:sldMkLst>
        <pc:spChg chg="mod">
          <ac:chgData name="John Paserba" userId="77bd6c8a-d0c1-4fea-8705-0169f65d0c0e" providerId="ADAL" clId="{569F64FD-FE64-4867-854E-D31ACBDD4BE5}" dt="2025-10-16T05:05:09.547" v="2763" actId="20577"/>
          <ac:spMkLst>
            <pc:docMk/>
            <pc:sldMk cId="877866503" sldId="2147471207"/>
            <ac:spMk id="2" creationId="{6D8A165E-458A-41C5-8EC0-ED887338CD4B}"/>
          </ac:spMkLst>
        </pc:spChg>
        <pc:spChg chg="mod">
          <ac:chgData name="John Paserba" userId="77bd6c8a-d0c1-4fea-8705-0169f65d0c0e" providerId="ADAL" clId="{569F64FD-FE64-4867-854E-D31ACBDD4BE5}" dt="2025-10-16T02:07:06.564" v="98" actId="20577"/>
          <ac:spMkLst>
            <pc:docMk/>
            <pc:sldMk cId="877866503" sldId="2147471207"/>
            <ac:spMk id="4" creationId="{C2C99258-52AB-4386-BD92-908479CB2924}"/>
          </ac:spMkLst>
        </pc:spChg>
      </pc:sldChg>
      <pc:sldChg chg="add">
        <pc:chgData name="John Paserba" userId="77bd6c8a-d0c1-4fea-8705-0169f65d0c0e" providerId="ADAL" clId="{569F64FD-FE64-4867-854E-D31ACBDD4BE5}" dt="2025-10-16T05:18:47.429" v="2785"/>
        <pc:sldMkLst>
          <pc:docMk/>
          <pc:sldMk cId="2073588275" sldId="2147471207"/>
        </pc:sldMkLst>
      </pc:sldChg>
      <pc:sldChg chg="add">
        <pc:chgData name="John Paserba" userId="77bd6c8a-d0c1-4fea-8705-0169f65d0c0e" providerId="ADAL" clId="{569F64FD-FE64-4867-854E-D31ACBDD4BE5}" dt="2025-10-16T05:18:47.429" v="2785"/>
        <pc:sldMkLst>
          <pc:docMk/>
          <pc:sldMk cId="92281981" sldId="2147471248"/>
        </pc:sldMkLst>
      </pc:sldChg>
      <pc:sldChg chg="modSp del mod">
        <pc:chgData name="John Paserba" userId="77bd6c8a-d0c1-4fea-8705-0169f65d0c0e" providerId="ADAL" clId="{569F64FD-FE64-4867-854E-D31ACBDD4BE5}" dt="2025-10-16T05:18:36.194" v="2784" actId="2696"/>
        <pc:sldMkLst>
          <pc:docMk/>
          <pc:sldMk cId="3585007938" sldId="2147471248"/>
        </pc:sldMkLst>
        <pc:spChg chg="mod">
          <ac:chgData name="John Paserba" userId="77bd6c8a-d0c1-4fea-8705-0169f65d0c0e" providerId="ADAL" clId="{569F64FD-FE64-4867-854E-D31ACBDD4BE5}" dt="2025-10-16T04:48:36.065" v="2691" actId="20577"/>
          <ac:spMkLst>
            <pc:docMk/>
            <pc:sldMk cId="3585007938" sldId="2147471248"/>
            <ac:spMk id="2" creationId="{E023DA16-09A1-34B1-8C00-F948BA5C7203}"/>
          </ac:spMkLst>
        </pc:spChg>
        <pc:spChg chg="mod">
          <ac:chgData name="John Paserba" userId="77bd6c8a-d0c1-4fea-8705-0169f65d0c0e" providerId="ADAL" clId="{569F64FD-FE64-4867-854E-D31ACBDD4BE5}" dt="2025-10-16T02:06:21.885" v="90" actId="20577"/>
          <ac:spMkLst>
            <pc:docMk/>
            <pc:sldMk cId="3585007938" sldId="2147471248"/>
            <ac:spMk id="53" creationId="{06373853-8040-25F1-99BE-7949D5E1AA6E}"/>
          </ac:spMkLst>
        </pc:spChg>
      </pc:sldChg>
      <pc:sldChg chg="modSp mod">
        <pc:chgData name="John Paserba" userId="77bd6c8a-d0c1-4fea-8705-0169f65d0c0e" providerId="ADAL" clId="{569F64FD-FE64-4867-854E-D31ACBDD4BE5}" dt="2025-10-16T04:14:05.038" v="2268" actId="20577"/>
        <pc:sldMkLst>
          <pc:docMk/>
          <pc:sldMk cId="2351575374" sldId="2147471318"/>
        </pc:sldMkLst>
        <pc:spChg chg="mod">
          <ac:chgData name="John Paserba" userId="77bd6c8a-d0c1-4fea-8705-0169f65d0c0e" providerId="ADAL" clId="{569F64FD-FE64-4867-854E-D31ACBDD4BE5}" dt="2025-10-16T03:53:33.371" v="1980" actId="1035"/>
          <ac:spMkLst>
            <pc:docMk/>
            <pc:sldMk cId="2351575374" sldId="2147471318"/>
            <ac:spMk id="3" creationId="{94255D3C-3B23-4102-9C4E-FA5BF42C5E17}"/>
          </ac:spMkLst>
        </pc:spChg>
        <pc:spChg chg="mod">
          <ac:chgData name="John Paserba" userId="77bd6c8a-d0c1-4fea-8705-0169f65d0c0e" providerId="ADAL" clId="{569F64FD-FE64-4867-854E-D31ACBDD4BE5}" dt="2025-10-16T03:52:56.727" v="1971" actId="1076"/>
          <ac:spMkLst>
            <pc:docMk/>
            <pc:sldMk cId="2351575374" sldId="2147471318"/>
            <ac:spMk id="6" creationId="{00000000-0000-0000-0000-000000000000}"/>
          </ac:spMkLst>
        </pc:spChg>
        <pc:spChg chg="mod">
          <ac:chgData name="John Paserba" userId="77bd6c8a-d0c1-4fea-8705-0169f65d0c0e" providerId="ADAL" clId="{569F64FD-FE64-4867-854E-D31ACBDD4BE5}" dt="2025-10-16T03:53:33.371" v="1980" actId="1035"/>
          <ac:spMkLst>
            <pc:docMk/>
            <pc:sldMk cId="2351575374" sldId="2147471318"/>
            <ac:spMk id="10" creationId="{C41643C0-F0EC-4F22-8023-69B558CD6FCB}"/>
          </ac:spMkLst>
        </pc:spChg>
        <pc:graphicFrameChg chg="mod">
          <ac:chgData name="John Paserba" userId="77bd6c8a-d0c1-4fea-8705-0169f65d0c0e" providerId="ADAL" clId="{569F64FD-FE64-4867-854E-D31ACBDD4BE5}" dt="2025-10-16T03:53:33.371" v="1980" actId="1035"/>
          <ac:graphicFrameMkLst>
            <pc:docMk/>
            <pc:sldMk cId="2351575374" sldId="2147471318"/>
            <ac:graphicFrameMk id="5" creationId="{00000000-0000-0000-0000-000000000000}"/>
          </ac:graphicFrameMkLst>
        </pc:graphicFrameChg>
        <pc:graphicFrameChg chg="mod modGraphic">
          <ac:chgData name="John Paserba" userId="77bd6c8a-d0c1-4fea-8705-0169f65d0c0e" providerId="ADAL" clId="{569F64FD-FE64-4867-854E-D31ACBDD4BE5}" dt="2025-10-16T04:14:05.038" v="2268" actId="20577"/>
          <ac:graphicFrameMkLst>
            <pc:docMk/>
            <pc:sldMk cId="2351575374" sldId="2147471318"/>
            <ac:graphicFrameMk id="7" creationId="{3FA285DF-14FF-4E58-B4AA-7349E80126A6}"/>
          </ac:graphicFrameMkLst>
        </pc:graphicFrameChg>
        <pc:graphicFrameChg chg="mod modGraphic">
          <ac:chgData name="John Paserba" userId="77bd6c8a-d0c1-4fea-8705-0169f65d0c0e" providerId="ADAL" clId="{569F64FD-FE64-4867-854E-D31ACBDD4BE5}" dt="2025-10-16T04:13:44.348" v="2260" actId="20577"/>
          <ac:graphicFrameMkLst>
            <pc:docMk/>
            <pc:sldMk cId="2351575374" sldId="2147471318"/>
            <ac:graphicFrameMk id="9" creationId="{3B3B08A5-4470-463B-81EC-731E80F1025A}"/>
          </ac:graphicFrameMkLst>
        </pc:graphicFrameChg>
      </pc:sldChg>
      <pc:sldChg chg="modSp mod ord">
        <pc:chgData name="John Paserba" userId="77bd6c8a-d0c1-4fea-8705-0169f65d0c0e" providerId="ADAL" clId="{569F64FD-FE64-4867-854E-D31ACBDD4BE5}" dt="2025-10-16T03:50:10.413" v="1967" actId="27636"/>
        <pc:sldMkLst>
          <pc:docMk/>
          <pc:sldMk cId="90357567" sldId="2147471320"/>
        </pc:sldMkLst>
        <pc:spChg chg="mod">
          <ac:chgData name="John Paserba" userId="77bd6c8a-d0c1-4fea-8705-0169f65d0c0e" providerId="ADAL" clId="{569F64FD-FE64-4867-854E-D31ACBDD4BE5}" dt="2025-10-16T03:50:10.413" v="1967" actId="27636"/>
          <ac:spMkLst>
            <pc:docMk/>
            <pc:sldMk cId="90357567" sldId="2147471320"/>
            <ac:spMk id="2" creationId="{00000000-0000-0000-0000-000000000000}"/>
          </ac:spMkLst>
        </pc:spChg>
      </pc:sldChg>
      <pc:sldChg chg="modSp mod">
        <pc:chgData name="John Paserba" userId="77bd6c8a-d0c1-4fea-8705-0169f65d0c0e" providerId="ADAL" clId="{569F64FD-FE64-4867-854E-D31ACBDD4BE5}" dt="2025-10-16T04:21:56.638" v="2447" actId="20577"/>
        <pc:sldMkLst>
          <pc:docMk/>
          <pc:sldMk cId="637690621" sldId="2147471352"/>
        </pc:sldMkLst>
        <pc:spChg chg="mod">
          <ac:chgData name="John Paserba" userId="77bd6c8a-d0c1-4fea-8705-0169f65d0c0e" providerId="ADAL" clId="{569F64FD-FE64-4867-854E-D31ACBDD4BE5}" dt="2025-10-16T04:21:56.638" v="2447" actId="20577"/>
          <ac:spMkLst>
            <pc:docMk/>
            <pc:sldMk cId="637690621" sldId="2147471352"/>
            <ac:spMk id="2" creationId="{00000000-0000-0000-0000-000000000000}"/>
          </ac:spMkLst>
        </pc:spChg>
      </pc:sldChg>
      <pc:sldChg chg="modSp mod">
        <pc:chgData name="John Paserba" userId="77bd6c8a-d0c1-4fea-8705-0169f65d0c0e" providerId="ADAL" clId="{569F64FD-FE64-4867-854E-D31ACBDD4BE5}" dt="2025-10-16T05:01:50.818" v="2726" actId="1076"/>
        <pc:sldMkLst>
          <pc:docMk/>
          <pc:sldMk cId="2149725124" sldId="2147471353"/>
        </pc:sldMkLst>
        <pc:spChg chg="mod">
          <ac:chgData name="John Paserba" userId="77bd6c8a-d0c1-4fea-8705-0169f65d0c0e" providerId="ADAL" clId="{569F64FD-FE64-4867-854E-D31ACBDD4BE5}" dt="2025-10-16T05:01:50.818" v="2726" actId="1076"/>
          <ac:spMkLst>
            <pc:docMk/>
            <pc:sldMk cId="2149725124" sldId="2147471353"/>
            <ac:spMk id="12" creationId="{0224764F-58D9-42F6-A12E-134DBB28701D}"/>
          </ac:spMkLst>
        </pc:spChg>
      </pc:sldChg>
      <pc:sldChg chg="modSp mod">
        <pc:chgData name="John Paserba" userId="77bd6c8a-d0c1-4fea-8705-0169f65d0c0e" providerId="ADAL" clId="{569F64FD-FE64-4867-854E-D31ACBDD4BE5}" dt="2025-10-16T02:39:46.445" v="1259" actId="20577"/>
        <pc:sldMkLst>
          <pc:docMk/>
          <pc:sldMk cId="2330762423" sldId="2147471357"/>
        </pc:sldMkLst>
        <pc:spChg chg="mod">
          <ac:chgData name="John Paserba" userId="77bd6c8a-d0c1-4fea-8705-0169f65d0c0e" providerId="ADAL" clId="{569F64FD-FE64-4867-854E-D31ACBDD4BE5}" dt="2025-10-16T02:39:46.445" v="1259" actId="20577"/>
          <ac:spMkLst>
            <pc:docMk/>
            <pc:sldMk cId="2330762423" sldId="2147471357"/>
            <ac:spMk id="3" creationId="{E6993746-A424-4F09-867F-B919F4E18ECB}"/>
          </ac:spMkLst>
        </pc:spChg>
      </pc:sldChg>
      <pc:sldChg chg="modSp del mod">
        <pc:chgData name="John Paserba" userId="77bd6c8a-d0c1-4fea-8705-0169f65d0c0e" providerId="ADAL" clId="{569F64FD-FE64-4867-854E-D31ACBDD4BE5}" dt="2025-10-16T05:18:36.194" v="2784" actId="2696"/>
        <pc:sldMkLst>
          <pc:docMk/>
          <pc:sldMk cId="685293483" sldId="2147471390"/>
        </pc:sldMkLst>
        <pc:spChg chg="mod">
          <ac:chgData name="John Paserba" userId="77bd6c8a-d0c1-4fea-8705-0169f65d0c0e" providerId="ADAL" clId="{569F64FD-FE64-4867-854E-D31ACBDD4BE5}" dt="2025-10-16T04:48:23.990" v="2689" actId="20577"/>
          <ac:spMkLst>
            <pc:docMk/>
            <pc:sldMk cId="685293483" sldId="2147471390"/>
            <ac:spMk id="3328002" creationId="{00000000-0000-0000-0000-000000000000}"/>
          </ac:spMkLst>
        </pc:spChg>
      </pc:sldChg>
      <pc:sldChg chg="add">
        <pc:chgData name="John Paserba" userId="77bd6c8a-d0c1-4fea-8705-0169f65d0c0e" providerId="ADAL" clId="{569F64FD-FE64-4867-854E-D31ACBDD4BE5}" dt="2025-10-16T05:18:47.429" v="2785"/>
        <pc:sldMkLst>
          <pc:docMk/>
          <pc:sldMk cId="1670009108" sldId="2147471390"/>
        </pc:sldMkLst>
      </pc:sldChg>
      <pc:sldChg chg="add">
        <pc:chgData name="John Paserba" userId="77bd6c8a-d0c1-4fea-8705-0169f65d0c0e" providerId="ADAL" clId="{569F64FD-FE64-4867-854E-D31ACBDD4BE5}" dt="2025-10-16T05:18:47.429" v="2785"/>
        <pc:sldMkLst>
          <pc:docMk/>
          <pc:sldMk cId="3682362219" sldId="2147471391"/>
        </pc:sldMkLst>
      </pc:sldChg>
      <pc:sldChg chg="modSp del mod">
        <pc:chgData name="John Paserba" userId="77bd6c8a-d0c1-4fea-8705-0169f65d0c0e" providerId="ADAL" clId="{569F64FD-FE64-4867-854E-D31ACBDD4BE5}" dt="2025-10-16T05:18:36.194" v="2784" actId="2696"/>
        <pc:sldMkLst>
          <pc:docMk/>
          <pc:sldMk cId="4193241168" sldId="2147471391"/>
        </pc:sldMkLst>
        <pc:spChg chg="mod">
          <ac:chgData name="John Paserba" userId="77bd6c8a-d0c1-4fea-8705-0169f65d0c0e" providerId="ADAL" clId="{569F64FD-FE64-4867-854E-D31ACBDD4BE5}" dt="2025-10-16T04:48:31.889" v="2690" actId="20577"/>
          <ac:spMkLst>
            <pc:docMk/>
            <pc:sldMk cId="4193241168" sldId="2147471391"/>
            <ac:spMk id="3328002" creationId="{00000000-0000-0000-0000-000000000000}"/>
          </ac:spMkLst>
        </pc:spChg>
      </pc:sldChg>
      <pc:sldChg chg="modSp del mod">
        <pc:chgData name="John Paserba" userId="77bd6c8a-d0c1-4fea-8705-0169f65d0c0e" providerId="ADAL" clId="{569F64FD-FE64-4867-854E-D31ACBDD4BE5}" dt="2025-10-16T05:18:36.194" v="2784" actId="2696"/>
        <pc:sldMkLst>
          <pc:docMk/>
          <pc:sldMk cId="2607991234" sldId="2147471394"/>
        </pc:sldMkLst>
        <pc:spChg chg="mod">
          <ac:chgData name="John Paserba" userId="77bd6c8a-d0c1-4fea-8705-0169f65d0c0e" providerId="ADAL" clId="{569F64FD-FE64-4867-854E-D31ACBDD4BE5}" dt="2025-10-16T04:52:58.467" v="2720" actId="255"/>
          <ac:spMkLst>
            <pc:docMk/>
            <pc:sldMk cId="2607991234" sldId="2147471394"/>
            <ac:spMk id="3" creationId="{E6993746-A424-4F09-867F-B919F4E18ECB}"/>
          </ac:spMkLst>
        </pc:spChg>
        <pc:spChg chg="mod">
          <ac:chgData name="John Paserba" userId="77bd6c8a-d0c1-4fea-8705-0169f65d0c0e" providerId="ADAL" clId="{569F64FD-FE64-4867-854E-D31ACBDD4BE5}" dt="2025-10-16T04:48:46.669" v="2693" actId="20577"/>
          <ac:spMkLst>
            <pc:docMk/>
            <pc:sldMk cId="2607991234" sldId="2147471394"/>
            <ac:spMk id="3328002" creationId="{00000000-0000-0000-0000-000000000000}"/>
          </ac:spMkLst>
        </pc:spChg>
      </pc:sldChg>
      <pc:sldChg chg="add">
        <pc:chgData name="John Paserba" userId="77bd6c8a-d0c1-4fea-8705-0169f65d0c0e" providerId="ADAL" clId="{569F64FD-FE64-4867-854E-D31ACBDD4BE5}" dt="2025-10-16T05:18:47.429" v="2785"/>
        <pc:sldMkLst>
          <pc:docMk/>
          <pc:sldMk cId="3034578885" sldId="2147471394"/>
        </pc:sldMkLst>
      </pc:sldChg>
      <pc:sldChg chg="add">
        <pc:chgData name="John Paserba" userId="77bd6c8a-d0c1-4fea-8705-0169f65d0c0e" providerId="ADAL" clId="{569F64FD-FE64-4867-854E-D31ACBDD4BE5}" dt="2025-10-16T05:18:47.429" v="2785"/>
        <pc:sldMkLst>
          <pc:docMk/>
          <pc:sldMk cId="2123767180" sldId="2147471395"/>
        </pc:sldMkLst>
      </pc:sldChg>
      <pc:sldChg chg="modSp del mod">
        <pc:chgData name="John Paserba" userId="77bd6c8a-d0c1-4fea-8705-0169f65d0c0e" providerId="ADAL" clId="{569F64FD-FE64-4867-854E-D31ACBDD4BE5}" dt="2025-10-16T05:18:36.194" v="2784" actId="2696"/>
        <pc:sldMkLst>
          <pc:docMk/>
          <pc:sldMk cId="2990581354" sldId="2147471395"/>
        </pc:sldMkLst>
        <pc:spChg chg="mod">
          <ac:chgData name="John Paserba" userId="77bd6c8a-d0c1-4fea-8705-0169f65d0c0e" providerId="ADAL" clId="{569F64FD-FE64-4867-854E-D31ACBDD4BE5}" dt="2025-10-16T04:49:32.723" v="2701" actId="20577"/>
          <ac:spMkLst>
            <pc:docMk/>
            <pc:sldMk cId="2990581354" sldId="2147471395"/>
            <ac:spMk id="3328002" creationId="{00000000-0000-0000-0000-000000000000}"/>
          </ac:spMkLst>
        </pc:spChg>
      </pc:sldChg>
      <pc:sldChg chg="modSp del mod">
        <pc:chgData name="John Paserba" userId="77bd6c8a-d0c1-4fea-8705-0169f65d0c0e" providerId="ADAL" clId="{569F64FD-FE64-4867-854E-D31ACBDD4BE5}" dt="2025-10-16T05:18:36.194" v="2784" actId="2696"/>
        <pc:sldMkLst>
          <pc:docMk/>
          <pc:sldMk cId="319735379" sldId="2147471396"/>
        </pc:sldMkLst>
        <pc:spChg chg="mod">
          <ac:chgData name="John Paserba" userId="77bd6c8a-d0c1-4fea-8705-0169f65d0c0e" providerId="ADAL" clId="{569F64FD-FE64-4867-854E-D31ACBDD4BE5}" dt="2025-10-16T05:05:13.596" v="2765" actId="20577"/>
          <ac:spMkLst>
            <pc:docMk/>
            <pc:sldMk cId="319735379" sldId="2147471396"/>
            <ac:spMk id="3328002" creationId="{00000000-0000-0000-0000-000000000000}"/>
          </ac:spMkLst>
        </pc:spChg>
      </pc:sldChg>
      <pc:sldChg chg="add">
        <pc:chgData name="John Paserba" userId="77bd6c8a-d0c1-4fea-8705-0169f65d0c0e" providerId="ADAL" clId="{569F64FD-FE64-4867-854E-D31ACBDD4BE5}" dt="2025-10-16T05:18:47.429" v="2785"/>
        <pc:sldMkLst>
          <pc:docMk/>
          <pc:sldMk cId="1852686075" sldId="2147471396"/>
        </pc:sldMkLst>
      </pc:sldChg>
      <pc:sldChg chg="modSp del mod">
        <pc:chgData name="John Paserba" userId="77bd6c8a-d0c1-4fea-8705-0169f65d0c0e" providerId="ADAL" clId="{569F64FD-FE64-4867-854E-D31ACBDD4BE5}" dt="2025-10-16T05:18:36.194" v="2784" actId="2696"/>
        <pc:sldMkLst>
          <pc:docMk/>
          <pc:sldMk cId="38863386" sldId="2147471397"/>
        </pc:sldMkLst>
        <pc:spChg chg="mod">
          <ac:chgData name="John Paserba" userId="77bd6c8a-d0c1-4fea-8705-0169f65d0c0e" providerId="ADAL" clId="{569F64FD-FE64-4867-854E-D31ACBDD4BE5}" dt="2025-10-16T05:05:19.190" v="2767" actId="20577"/>
          <ac:spMkLst>
            <pc:docMk/>
            <pc:sldMk cId="38863386" sldId="2147471397"/>
            <ac:spMk id="3328002" creationId="{00000000-0000-0000-0000-000000000000}"/>
          </ac:spMkLst>
        </pc:spChg>
      </pc:sldChg>
      <pc:sldChg chg="add">
        <pc:chgData name="John Paserba" userId="77bd6c8a-d0c1-4fea-8705-0169f65d0c0e" providerId="ADAL" clId="{569F64FD-FE64-4867-854E-D31ACBDD4BE5}" dt="2025-10-16T05:18:47.429" v="2785"/>
        <pc:sldMkLst>
          <pc:docMk/>
          <pc:sldMk cId="3347576178" sldId="2147471397"/>
        </pc:sldMkLst>
      </pc:sldChg>
      <pc:sldChg chg="modSp del mod">
        <pc:chgData name="John Paserba" userId="77bd6c8a-d0c1-4fea-8705-0169f65d0c0e" providerId="ADAL" clId="{569F64FD-FE64-4867-854E-D31ACBDD4BE5}" dt="2025-10-16T04:44:41.347" v="2648" actId="47"/>
        <pc:sldMkLst>
          <pc:docMk/>
          <pc:sldMk cId="1373961495" sldId="2147471399"/>
        </pc:sldMkLst>
        <pc:spChg chg="mod">
          <ac:chgData name="John Paserba" userId="77bd6c8a-d0c1-4fea-8705-0169f65d0c0e" providerId="ADAL" clId="{569F64FD-FE64-4867-854E-D31ACBDD4BE5}" dt="2025-10-16T02:37:00.545" v="1151" actId="20577"/>
          <ac:spMkLst>
            <pc:docMk/>
            <pc:sldMk cId="1373961495" sldId="2147471399"/>
            <ac:spMk id="3" creationId="{E6993746-A424-4F09-867F-B919F4E18ECB}"/>
          </ac:spMkLst>
        </pc:spChg>
      </pc:sldChg>
      <pc:sldChg chg="add">
        <pc:chgData name="John Paserba" userId="77bd6c8a-d0c1-4fea-8705-0169f65d0c0e" providerId="ADAL" clId="{569F64FD-FE64-4867-854E-D31ACBDD4BE5}" dt="2025-10-16T05:19:09.690" v="2787"/>
        <pc:sldMkLst>
          <pc:docMk/>
          <pc:sldMk cId="364729074" sldId="2147471401"/>
        </pc:sldMkLst>
      </pc:sldChg>
      <pc:sldChg chg="modSp del mod">
        <pc:chgData name="John Paserba" userId="77bd6c8a-d0c1-4fea-8705-0169f65d0c0e" providerId="ADAL" clId="{569F64FD-FE64-4867-854E-D31ACBDD4BE5}" dt="2025-10-16T05:19:01.754" v="2786" actId="2696"/>
        <pc:sldMkLst>
          <pc:docMk/>
          <pc:sldMk cId="612862457" sldId="2147471401"/>
        </pc:sldMkLst>
        <pc:spChg chg="mod">
          <ac:chgData name="John Paserba" userId="77bd6c8a-d0c1-4fea-8705-0169f65d0c0e" providerId="ADAL" clId="{569F64FD-FE64-4867-854E-D31ACBDD4BE5}" dt="2025-10-16T02:08:41.079" v="142" actId="313"/>
          <ac:spMkLst>
            <pc:docMk/>
            <pc:sldMk cId="612862457" sldId="2147471401"/>
            <ac:spMk id="3" creationId="{E6993746-A424-4F09-867F-B919F4E18ECB}"/>
          </ac:spMkLst>
        </pc:spChg>
      </pc:sldChg>
      <pc:sldChg chg="add">
        <pc:chgData name="John Paserba" userId="77bd6c8a-d0c1-4fea-8705-0169f65d0c0e" providerId="ADAL" clId="{569F64FD-FE64-4867-854E-D31ACBDD4BE5}" dt="2025-10-16T05:19:09.690" v="2787"/>
        <pc:sldMkLst>
          <pc:docMk/>
          <pc:sldMk cId="88871316" sldId="2147471402"/>
        </pc:sldMkLst>
      </pc:sldChg>
      <pc:sldChg chg="modSp del mod">
        <pc:chgData name="John Paserba" userId="77bd6c8a-d0c1-4fea-8705-0169f65d0c0e" providerId="ADAL" clId="{569F64FD-FE64-4867-854E-D31ACBDD4BE5}" dt="2025-10-16T05:19:01.754" v="2786" actId="2696"/>
        <pc:sldMkLst>
          <pc:docMk/>
          <pc:sldMk cId="2996227156" sldId="2147471402"/>
        </pc:sldMkLst>
        <pc:spChg chg="mod">
          <ac:chgData name="John Paserba" userId="77bd6c8a-d0c1-4fea-8705-0169f65d0c0e" providerId="ADAL" clId="{569F64FD-FE64-4867-854E-D31ACBDD4BE5}" dt="2025-10-16T02:42:37.643" v="1381" actId="20577"/>
          <ac:spMkLst>
            <pc:docMk/>
            <pc:sldMk cId="2996227156" sldId="2147471402"/>
            <ac:spMk id="3" creationId="{E6993746-A424-4F09-867F-B919F4E18ECB}"/>
          </ac:spMkLst>
        </pc:spChg>
      </pc:sldChg>
      <pc:sldChg chg="del">
        <pc:chgData name="John Paserba" userId="77bd6c8a-d0c1-4fea-8705-0169f65d0c0e" providerId="ADAL" clId="{569F64FD-FE64-4867-854E-D31ACBDD4BE5}" dt="2025-10-16T05:19:01.754" v="2786" actId="2696"/>
        <pc:sldMkLst>
          <pc:docMk/>
          <pc:sldMk cId="3510514369" sldId="2147471403"/>
        </pc:sldMkLst>
      </pc:sldChg>
      <pc:sldChg chg="add">
        <pc:chgData name="John Paserba" userId="77bd6c8a-d0c1-4fea-8705-0169f65d0c0e" providerId="ADAL" clId="{569F64FD-FE64-4867-854E-D31ACBDD4BE5}" dt="2025-10-16T05:19:09.690" v="2787"/>
        <pc:sldMkLst>
          <pc:docMk/>
          <pc:sldMk cId="4228772070" sldId="2147471403"/>
        </pc:sldMkLst>
      </pc:sldChg>
      <pc:sldChg chg="add">
        <pc:chgData name="John Paserba" userId="77bd6c8a-d0c1-4fea-8705-0169f65d0c0e" providerId="ADAL" clId="{569F64FD-FE64-4867-854E-D31ACBDD4BE5}" dt="2025-10-16T05:19:09.690" v="2787"/>
        <pc:sldMkLst>
          <pc:docMk/>
          <pc:sldMk cId="1391341895" sldId="2147471409"/>
        </pc:sldMkLst>
      </pc:sldChg>
      <pc:sldChg chg="modSp del mod">
        <pc:chgData name="John Paserba" userId="77bd6c8a-d0c1-4fea-8705-0169f65d0c0e" providerId="ADAL" clId="{569F64FD-FE64-4867-854E-D31ACBDD4BE5}" dt="2025-10-16T05:19:01.754" v="2786" actId="2696"/>
        <pc:sldMkLst>
          <pc:docMk/>
          <pc:sldMk cId="3178934198" sldId="2147471409"/>
        </pc:sldMkLst>
        <pc:spChg chg="mod">
          <ac:chgData name="John Paserba" userId="77bd6c8a-d0c1-4fea-8705-0169f65d0c0e" providerId="ADAL" clId="{569F64FD-FE64-4867-854E-D31ACBDD4BE5}" dt="2025-10-16T05:06:13.395" v="2773" actId="20577"/>
          <ac:spMkLst>
            <pc:docMk/>
            <pc:sldMk cId="3178934198" sldId="2147471409"/>
            <ac:spMk id="3" creationId="{E6993746-A424-4F09-867F-B919F4E18ECB}"/>
          </ac:spMkLst>
        </pc:spChg>
      </pc:sldChg>
      <pc:sldChg chg="del">
        <pc:chgData name="John Paserba" userId="77bd6c8a-d0c1-4fea-8705-0169f65d0c0e" providerId="ADAL" clId="{569F64FD-FE64-4867-854E-D31ACBDD4BE5}" dt="2025-10-16T04:43:44.541" v="2646" actId="47"/>
        <pc:sldMkLst>
          <pc:docMk/>
          <pc:sldMk cId="1204246054" sldId="2147471417"/>
        </pc:sldMkLst>
      </pc:sldChg>
      <pc:sldChg chg="modSp del mod">
        <pc:chgData name="John Paserba" userId="77bd6c8a-d0c1-4fea-8705-0169f65d0c0e" providerId="ADAL" clId="{569F64FD-FE64-4867-854E-D31ACBDD4BE5}" dt="2025-10-16T05:18:36.194" v="2784" actId="2696"/>
        <pc:sldMkLst>
          <pc:docMk/>
          <pc:sldMk cId="2283781631" sldId="2147471418"/>
        </pc:sldMkLst>
        <pc:spChg chg="mod">
          <ac:chgData name="John Paserba" userId="77bd6c8a-d0c1-4fea-8705-0169f65d0c0e" providerId="ADAL" clId="{569F64FD-FE64-4867-854E-D31ACBDD4BE5}" dt="2025-10-16T04:48:15.647" v="2688" actId="20577"/>
          <ac:spMkLst>
            <pc:docMk/>
            <pc:sldMk cId="2283781631" sldId="2147471418"/>
            <ac:spMk id="3" creationId="{E6993746-A424-4F09-867F-B919F4E18ECB}"/>
          </ac:spMkLst>
        </pc:spChg>
        <pc:spChg chg="mod">
          <ac:chgData name="John Paserba" userId="77bd6c8a-d0c1-4fea-8705-0169f65d0c0e" providerId="ADAL" clId="{569F64FD-FE64-4867-854E-D31ACBDD4BE5}" dt="2025-10-16T04:48:05.087" v="2687" actId="20577"/>
          <ac:spMkLst>
            <pc:docMk/>
            <pc:sldMk cId="2283781631" sldId="2147471418"/>
            <ac:spMk id="3328002" creationId="{00000000-0000-0000-0000-000000000000}"/>
          </ac:spMkLst>
        </pc:spChg>
      </pc:sldChg>
      <pc:sldChg chg="add">
        <pc:chgData name="John Paserba" userId="77bd6c8a-d0c1-4fea-8705-0169f65d0c0e" providerId="ADAL" clId="{569F64FD-FE64-4867-854E-D31ACBDD4BE5}" dt="2025-10-16T05:18:47.429" v="2785"/>
        <pc:sldMkLst>
          <pc:docMk/>
          <pc:sldMk cId="3896741404" sldId="2147471418"/>
        </pc:sldMkLst>
      </pc:sldChg>
      <pc:sldChg chg="delSp del mod">
        <pc:chgData name="John Paserba" userId="77bd6c8a-d0c1-4fea-8705-0169f65d0c0e" providerId="ADAL" clId="{569F64FD-FE64-4867-854E-D31ACBDD4BE5}" dt="2025-10-16T04:24:18.157" v="2449" actId="47"/>
        <pc:sldMkLst>
          <pc:docMk/>
          <pc:sldMk cId="920816538" sldId="2147471419"/>
        </pc:sldMkLst>
        <pc:spChg chg="del">
          <ac:chgData name="John Paserba" userId="77bd6c8a-d0c1-4fea-8705-0169f65d0c0e" providerId="ADAL" clId="{569F64FD-FE64-4867-854E-D31ACBDD4BE5}" dt="2025-10-16T04:22:34.636" v="2448" actId="478"/>
          <ac:spMkLst>
            <pc:docMk/>
            <pc:sldMk cId="920816538" sldId="2147471419"/>
            <ac:spMk id="2" creationId="{C42E11BD-F094-4209-82E7-EE465B3FD841}"/>
          </ac:spMkLst>
        </pc:spChg>
      </pc:sldChg>
      <pc:sldChg chg="addSp modSp mod">
        <pc:chgData name="John Paserba" userId="77bd6c8a-d0c1-4fea-8705-0169f65d0c0e" providerId="ADAL" clId="{569F64FD-FE64-4867-854E-D31ACBDD4BE5}" dt="2025-10-16T04:41:03.167" v="2632" actId="27636"/>
        <pc:sldMkLst>
          <pc:docMk/>
          <pc:sldMk cId="1511705425" sldId="2147471423"/>
        </pc:sldMkLst>
        <pc:spChg chg="mod">
          <ac:chgData name="John Paserba" userId="77bd6c8a-d0c1-4fea-8705-0169f65d0c0e" providerId="ADAL" clId="{569F64FD-FE64-4867-854E-D31ACBDD4BE5}" dt="2025-10-16T04:41:03.167" v="2632" actId="27636"/>
          <ac:spMkLst>
            <pc:docMk/>
            <pc:sldMk cId="1511705425" sldId="2147471423"/>
            <ac:spMk id="19" creationId="{00000000-0000-0000-0000-000000000000}"/>
          </ac:spMkLst>
        </pc:spChg>
        <pc:picChg chg="add mod">
          <ac:chgData name="John Paserba" userId="77bd6c8a-d0c1-4fea-8705-0169f65d0c0e" providerId="ADAL" clId="{569F64FD-FE64-4867-854E-D31ACBDD4BE5}" dt="2025-10-16T04:40:57.980" v="2630"/>
          <ac:picMkLst>
            <pc:docMk/>
            <pc:sldMk cId="1511705425" sldId="2147471423"/>
            <ac:picMk id="5" creationId="{429F3F9B-5935-4897-8331-7668BB5157CB}"/>
          </ac:picMkLst>
        </pc:picChg>
      </pc:sldChg>
      <pc:sldChg chg="add">
        <pc:chgData name="John Paserba" userId="77bd6c8a-d0c1-4fea-8705-0169f65d0c0e" providerId="ADAL" clId="{569F64FD-FE64-4867-854E-D31ACBDD4BE5}" dt="2025-10-16T05:19:09.690" v="2787"/>
        <pc:sldMkLst>
          <pc:docMk/>
          <pc:sldMk cId="1021518741" sldId="2147471424"/>
        </pc:sldMkLst>
      </pc:sldChg>
      <pc:sldChg chg="del">
        <pc:chgData name="John Paserba" userId="77bd6c8a-d0c1-4fea-8705-0169f65d0c0e" providerId="ADAL" clId="{569F64FD-FE64-4867-854E-D31ACBDD4BE5}" dt="2025-10-16T05:19:01.754" v="2786" actId="2696"/>
        <pc:sldMkLst>
          <pc:docMk/>
          <pc:sldMk cId="1441617278" sldId="2147471424"/>
        </pc:sldMkLst>
      </pc:sldChg>
      <pc:sldChg chg="add">
        <pc:chgData name="John Paserba" userId="77bd6c8a-d0c1-4fea-8705-0169f65d0c0e" providerId="ADAL" clId="{569F64FD-FE64-4867-854E-D31ACBDD4BE5}" dt="2025-10-16T05:18:47.429" v="2785"/>
        <pc:sldMkLst>
          <pc:docMk/>
          <pc:sldMk cId="265690536" sldId="2147471429"/>
        </pc:sldMkLst>
      </pc:sldChg>
      <pc:sldChg chg="modSp del mod">
        <pc:chgData name="John Paserba" userId="77bd6c8a-d0c1-4fea-8705-0169f65d0c0e" providerId="ADAL" clId="{569F64FD-FE64-4867-854E-D31ACBDD4BE5}" dt="2025-10-16T05:18:36.194" v="2784" actId="2696"/>
        <pc:sldMkLst>
          <pc:docMk/>
          <pc:sldMk cId="4059234087" sldId="2147471429"/>
        </pc:sldMkLst>
        <pc:spChg chg="mod">
          <ac:chgData name="John Paserba" userId="77bd6c8a-d0c1-4fea-8705-0169f65d0c0e" providerId="ADAL" clId="{569F64FD-FE64-4867-854E-D31ACBDD4BE5}" dt="2025-10-16T02:06:46.443" v="95" actId="20577"/>
          <ac:spMkLst>
            <pc:docMk/>
            <pc:sldMk cId="4059234087" sldId="2147471429"/>
            <ac:spMk id="4" creationId="{C2C99258-52AB-4386-BD92-908479CB2924}"/>
          </ac:spMkLst>
        </pc:spChg>
        <pc:spChg chg="mod">
          <ac:chgData name="John Paserba" userId="77bd6c8a-d0c1-4fea-8705-0169f65d0c0e" providerId="ADAL" clId="{569F64FD-FE64-4867-854E-D31ACBDD4BE5}" dt="2025-10-16T02:06:50.204" v="96" actId="20577"/>
          <ac:spMkLst>
            <pc:docMk/>
            <pc:sldMk cId="4059234087" sldId="2147471429"/>
            <ac:spMk id="8" creationId="{4F66D455-6FBF-484B-B826-6C56E6B13C0D}"/>
          </ac:spMkLst>
        </pc:spChg>
      </pc:sldChg>
      <pc:sldChg chg="modSp del mod">
        <pc:chgData name="John Paserba" userId="77bd6c8a-d0c1-4fea-8705-0169f65d0c0e" providerId="ADAL" clId="{569F64FD-FE64-4867-854E-D31ACBDD4BE5}" dt="2025-10-16T05:18:36.194" v="2784" actId="2696"/>
        <pc:sldMkLst>
          <pc:docMk/>
          <pc:sldMk cId="1141237820" sldId="2147471430"/>
        </pc:sldMkLst>
        <pc:spChg chg="mod">
          <ac:chgData name="John Paserba" userId="77bd6c8a-d0c1-4fea-8705-0169f65d0c0e" providerId="ADAL" clId="{569F64FD-FE64-4867-854E-D31ACBDD4BE5}" dt="2025-10-16T05:04:58.956" v="2759" actId="20577"/>
          <ac:spMkLst>
            <pc:docMk/>
            <pc:sldMk cId="1141237820" sldId="2147471430"/>
            <ac:spMk id="2" creationId="{6D8A165E-458A-41C5-8EC0-ED887338CD4B}"/>
          </ac:spMkLst>
        </pc:spChg>
        <pc:spChg chg="mod">
          <ac:chgData name="John Paserba" userId="77bd6c8a-d0c1-4fea-8705-0169f65d0c0e" providerId="ADAL" clId="{569F64FD-FE64-4867-854E-D31ACBDD4BE5}" dt="2025-10-16T04:50:21.047" v="2710" actId="20577"/>
          <ac:spMkLst>
            <pc:docMk/>
            <pc:sldMk cId="1141237820" sldId="2147471430"/>
            <ac:spMk id="4" creationId="{C2C99258-52AB-4386-BD92-908479CB2924}"/>
          </ac:spMkLst>
        </pc:spChg>
      </pc:sldChg>
      <pc:sldChg chg="add">
        <pc:chgData name="John Paserba" userId="77bd6c8a-d0c1-4fea-8705-0169f65d0c0e" providerId="ADAL" clId="{569F64FD-FE64-4867-854E-D31ACBDD4BE5}" dt="2025-10-16T05:18:47.429" v="2785"/>
        <pc:sldMkLst>
          <pc:docMk/>
          <pc:sldMk cId="2575040017" sldId="2147471430"/>
        </pc:sldMkLst>
      </pc:sldChg>
      <pc:sldChg chg="add">
        <pc:chgData name="John Paserba" userId="77bd6c8a-d0c1-4fea-8705-0169f65d0c0e" providerId="ADAL" clId="{569F64FD-FE64-4867-854E-D31ACBDD4BE5}" dt="2025-10-16T05:18:47.429" v="2785"/>
        <pc:sldMkLst>
          <pc:docMk/>
          <pc:sldMk cId="915421652" sldId="2147471485"/>
        </pc:sldMkLst>
      </pc:sldChg>
      <pc:sldChg chg="modSp del mod">
        <pc:chgData name="John Paserba" userId="77bd6c8a-d0c1-4fea-8705-0169f65d0c0e" providerId="ADAL" clId="{569F64FD-FE64-4867-854E-D31ACBDD4BE5}" dt="2025-10-16T05:18:36.194" v="2784" actId="2696"/>
        <pc:sldMkLst>
          <pc:docMk/>
          <pc:sldMk cId="2160944429" sldId="2147471485"/>
        </pc:sldMkLst>
        <pc:spChg chg="mod">
          <ac:chgData name="John Paserba" userId="77bd6c8a-d0c1-4fea-8705-0169f65d0c0e" providerId="ADAL" clId="{569F64FD-FE64-4867-854E-D31ACBDD4BE5}" dt="2025-10-16T04:48:00.229" v="2686" actId="14100"/>
          <ac:spMkLst>
            <pc:docMk/>
            <pc:sldMk cId="2160944429" sldId="2147471485"/>
            <ac:spMk id="2" creationId="{24EFA49A-D6F0-94EB-2E4A-46AC510574DD}"/>
          </ac:spMkLst>
        </pc:spChg>
      </pc:sldChg>
      <pc:sldChg chg="del">
        <pc:chgData name="John Paserba" userId="77bd6c8a-d0c1-4fea-8705-0169f65d0c0e" providerId="ADAL" clId="{569F64FD-FE64-4867-854E-D31ACBDD4BE5}" dt="2025-10-16T05:19:01.754" v="2786" actId="2696"/>
        <pc:sldMkLst>
          <pc:docMk/>
          <pc:sldMk cId="1243136271" sldId="2147471486"/>
        </pc:sldMkLst>
      </pc:sldChg>
      <pc:sldChg chg="add">
        <pc:chgData name="John Paserba" userId="77bd6c8a-d0c1-4fea-8705-0169f65d0c0e" providerId="ADAL" clId="{569F64FD-FE64-4867-854E-D31ACBDD4BE5}" dt="2025-10-16T05:19:09.690" v="2787"/>
        <pc:sldMkLst>
          <pc:docMk/>
          <pc:sldMk cId="1548808851" sldId="2147471486"/>
        </pc:sldMkLst>
      </pc:sldChg>
      <pc:sldChg chg="modSp mod">
        <pc:chgData name="John Paserba" userId="77bd6c8a-d0c1-4fea-8705-0169f65d0c0e" providerId="ADAL" clId="{569F64FD-FE64-4867-854E-D31ACBDD4BE5}" dt="2025-10-16T02:04:17.973" v="47" actId="20577"/>
        <pc:sldMkLst>
          <pc:docMk/>
          <pc:sldMk cId="1528537165" sldId="2147471545"/>
        </pc:sldMkLst>
        <pc:spChg chg="mod">
          <ac:chgData name="John Paserba" userId="77bd6c8a-d0c1-4fea-8705-0169f65d0c0e" providerId="ADAL" clId="{569F64FD-FE64-4867-854E-D31ACBDD4BE5}" dt="2025-10-16T02:04:17.973" v="47" actId="20577"/>
          <ac:spMkLst>
            <pc:docMk/>
            <pc:sldMk cId="1528537165" sldId="2147471545"/>
            <ac:spMk id="12" creationId="{7637F54C-2D4B-44A5-B3F7-1642BB564316}"/>
          </ac:spMkLst>
        </pc:spChg>
      </pc:sldChg>
      <pc:sldChg chg="modSp mod">
        <pc:chgData name="John Paserba" userId="77bd6c8a-d0c1-4fea-8705-0169f65d0c0e" providerId="ADAL" clId="{569F64FD-FE64-4867-854E-D31ACBDD4BE5}" dt="2025-10-16T04:47:24.060" v="2682" actId="20577"/>
        <pc:sldMkLst>
          <pc:docMk/>
          <pc:sldMk cId="3459218475" sldId="2147471566"/>
        </pc:sldMkLst>
        <pc:spChg chg="mod">
          <ac:chgData name="John Paserba" userId="77bd6c8a-d0c1-4fea-8705-0169f65d0c0e" providerId="ADAL" clId="{569F64FD-FE64-4867-854E-D31ACBDD4BE5}" dt="2025-10-16T04:47:24.060" v="2682" actId="20577"/>
          <ac:spMkLst>
            <pc:docMk/>
            <pc:sldMk cId="3459218475" sldId="2147471566"/>
            <ac:spMk id="12" creationId="{F45E667D-D9ED-4BE1-999E-2A4766484A8F}"/>
          </ac:spMkLst>
        </pc:spChg>
      </pc:sldChg>
      <pc:sldChg chg="modSp mod">
        <pc:chgData name="John Paserba" userId="77bd6c8a-d0c1-4fea-8705-0169f65d0c0e" providerId="ADAL" clId="{569F64FD-FE64-4867-854E-D31ACBDD4BE5}" dt="2025-10-16T04:00:01.489" v="2012" actId="3064"/>
        <pc:sldMkLst>
          <pc:docMk/>
          <pc:sldMk cId="649508728" sldId="2147471574"/>
        </pc:sldMkLst>
        <pc:spChg chg="mod">
          <ac:chgData name="John Paserba" userId="77bd6c8a-d0c1-4fea-8705-0169f65d0c0e" providerId="ADAL" clId="{569F64FD-FE64-4867-854E-D31ACBDD4BE5}" dt="2025-10-16T04:00:01.489" v="2012" actId="3064"/>
          <ac:spMkLst>
            <pc:docMk/>
            <pc:sldMk cId="649508728" sldId="2147471574"/>
            <ac:spMk id="3328002" creationId="{00000000-0000-0000-0000-000000000000}"/>
          </ac:spMkLst>
        </pc:spChg>
      </pc:sldChg>
      <pc:sldChg chg="modSp mod">
        <pc:chgData name="John Paserba" userId="77bd6c8a-d0c1-4fea-8705-0169f65d0c0e" providerId="ADAL" clId="{569F64FD-FE64-4867-854E-D31ACBDD4BE5}" dt="2025-10-16T02:32:27.353" v="1010" actId="20577"/>
        <pc:sldMkLst>
          <pc:docMk/>
          <pc:sldMk cId="2660546268" sldId="2147471669"/>
        </pc:sldMkLst>
        <pc:spChg chg="mod">
          <ac:chgData name="John Paserba" userId="77bd6c8a-d0c1-4fea-8705-0169f65d0c0e" providerId="ADAL" clId="{569F64FD-FE64-4867-854E-D31ACBDD4BE5}" dt="2025-10-16T02:32:27.353" v="1010" actId="20577"/>
          <ac:spMkLst>
            <pc:docMk/>
            <pc:sldMk cId="2660546268" sldId="2147471669"/>
            <ac:spMk id="8" creationId="{37CEEF7E-3CE8-42D1-AEB0-A2514859CE49}"/>
          </ac:spMkLst>
        </pc:spChg>
      </pc:sldChg>
      <pc:sldChg chg="del">
        <pc:chgData name="John Paserba" userId="77bd6c8a-d0c1-4fea-8705-0169f65d0c0e" providerId="ADAL" clId="{569F64FD-FE64-4867-854E-D31ACBDD4BE5}" dt="2025-10-16T02:44:05.871" v="1426" actId="47"/>
        <pc:sldMkLst>
          <pc:docMk/>
          <pc:sldMk cId="967086952" sldId="2147471680"/>
        </pc:sldMkLst>
      </pc:sldChg>
      <pc:sldChg chg="del">
        <pc:chgData name="John Paserba" userId="77bd6c8a-d0c1-4fea-8705-0169f65d0c0e" providerId="ADAL" clId="{569F64FD-FE64-4867-854E-D31ACBDD4BE5}" dt="2025-10-16T02:44:05.871" v="1426" actId="47"/>
        <pc:sldMkLst>
          <pc:docMk/>
          <pc:sldMk cId="3651935271" sldId="2147471682"/>
        </pc:sldMkLst>
      </pc:sldChg>
      <pc:sldChg chg="del">
        <pc:chgData name="John Paserba" userId="77bd6c8a-d0c1-4fea-8705-0169f65d0c0e" providerId="ADAL" clId="{569F64FD-FE64-4867-854E-D31ACBDD4BE5}" dt="2025-10-16T02:44:05.871" v="1426" actId="47"/>
        <pc:sldMkLst>
          <pc:docMk/>
          <pc:sldMk cId="1079165612" sldId="2147471688"/>
        </pc:sldMkLst>
      </pc:sldChg>
      <pc:sldChg chg="modSp del mod">
        <pc:chgData name="John Paserba" userId="77bd6c8a-d0c1-4fea-8705-0169f65d0c0e" providerId="ADAL" clId="{569F64FD-FE64-4867-854E-D31ACBDD4BE5}" dt="2025-10-16T02:44:05.871" v="1426" actId="47"/>
        <pc:sldMkLst>
          <pc:docMk/>
          <pc:sldMk cId="2725648120" sldId="2147471696"/>
        </pc:sldMkLst>
        <pc:spChg chg="mod">
          <ac:chgData name="John Paserba" userId="77bd6c8a-d0c1-4fea-8705-0169f65d0c0e" providerId="ADAL" clId="{569F64FD-FE64-4867-854E-D31ACBDD4BE5}" dt="2025-10-16T02:43:36.146" v="1425" actId="20577"/>
          <ac:spMkLst>
            <pc:docMk/>
            <pc:sldMk cId="2725648120" sldId="2147471696"/>
            <ac:spMk id="3328002" creationId="{00000000-0000-0000-0000-000000000000}"/>
          </ac:spMkLst>
        </pc:spChg>
      </pc:sldChg>
      <pc:sldChg chg="modSp mod">
        <pc:chgData name="John Paserba" userId="77bd6c8a-d0c1-4fea-8705-0169f65d0c0e" providerId="ADAL" clId="{569F64FD-FE64-4867-854E-D31ACBDD4BE5}" dt="2025-10-16T04:33:23.203" v="2551" actId="11"/>
        <pc:sldMkLst>
          <pc:docMk/>
          <pc:sldMk cId="3394760255" sldId="2147471697"/>
        </pc:sldMkLst>
        <pc:spChg chg="mod">
          <ac:chgData name="John Paserba" userId="77bd6c8a-d0c1-4fea-8705-0169f65d0c0e" providerId="ADAL" clId="{569F64FD-FE64-4867-854E-D31ACBDD4BE5}" dt="2025-10-16T04:33:23.203" v="2551" actId="11"/>
          <ac:spMkLst>
            <pc:docMk/>
            <pc:sldMk cId="3394760255" sldId="2147471697"/>
            <ac:spMk id="9" creationId="{33E1701B-7F94-6789-3C6A-A428042FCAA4}"/>
          </ac:spMkLst>
        </pc:spChg>
        <pc:spChg chg="mod">
          <ac:chgData name="John Paserba" userId="77bd6c8a-d0c1-4fea-8705-0169f65d0c0e" providerId="ADAL" clId="{569F64FD-FE64-4867-854E-D31ACBDD4BE5}" dt="2025-10-16T02:40:39.442" v="1285" actId="20577"/>
          <ac:spMkLst>
            <pc:docMk/>
            <pc:sldMk cId="3394760255" sldId="2147471697"/>
            <ac:spMk id="3328002" creationId="{00000000-0000-0000-0000-000000000000}"/>
          </ac:spMkLst>
        </pc:spChg>
      </pc:sldChg>
      <pc:sldChg chg="addSp modSp mod">
        <pc:chgData name="John Paserba" userId="77bd6c8a-d0c1-4fea-8705-0169f65d0c0e" providerId="ADAL" clId="{569F64FD-FE64-4867-854E-D31ACBDD4BE5}" dt="2025-10-16T03:56:06.463" v="1995"/>
        <pc:sldMkLst>
          <pc:docMk/>
          <pc:sldMk cId="249611834" sldId="2147471698"/>
        </pc:sldMkLst>
        <pc:spChg chg="mod">
          <ac:chgData name="John Paserba" userId="77bd6c8a-d0c1-4fea-8705-0169f65d0c0e" providerId="ADAL" clId="{569F64FD-FE64-4867-854E-D31ACBDD4BE5}" dt="2025-10-16T02:55:01.130" v="1639" actId="20577"/>
          <ac:spMkLst>
            <pc:docMk/>
            <pc:sldMk cId="249611834" sldId="2147471698"/>
            <ac:spMk id="15" creationId="{9597AFFD-AF8F-46BB-8331-D7B7C48AEBCB}"/>
          </ac:spMkLst>
        </pc:spChg>
        <pc:spChg chg="mod">
          <ac:chgData name="John Paserba" userId="77bd6c8a-d0c1-4fea-8705-0169f65d0c0e" providerId="ADAL" clId="{569F64FD-FE64-4867-854E-D31ACBDD4BE5}" dt="2025-10-16T03:54:33.576" v="1989" actId="27636"/>
          <ac:spMkLst>
            <pc:docMk/>
            <pc:sldMk cId="249611834" sldId="2147471698"/>
            <ac:spMk id="19" creationId="{00000000-0000-0000-0000-000000000000}"/>
          </ac:spMkLst>
        </pc:spChg>
        <pc:graphicFrameChg chg="mod">
          <ac:chgData name="John Paserba" userId="77bd6c8a-d0c1-4fea-8705-0169f65d0c0e" providerId="ADAL" clId="{569F64FD-FE64-4867-854E-D31ACBDD4BE5}" dt="2025-10-16T03:56:06.463" v="1995"/>
          <ac:graphicFrameMkLst>
            <pc:docMk/>
            <pc:sldMk cId="249611834" sldId="2147471698"/>
            <ac:graphicFrameMk id="24" creationId="{15813888-BDE7-483A-B111-3A6C5F25E35B}"/>
          </ac:graphicFrameMkLst>
        </pc:graphicFrameChg>
        <pc:picChg chg="add mod">
          <ac:chgData name="John Paserba" userId="77bd6c8a-d0c1-4fea-8705-0169f65d0c0e" providerId="ADAL" clId="{569F64FD-FE64-4867-854E-D31ACBDD4BE5}" dt="2025-10-16T03:54:37.637" v="1990"/>
          <ac:picMkLst>
            <pc:docMk/>
            <pc:sldMk cId="249611834" sldId="2147471698"/>
            <ac:picMk id="10" creationId="{3C3D9440-E843-4477-B998-603B44B4A1D3}"/>
          </ac:picMkLst>
        </pc:picChg>
      </pc:sldChg>
      <pc:sldChg chg="modSp mod">
        <pc:chgData name="John Paserba" userId="77bd6c8a-d0c1-4fea-8705-0169f65d0c0e" providerId="ADAL" clId="{569F64FD-FE64-4867-854E-D31ACBDD4BE5}" dt="2025-10-16T02:40:54.697" v="1297" actId="20577"/>
        <pc:sldMkLst>
          <pc:docMk/>
          <pc:sldMk cId="1094543838" sldId="2147471700"/>
        </pc:sldMkLst>
        <pc:spChg chg="mod">
          <ac:chgData name="John Paserba" userId="77bd6c8a-d0c1-4fea-8705-0169f65d0c0e" providerId="ADAL" clId="{569F64FD-FE64-4867-854E-D31ACBDD4BE5}" dt="2025-10-16T02:40:54.697" v="1297" actId="20577"/>
          <ac:spMkLst>
            <pc:docMk/>
            <pc:sldMk cId="1094543838" sldId="2147471700"/>
            <ac:spMk id="3328002" creationId="{D0C70CC0-74ED-1E99-414A-40EC651B66A1}"/>
          </ac:spMkLst>
        </pc:spChg>
      </pc:sldChg>
      <pc:sldChg chg="modSp mod">
        <pc:chgData name="John Paserba" userId="77bd6c8a-d0c1-4fea-8705-0169f65d0c0e" providerId="ADAL" clId="{569F64FD-FE64-4867-854E-D31ACBDD4BE5}" dt="2025-10-16T04:15:52.001" v="2325" actId="1076"/>
        <pc:sldMkLst>
          <pc:docMk/>
          <pc:sldMk cId="73387506" sldId="2147471703"/>
        </pc:sldMkLst>
        <pc:spChg chg="mod">
          <ac:chgData name="John Paserba" userId="77bd6c8a-d0c1-4fea-8705-0169f65d0c0e" providerId="ADAL" clId="{569F64FD-FE64-4867-854E-D31ACBDD4BE5}" dt="2025-10-16T04:15:52.001" v="2325" actId="1076"/>
          <ac:spMkLst>
            <pc:docMk/>
            <pc:sldMk cId="73387506" sldId="2147471703"/>
            <ac:spMk id="19" creationId="{77415779-61B5-45C4-A901-6ECCE7F9A619}"/>
          </ac:spMkLst>
        </pc:spChg>
        <pc:spChg chg="mod">
          <ac:chgData name="John Paserba" userId="77bd6c8a-d0c1-4fea-8705-0169f65d0c0e" providerId="ADAL" clId="{569F64FD-FE64-4867-854E-D31ACBDD4BE5}" dt="2025-10-16T03:57:22.568" v="1997" actId="3064"/>
          <ac:spMkLst>
            <pc:docMk/>
            <pc:sldMk cId="73387506" sldId="2147471703"/>
            <ac:spMk id="3328002" creationId="{00000000-0000-0000-0000-000000000000}"/>
          </ac:spMkLst>
        </pc:spChg>
      </pc:sldChg>
      <pc:sldChg chg="modSp mod">
        <pc:chgData name="John Paserba" userId="77bd6c8a-d0c1-4fea-8705-0169f65d0c0e" providerId="ADAL" clId="{569F64FD-FE64-4867-854E-D31ACBDD4BE5}" dt="2025-10-16T03:14:48.640" v="1874" actId="14100"/>
        <pc:sldMkLst>
          <pc:docMk/>
          <pc:sldMk cId="2461146040" sldId="2147471706"/>
        </pc:sldMkLst>
        <pc:picChg chg="mod">
          <ac:chgData name="John Paserba" userId="77bd6c8a-d0c1-4fea-8705-0169f65d0c0e" providerId="ADAL" clId="{569F64FD-FE64-4867-854E-D31ACBDD4BE5}" dt="2025-10-16T03:14:48.640" v="1874" actId="14100"/>
          <ac:picMkLst>
            <pc:docMk/>
            <pc:sldMk cId="2461146040" sldId="2147471706"/>
            <ac:picMk id="3" creationId="{C2A41556-0002-433B-8550-12E23FDEE715}"/>
          </ac:picMkLst>
        </pc:picChg>
        <pc:picChg chg="mod">
          <ac:chgData name="John Paserba" userId="77bd6c8a-d0c1-4fea-8705-0169f65d0c0e" providerId="ADAL" clId="{569F64FD-FE64-4867-854E-D31ACBDD4BE5}" dt="2025-10-16T03:14:44.965" v="1873" actId="14100"/>
          <ac:picMkLst>
            <pc:docMk/>
            <pc:sldMk cId="2461146040" sldId="2147471706"/>
            <ac:picMk id="7" creationId="{27ECDB45-81B5-4386-B656-886A3C1C216E}"/>
          </ac:picMkLst>
        </pc:picChg>
      </pc:sldChg>
      <pc:sldChg chg="modSp mod">
        <pc:chgData name="John Paserba" userId="77bd6c8a-d0c1-4fea-8705-0169f65d0c0e" providerId="ADAL" clId="{569F64FD-FE64-4867-854E-D31ACBDD4BE5}" dt="2025-10-16T03:14:31.118" v="1869" actId="1038"/>
        <pc:sldMkLst>
          <pc:docMk/>
          <pc:sldMk cId="4015560649" sldId="2147471707"/>
        </pc:sldMkLst>
        <pc:picChg chg="mod">
          <ac:chgData name="John Paserba" userId="77bd6c8a-d0c1-4fea-8705-0169f65d0c0e" providerId="ADAL" clId="{569F64FD-FE64-4867-854E-D31ACBDD4BE5}" dt="2025-10-16T03:14:31.118" v="1869" actId="1038"/>
          <ac:picMkLst>
            <pc:docMk/>
            <pc:sldMk cId="4015560649" sldId="2147471707"/>
            <ac:picMk id="6" creationId="{0868A0A1-A5D9-430A-AA34-89514737339F}"/>
          </ac:picMkLst>
        </pc:picChg>
      </pc:sldChg>
      <pc:sldChg chg="addSp delSp modSp mod">
        <pc:chgData name="John Paserba" userId="77bd6c8a-d0c1-4fea-8705-0169f65d0c0e" providerId="ADAL" clId="{569F64FD-FE64-4867-854E-D31ACBDD4BE5}" dt="2025-10-16T03:10:30.617" v="1809" actId="1036"/>
        <pc:sldMkLst>
          <pc:docMk/>
          <pc:sldMk cId="2761295630" sldId="2147471708"/>
        </pc:sldMkLst>
        <pc:spChg chg="mod">
          <ac:chgData name="John Paserba" userId="77bd6c8a-d0c1-4fea-8705-0169f65d0c0e" providerId="ADAL" clId="{569F64FD-FE64-4867-854E-D31ACBDD4BE5}" dt="2025-10-16T03:09:02.266" v="1659" actId="1076"/>
          <ac:spMkLst>
            <pc:docMk/>
            <pc:sldMk cId="2761295630" sldId="2147471708"/>
            <ac:spMk id="3" creationId="{36966E5A-1B86-4272-A503-F999EF5CFD66}"/>
          </ac:spMkLst>
        </pc:spChg>
        <pc:spChg chg="mod">
          <ac:chgData name="John Paserba" userId="77bd6c8a-d0c1-4fea-8705-0169f65d0c0e" providerId="ADAL" clId="{569F64FD-FE64-4867-854E-D31ACBDD4BE5}" dt="2025-10-16T03:09:21.008" v="1731" actId="1035"/>
          <ac:spMkLst>
            <pc:docMk/>
            <pc:sldMk cId="2761295630" sldId="2147471708"/>
            <ac:spMk id="9" creationId="{36F85BA3-18D8-4B06-82CF-88013E45321A}"/>
          </ac:spMkLst>
        </pc:spChg>
        <pc:spChg chg="mod">
          <ac:chgData name="John Paserba" userId="77bd6c8a-d0c1-4fea-8705-0169f65d0c0e" providerId="ADAL" clId="{569F64FD-FE64-4867-854E-D31ACBDD4BE5}" dt="2025-10-16T03:09:21.008" v="1731" actId="1035"/>
          <ac:spMkLst>
            <pc:docMk/>
            <pc:sldMk cId="2761295630" sldId="2147471708"/>
            <ac:spMk id="10" creationId="{72A096F2-DEC9-47CB-81A0-D797EC693088}"/>
          </ac:spMkLst>
        </pc:spChg>
        <pc:spChg chg="add del mod">
          <ac:chgData name="John Paserba" userId="77bd6c8a-d0c1-4fea-8705-0169f65d0c0e" providerId="ADAL" clId="{569F64FD-FE64-4867-854E-D31ACBDD4BE5}" dt="2025-10-16T03:08:42.239" v="1654"/>
          <ac:spMkLst>
            <pc:docMk/>
            <pc:sldMk cId="2761295630" sldId="2147471708"/>
            <ac:spMk id="11" creationId="{06DEE1EF-3528-4015-A2CF-CE879A2F4677}"/>
          </ac:spMkLst>
        </pc:spChg>
        <pc:spChg chg="add mod">
          <ac:chgData name="John Paserba" userId="77bd6c8a-d0c1-4fea-8705-0169f65d0c0e" providerId="ADAL" clId="{569F64FD-FE64-4867-854E-D31ACBDD4BE5}" dt="2025-10-16T03:10:23.614" v="1800" actId="20577"/>
          <ac:spMkLst>
            <pc:docMk/>
            <pc:sldMk cId="2761295630" sldId="2147471708"/>
            <ac:spMk id="12" creationId="{1BA7E6FC-31F7-48E5-8552-934A5215752A}"/>
          </ac:spMkLst>
        </pc:spChg>
        <pc:graphicFrameChg chg="mod">
          <ac:chgData name="John Paserba" userId="77bd6c8a-d0c1-4fea-8705-0169f65d0c0e" providerId="ADAL" clId="{569F64FD-FE64-4867-854E-D31ACBDD4BE5}" dt="2025-10-16T03:10:30.617" v="1809" actId="1036"/>
          <ac:graphicFrameMkLst>
            <pc:docMk/>
            <pc:sldMk cId="2761295630" sldId="2147471708"/>
            <ac:graphicFrameMk id="7" creationId="{AA80C0C9-6C27-421E-B81F-F56A0E216219}"/>
          </ac:graphicFrameMkLst>
        </pc:graphicFrameChg>
      </pc:sldChg>
      <pc:sldChg chg="modSp mod">
        <pc:chgData name="John Paserba" userId="77bd6c8a-d0c1-4fea-8705-0169f65d0c0e" providerId="ADAL" clId="{569F64FD-FE64-4867-854E-D31ACBDD4BE5}" dt="2025-10-16T04:00:42.696" v="2017" actId="3064"/>
        <pc:sldMkLst>
          <pc:docMk/>
          <pc:sldMk cId="3558142149" sldId="2147471710"/>
        </pc:sldMkLst>
        <pc:spChg chg="mod">
          <ac:chgData name="John Paserba" userId="77bd6c8a-d0c1-4fea-8705-0169f65d0c0e" providerId="ADAL" clId="{569F64FD-FE64-4867-854E-D31ACBDD4BE5}" dt="2025-10-16T04:00:42.696" v="2017" actId="3064"/>
          <ac:spMkLst>
            <pc:docMk/>
            <pc:sldMk cId="3558142149" sldId="2147471710"/>
            <ac:spMk id="3328002" creationId="{00000000-0000-0000-0000-000000000000}"/>
          </ac:spMkLst>
        </pc:spChg>
      </pc:sldChg>
      <pc:sldChg chg="modSp mod">
        <pc:chgData name="John Paserba" userId="77bd6c8a-d0c1-4fea-8705-0169f65d0c0e" providerId="ADAL" clId="{569F64FD-FE64-4867-854E-D31ACBDD4BE5}" dt="2025-10-16T03:09:58.271" v="1788" actId="255"/>
        <pc:sldMkLst>
          <pc:docMk/>
          <pc:sldMk cId="1774082266" sldId="2147471711"/>
        </pc:sldMkLst>
        <pc:spChg chg="mod">
          <ac:chgData name="John Paserba" userId="77bd6c8a-d0c1-4fea-8705-0169f65d0c0e" providerId="ADAL" clId="{569F64FD-FE64-4867-854E-D31ACBDD4BE5}" dt="2025-10-16T03:09:58.271" v="1788" actId="255"/>
          <ac:spMkLst>
            <pc:docMk/>
            <pc:sldMk cId="1774082266" sldId="2147471711"/>
            <ac:spMk id="3328002" creationId="{00000000-0000-0000-0000-000000000000}"/>
          </ac:spMkLst>
        </pc:spChg>
        <pc:graphicFrameChg chg="mod">
          <ac:chgData name="John Paserba" userId="77bd6c8a-d0c1-4fea-8705-0169f65d0c0e" providerId="ADAL" clId="{569F64FD-FE64-4867-854E-D31ACBDD4BE5}" dt="2025-10-16T03:09:43.951" v="1784" actId="1038"/>
          <ac:graphicFrameMkLst>
            <pc:docMk/>
            <pc:sldMk cId="1774082266" sldId="2147471711"/>
            <ac:graphicFrameMk id="3" creationId="{6D237F11-09D0-45B7-A2A7-7013632E0886}"/>
          </ac:graphicFrameMkLst>
        </pc:graphicFrameChg>
        <pc:graphicFrameChg chg="mod">
          <ac:chgData name="John Paserba" userId="77bd6c8a-d0c1-4fea-8705-0169f65d0c0e" providerId="ADAL" clId="{569F64FD-FE64-4867-854E-D31ACBDD4BE5}" dt="2025-10-16T03:09:43.951" v="1784" actId="1038"/>
          <ac:graphicFrameMkLst>
            <pc:docMk/>
            <pc:sldMk cId="1774082266" sldId="2147471711"/>
            <ac:graphicFrameMk id="7" creationId="{DB8C2EEC-7824-4474-A481-20E628C68339}"/>
          </ac:graphicFrameMkLst>
        </pc:graphicFrameChg>
        <pc:picChg chg="mod">
          <ac:chgData name="John Paserba" userId="77bd6c8a-d0c1-4fea-8705-0169f65d0c0e" providerId="ADAL" clId="{569F64FD-FE64-4867-854E-D31ACBDD4BE5}" dt="2025-10-16T03:09:43.951" v="1784" actId="1038"/>
          <ac:picMkLst>
            <pc:docMk/>
            <pc:sldMk cId="1774082266" sldId="2147471711"/>
            <ac:picMk id="12" creationId="{86F74D7A-7928-4FE3-9062-1AEE54523047}"/>
          </ac:picMkLst>
        </pc:picChg>
      </pc:sldChg>
      <pc:sldChg chg="del">
        <pc:chgData name="John Paserba" userId="77bd6c8a-d0c1-4fea-8705-0169f65d0c0e" providerId="ADAL" clId="{569F64FD-FE64-4867-854E-D31ACBDD4BE5}" dt="2025-10-16T02:44:05.871" v="1426" actId="47"/>
        <pc:sldMkLst>
          <pc:docMk/>
          <pc:sldMk cId="1676387962" sldId="2147471712"/>
        </pc:sldMkLst>
      </pc:sldChg>
      <pc:sldChg chg="modSp del mod">
        <pc:chgData name="John Paserba" userId="77bd6c8a-d0c1-4fea-8705-0169f65d0c0e" providerId="ADAL" clId="{569F64FD-FE64-4867-854E-D31ACBDD4BE5}" dt="2025-10-16T02:44:05.871" v="1426" actId="47"/>
        <pc:sldMkLst>
          <pc:docMk/>
          <pc:sldMk cId="237403609" sldId="2147471713"/>
        </pc:sldMkLst>
        <pc:spChg chg="mod">
          <ac:chgData name="John Paserba" userId="77bd6c8a-d0c1-4fea-8705-0169f65d0c0e" providerId="ADAL" clId="{569F64FD-FE64-4867-854E-D31ACBDD4BE5}" dt="2025-10-16T02:43:31.893" v="1422" actId="20577"/>
          <ac:spMkLst>
            <pc:docMk/>
            <pc:sldMk cId="237403609" sldId="2147471713"/>
            <ac:spMk id="3328002" creationId="{00000000-0000-0000-0000-000000000000}"/>
          </ac:spMkLst>
        </pc:spChg>
      </pc:sldChg>
      <pc:sldChg chg="del">
        <pc:chgData name="John Paserba" userId="77bd6c8a-d0c1-4fea-8705-0169f65d0c0e" providerId="ADAL" clId="{569F64FD-FE64-4867-854E-D31ACBDD4BE5}" dt="2025-10-16T02:44:05.871" v="1426" actId="47"/>
        <pc:sldMkLst>
          <pc:docMk/>
          <pc:sldMk cId="1444063717" sldId="2147471714"/>
        </pc:sldMkLst>
      </pc:sldChg>
      <pc:sldChg chg="del">
        <pc:chgData name="John Paserba" userId="77bd6c8a-d0c1-4fea-8705-0169f65d0c0e" providerId="ADAL" clId="{569F64FD-FE64-4867-854E-D31ACBDD4BE5}" dt="2025-10-16T02:44:05.871" v="1426" actId="47"/>
        <pc:sldMkLst>
          <pc:docMk/>
          <pc:sldMk cId="402333902" sldId="2147471715"/>
        </pc:sldMkLst>
      </pc:sldChg>
      <pc:sldChg chg="addSp modSp mod">
        <pc:chgData name="John Paserba" userId="77bd6c8a-d0c1-4fea-8705-0169f65d0c0e" providerId="ADAL" clId="{569F64FD-FE64-4867-854E-D31ACBDD4BE5}" dt="2025-10-16T03:12:13.230" v="1824" actId="1076"/>
        <pc:sldMkLst>
          <pc:docMk/>
          <pc:sldMk cId="163723928" sldId="2147471716"/>
        </pc:sldMkLst>
        <pc:spChg chg="add mod">
          <ac:chgData name="John Paserba" userId="77bd6c8a-d0c1-4fea-8705-0169f65d0c0e" providerId="ADAL" clId="{569F64FD-FE64-4867-854E-D31ACBDD4BE5}" dt="2025-10-16T03:12:13.230" v="1824" actId="1076"/>
          <ac:spMkLst>
            <pc:docMk/>
            <pc:sldMk cId="163723928" sldId="2147471716"/>
            <ac:spMk id="6" creationId="{62582181-D320-4B29-B073-9BF9267F11DD}"/>
          </ac:spMkLst>
        </pc:spChg>
      </pc:sldChg>
      <pc:sldChg chg="addSp modSp mod">
        <pc:chgData name="John Paserba" userId="77bd6c8a-d0c1-4fea-8705-0169f65d0c0e" providerId="ADAL" clId="{569F64FD-FE64-4867-854E-D31ACBDD4BE5}" dt="2025-10-16T03:12:19.208" v="1826" actId="1076"/>
        <pc:sldMkLst>
          <pc:docMk/>
          <pc:sldMk cId="1350005158" sldId="2147471717"/>
        </pc:sldMkLst>
        <pc:spChg chg="add mod">
          <ac:chgData name="John Paserba" userId="77bd6c8a-d0c1-4fea-8705-0169f65d0c0e" providerId="ADAL" clId="{569F64FD-FE64-4867-854E-D31ACBDD4BE5}" dt="2025-10-16T03:12:19.208" v="1826" actId="1076"/>
          <ac:spMkLst>
            <pc:docMk/>
            <pc:sldMk cId="1350005158" sldId="2147471717"/>
            <ac:spMk id="6" creationId="{ED7F843B-50A2-4F30-8AA0-CEBFC6ECA130}"/>
          </ac:spMkLst>
        </pc:spChg>
      </pc:sldChg>
      <pc:sldChg chg="addSp delSp modSp mod">
        <pc:chgData name="John Paserba" userId="77bd6c8a-d0c1-4fea-8705-0169f65d0c0e" providerId="ADAL" clId="{569F64FD-FE64-4867-854E-D31ACBDD4BE5}" dt="2025-10-16T03:13:08.824" v="1845" actId="1038"/>
        <pc:sldMkLst>
          <pc:docMk/>
          <pc:sldMk cId="2502723964" sldId="2147471719"/>
        </pc:sldMkLst>
        <pc:spChg chg="del">
          <ac:chgData name="John Paserba" userId="77bd6c8a-d0c1-4fea-8705-0169f65d0c0e" providerId="ADAL" clId="{569F64FD-FE64-4867-854E-D31ACBDD4BE5}" dt="2025-10-16T03:12:39.305" v="1827" actId="478"/>
          <ac:spMkLst>
            <pc:docMk/>
            <pc:sldMk cId="2502723964" sldId="2147471719"/>
            <ac:spMk id="2" creationId="{F29AB80D-2077-48C5-AE6D-9FF7824BEB57}"/>
          </ac:spMkLst>
        </pc:spChg>
        <pc:spChg chg="add mod">
          <ac:chgData name="John Paserba" userId="77bd6c8a-d0c1-4fea-8705-0169f65d0c0e" providerId="ADAL" clId="{569F64FD-FE64-4867-854E-D31ACBDD4BE5}" dt="2025-10-16T03:13:08.824" v="1845" actId="1038"/>
          <ac:spMkLst>
            <pc:docMk/>
            <pc:sldMk cId="2502723964" sldId="2147471719"/>
            <ac:spMk id="8" creationId="{EDC31B67-51C5-4FA9-A039-EE4820A4F271}"/>
          </ac:spMkLst>
        </pc:spChg>
        <pc:picChg chg="mod">
          <ac:chgData name="John Paserba" userId="77bd6c8a-d0c1-4fea-8705-0169f65d0c0e" providerId="ADAL" clId="{569F64FD-FE64-4867-854E-D31ACBDD4BE5}" dt="2025-10-16T03:12:48.322" v="1831" actId="1076"/>
          <ac:picMkLst>
            <pc:docMk/>
            <pc:sldMk cId="2502723964" sldId="2147471719"/>
            <ac:picMk id="6" creationId="{B65710EB-52F5-4590-83FC-3E3D77071805}"/>
          </ac:picMkLst>
        </pc:picChg>
      </pc:sldChg>
      <pc:sldChg chg="modSp mod">
        <pc:chgData name="John Paserba" userId="77bd6c8a-d0c1-4fea-8705-0169f65d0c0e" providerId="ADAL" clId="{569F64FD-FE64-4867-854E-D31ACBDD4BE5}" dt="2025-10-16T03:13:42.137" v="1849" actId="14100"/>
        <pc:sldMkLst>
          <pc:docMk/>
          <pc:sldMk cId="2371975685" sldId="2147471720"/>
        </pc:sldMkLst>
        <pc:picChg chg="mod">
          <ac:chgData name="John Paserba" userId="77bd6c8a-d0c1-4fea-8705-0169f65d0c0e" providerId="ADAL" clId="{569F64FD-FE64-4867-854E-D31ACBDD4BE5}" dt="2025-10-16T03:13:42.137" v="1849" actId="14100"/>
          <ac:picMkLst>
            <pc:docMk/>
            <pc:sldMk cId="2371975685" sldId="2147471720"/>
            <ac:picMk id="9" creationId="{498F66A1-B655-462C-B2B6-333F142A2AA4}"/>
          </ac:picMkLst>
        </pc:picChg>
      </pc:sldChg>
      <pc:sldChg chg="del">
        <pc:chgData name="John Paserba" userId="77bd6c8a-d0c1-4fea-8705-0169f65d0c0e" providerId="ADAL" clId="{569F64FD-FE64-4867-854E-D31ACBDD4BE5}" dt="2025-10-16T02:44:05.871" v="1426" actId="47"/>
        <pc:sldMkLst>
          <pc:docMk/>
          <pc:sldMk cId="1807381905" sldId="2147471722"/>
        </pc:sldMkLst>
      </pc:sldChg>
      <pc:sldChg chg="modSp mod">
        <pc:chgData name="John Paserba" userId="77bd6c8a-d0c1-4fea-8705-0169f65d0c0e" providerId="ADAL" clId="{569F64FD-FE64-4867-854E-D31ACBDD4BE5}" dt="2025-10-16T02:38:54.623" v="1218" actId="20577"/>
        <pc:sldMkLst>
          <pc:docMk/>
          <pc:sldMk cId="2339610385" sldId="2147471725"/>
        </pc:sldMkLst>
        <pc:spChg chg="mod">
          <ac:chgData name="John Paserba" userId="77bd6c8a-d0c1-4fea-8705-0169f65d0c0e" providerId="ADAL" clId="{569F64FD-FE64-4867-854E-D31ACBDD4BE5}" dt="2025-10-16T02:38:54.623" v="1218" actId="20577"/>
          <ac:spMkLst>
            <pc:docMk/>
            <pc:sldMk cId="2339610385" sldId="2147471725"/>
            <ac:spMk id="12" creationId="{7637F54C-2D4B-44A5-B3F7-1642BB564316}"/>
          </ac:spMkLst>
        </pc:spChg>
      </pc:sldChg>
      <pc:sldChg chg="modSp">
        <pc:chgData name="John Paserba" userId="77bd6c8a-d0c1-4fea-8705-0169f65d0c0e" providerId="ADAL" clId="{569F64FD-FE64-4867-854E-D31ACBDD4BE5}" dt="2025-10-16T04:37:31.216" v="2592" actId="208"/>
        <pc:sldMkLst>
          <pc:docMk/>
          <pc:sldMk cId="717567624" sldId="2147471726"/>
        </pc:sldMkLst>
        <pc:graphicFrameChg chg="mod">
          <ac:chgData name="John Paserba" userId="77bd6c8a-d0c1-4fea-8705-0169f65d0c0e" providerId="ADAL" clId="{569F64FD-FE64-4867-854E-D31ACBDD4BE5}" dt="2025-10-16T04:37:31.216" v="2592" actId="208"/>
          <ac:graphicFrameMkLst>
            <pc:docMk/>
            <pc:sldMk cId="717567624" sldId="2147471726"/>
            <ac:graphicFrameMk id="2" creationId="{00000000-0000-0000-0000-000000000000}"/>
          </ac:graphicFrameMkLst>
        </pc:graphicFrameChg>
      </pc:sldChg>
      <pc:sldChg chg="modSp mod">
        <pc:chgData name="John Paserba" userId="77bd6c8a-d0c1-4fea-8705-0169f65d0c0e" providerId="ADAL" clId="{569F64FD-FE64-4867-854E-D31ACBDD4BE5}" dt="2025-10-16T02:39:17.281" v="1239" actId="20577"/>
        <pc:sldMkLst>
          <pc:docMk/>
          <pc:sldMk cId="115478721" sldId="2147471727"/>
        </pc:sldMkLst>
        <pc:spChg chg="mod">
          <ac:chgData name="John Paserba" userId="77bd6c8a-d0c1-4fea-8705-0169f65d0c0e" providerId="ADAL" clId="{569F64FD-FE64-4867-854E-D31ACBDD4BE5}" dt="2025-10-16T02:39:17.281" v="1239" actId="20577"/>
          <ac:spMkLst>
            <pc:docMk/>
            <pc:sldMk cId="115478721" sldId="2147471727"/>
            <ac:spMk id="3328002" creationId="{00000000-0000-0000-0000-000000000000}"/>
          </ac:spMkLst>
        </pc:spChg>
      </pc:sldChg>
      <pc:sldChg chg="modSp mod">
        <pc:chgData name="John Paserba" userId="77bd6c8a-d0c1-4fea-8705-0169f65d0c0e" providerId="ADAL" clId="{569F64FD-FE64-4867-854E-D31ACBDD4BE5}" dt="2025-10-16T05:21:45.554" v="2794" actId="732"/>
        <pc:sldMkLst>
          <pc:docMk/>
          <pc:sldMk cId="1154339187" sldId="2147471728"/>
        </pc:sldMkLst>
        <pc:picChg chg="mod modCrop">
          <ac:chgData name="John Paserba" userId="77bd6c8a-d0c1-4fea-8705-0169f65d0c0e" providerId="ADAL" clId="{569F64FD-FE64-4867-854E-D31ACBDD4BE5}" dt="2025-10-16T05:21:45.554" v="2794" actId="732"/>
          <ac:picMkLst>
            <pc:docMk/>
            <pc:sldMk cId="1154339187" sldId="2147471728"/>
            <ac:picMk id="6" creationId="{860CB65A-AE72-49F4-9D04-E057BFADF006}"/>
          </ac:picMkLst>
        </pc:picChg>
      </pc:sldChg>
      <pc:sldChg chg="modSp mod">
        <pc:chgData name="John Paserba" userId="77bd6c8a-d0c1-4fea-8705-0169f65d0c0e" providerId="ADAL" clId="{569F64FD-FE64-4867-854E-D31ACBDD4BE5}" dt="2025-10-16T05:02:33.156" v="2727" actId="1076"/>
        <pc:sldMkLst>
          <pc:docMk/>
          <pc:sldMk cId="4056670772" sldId="2147471745"/>
        </pc:sldMkLst>
        <pc:spChg chg="mod">
          <ac:chgData name="John Paserba" userId="77bd6c8a-d0c1-4fea-8705-0169f65d0c0e" providerId="ADAL" clId="{569F64FD-FE64-4867-854E-D31ACBDD4BE5}" dt="2025-10-16T05:02:33.156" v="2727" actId="1076"/>
          <ac:spMkLst>
            <pc:docMk/>
            <pc:sldMk cId="4056670772" sldId="2147471745"/>
            <ac:spMk id="12" creationId="{6BFA9E04-DCA8-E4A6-8FF9-B3899DFA1F75}"/>
          </ac:spMkLst>
        </pc:spChg>
      </pc:sldChg>
      <pc:sldChg chg="modSp mod">
        <pc:chgData name="John Paserba" userId="77bd6c8a-d0c1-4fea-8705-0169f65d0c0e" providerId="ADAL" clId="{569F64FD-FE64-4867-854E-D31ACBDD4BE5}" dt="2025-10-16T02:33:47.890" v="1050" actId="20577"/>
        <pc:sldMkLst>
          <pc:docMk/>
          <pc:sldMk cId="3970052653" sldId="2147471750"/>
        </pc:sldMkLst>
        <pc:spChg chg="mod">
          <ac:chgData name="John Paserba" userId="77bd6c8a-d0c1-4fea-8705-0169f65d0c0e" providerId="ADAL" clId="{569F64FD-FE64-4867-854E-D31ACBDD4BE5}" dt="2025-10-16T02:33:47.890" v="1050" actId="20577"/>
          <ac:spMkLst>
            <pc:docMk/>
            <pc:sldMk cId="3970052653" sldId="2147471750"/>
            <ac:spMk id="2" creationId="{3886EC70-5D04-9327-5328-EC944E5C503F}"/>
          </ac:spMkLst>
        </pc:spChg>
      </pc:sldChg>
      <pc:sldChg chg="modSp mod">
        <pc:chgData name="John Paserba" userId="77bd6c8a-d0c1-4fea-8705-0169f65d0c0e" providerId="ADAL" clId="{569F64FD-FE64-4867-854E-D31ACBDD4BE5}" dt="2025-10-16T02:34:00.927" v="1052" actId="20577"/>
        <pc:sldMkLst>
          <pc:docMk/>
          <pc:sldMk cId="3331998248" sldId="2147471752"/>
        </pc:sldMkLst>
        <pc:spChg chg="mod">
          <ac:chgData name="John Paserba" userId="77bd6c8a-d0c1-4fea-8705-0169f65d0c0e" providerId="ADAL" clId="{569F64FD-FE64-4867-854E-D31ACBDD4BE5}" dt="2025-10-16T02:34:00.927" v="1052" actId="20577"/>
          <ac:spMkLst>
            <pc:docMk/>
            <pc:sldMk cId="3331998248" sldId="2147471752"/>
            <ac:spMk id="3328002" creationId="{4A4DC470-200A-A958-446F-A666A2011047}"/>
          </ac:spMkLst>
        </pc:spChg>
      </pc:sldChg>
      <pc:sldChg chg="modSp mod">
        <pc:chgData name="John Paserba" userId="77bd6c8a-d0c1-4fea-8705-0169f65d0c0e" providerId="ADAL" clId="{569F64FD-FE64-4867-854E-D31ACBDD4BE5}" dt="2025-10-16T03:57:11.250" v="1996" actId="3064"/>
        <pc:sldMkLst>
          <pc:docMk/>
          <pc:sldMk cId="3576317580" sldId="2147471753"/>
        </pc:sldMkLst>
        <pc:spChg chg="mod">
          <ac:chgData name="John Paserba" userId="77bd6c8a-d0c1-4fea-8705-0169f65d0c0e" providerId="ADAL" clId="{569F64FD-FE64-4867-854E-D31ACBDD4BE5}" dt="2025-10-16T03:57:11.250" v="1996" actId="3064"/>
          <ac:spMkLst>
            <pc:docMk/>
            <pc:sldMk cId="3576317580" sldId="2147471753"/>
            <ac:spMk id="14" creationId="{E8800211-A81C-42CA-9F4A-0D462ACE480C}"/>
          </ac:spMkLst>
        </pc:spChg>
      </pc:sldChg>
      <pc:sldChg chg="modSp mod">
        <pc:chgData name="John Paserba" userId="77bd6c8a-d0c1-4fea-8705-0169f65d0c0e" providerId="ADAL" clId="{569F64FD-FE64-4867-854E-D31ACBDD4BE5}" dt="2025-10-16T03:59:11.588" v="2009" actId="3064"/>
        <pc:sldMkLst>
          <pc:docMk/>
          <pc:sldMk cId="1605903753" sldId="2147471761"/>
        </pc:sldMkLst>
        <pc:spChg chg="mod">
          <ac:chgData name="John Paserba" userId="77bd6c8a-d0c1-4fea-8705-0169f65d0c0e" providerId="ADAL" clId="{569F64FD-FE64-4867-854E-D31ACBDD4BE5}" dt="2025-10-16T03:59:11.588" v="2009" actId="3064"/>
          <ac:spMkLst>
            <pc:docMk/>
            <pc:sldMk cId="1605903753" sldId="2147471761"/>
            <ac:spMk id="19" creationId="{B66DB883-78CC-47D6-870E-F734EE745027}"/>
          </ac:spMkLst>
        </pc:spChg>
      </pc:sldChg>
      <pc:sldChg chg="modSp mod">
        <pc:chgData name="John Paserba" userId="77bd6c8a-d0c1-4fea-8705-0169f65d0c0e" providerId="ADAL" clId="{569F64FD-FE64-4867-854E-D31ACBDD4BE5}" dt="2025-10-16T03:58:56.731" v="2005" actId="1076"/>
        <pc:sldMkLst>
          <pc:docMk/>
          <pc:sldMk cId="2366930432" sldId="2147471762"/>
        </pc:sldMkLst>
        <pc:spChg chg="mod">
          <ac:chgData name="John Paserba" userId="77bd6c8a-d0c1-4fea-8705-0169f65d0c0e" providerId="ADAL" clId="{569F64FD-FE64-4867-854E-D31ACBDD4BE5}" dt="2025-10-16T03:58:56.731" v="2005" actId="1076"/>
          <ac:spMkLst>
            <pc:docMk/>
            <pc:sldMk cId="2366930432" sldId="2147471762"/>
            <ac:spMk id="21" creationId="{0C2291E6-FC91-4D6A-AB1E-7DA283E1D247}"/>
          </ac:spMkLst>
        </pc:spChg>
      </pc:sldChg>
      <pc:sldChg chg="ord">
        <pc:chgData name="John Paserba" userId="77bd6c8a-d0c1-4fea-8705-0169f65d0c0e" providerId="ADAL" clId="{569F64FD-FE64-4867-854E-D31ACBDD4BE5}" dt="2025-10-16T03:47:39.778" v="1955"/>
        <pc:sldMkLst>
          <pc:docMk/>
          <pc:sldMk cId="1405700643" sldId="2147471764"/>
        </pc:sldMkLst>
      </pc:sldChg>
      <pc:sldChg chg="modSp mod">
        <pc:chgData name="John Paserba" userId="77bd6c8a-d0c1-4fea-8705-0169f65d0c0e" providerId="ADAL" clId="{569F64FD-FE64-4867-854E-D31ACBDD4BE5}" dt="2025-10-16T04:00:17.138" v="2014" actId="3064"/>
        <pc:sldMkLst>
          <pc:docMk/>
          <pc:sldMk cId="519710030" sldId="2147471768"/>
        </pc:sldMkLst>
        <pc:spChg chg="mod">
          <ac:chgData name="John Paserba" userId="77bd6c8a-d0c1-4fea-8705-0169f65d0c0e" providerId="ADAL" clId="{569F64FD-FE64-4867-854E-D31ACBDD4BE5}" dt="2025-10-16T04:00:17.138" v="2014" actId="3064"/>
          <ac:spMkLst>
            <pc:docMk/>
            <pc:sldMk cId="519710030" sldId="2147471768"/>
            <ac:spMk id="3328002" creationId="{00000000-0000-0000-0000-000000000000}"/>
          </ac:spMkLst>
        </pc:spChg>
      </pc:sldChg>
      <pc:sldChg chg="modSp mod">
        <pc:chgData name="John Paserba" userId="77bd6c8a-d0c1-4fea-8705-0169f65d0c0e" providerId="ADAL" clId="{569F64FD-FE64-4867-854E-D31ACBDD4BE5}" dt="2025-10-16T04:00:23.796" v="2015" actId="3064"/>
        <pc:sldMkLst>
          <pc:docMk/>
          <pc:sldMk cId="1363215793" sldId="2147471770"/>
        </pc:sldMkLst>
        <pc:spChg chg="mod">
          <ac:chgData name="John Paserba" userId="77bd6c8a-d0c1-4fea-8705-0169f65d0c0e" providerId="ADAL" clId="{569F64FD-FE64-4867-854E-D31ACBDD4BE5}" dt="2025-10-16T04:00:23.796" v="2015" actId="3064"/>
          <ac:spMkLst>
            <pc:docMk/>
            <pc:sldMk cId="1363215793" sldId="2147471770"/>
            <ac:spMk id="3328002" creationId="{00000000-0000-0000-0000-000000000000}"/>
          </ac:spMkLst>
        </pc:spChg>
      </pc:sldChg>
      <pc:sldChg chg="del">
        <pc:chgData name="John Paserba" userId="77bd6c8a-d0c1-4fea-8705-0169f65d0c0e" providerId="ADAL" clId="{569F64FD-FE64-4867-854E-D31ACBDD4BE5}" dt="2025-10-16T02:44:05.871" v="1426" actId="47"/>
        <pc:sldMkLst>
          <pc:docMk/>
          <pc:sldMk cId="3980057186" sldId="2147471772"/>
        </pc:sldMkLst>
      </pc:sldChg>
      <pc:sldChg chg="modSp mod">
        <pc:chgData name="John Paserba" userId="77bd6c8a-d0c1-4fea-8705-0169f65d0c0e" providerId="ADAL" clId="{569F64FD-FE64-4867-854E-D31ACBDD4BE5}" dt="2025-10-16T04:00:32.482" v="2016" actId="3064"/>
        <pc:sldMkLst>
          <pc:docMk/>
          <pc:sldMk cId="706584097" sldId="2147471774"/>
        </pc:sldMkLst>
        <pc:spChg chg="mod">
          <ac:chgData name="John Paserba" userId="77bd6c8a-d0c1-4fea-8705-0169f65d0c0e" providerId="ADAL" clId="{569F64FD-FE64-4867-854E-D31ACBDD4BE5}" dt="2025-10-16T04:00:32.482" v="2016" actId="3064"/>
          <ac:spMkLst>
            <pc:docMk/>
            <pc:sldMk cId="706584097" sldId="2147471774"/>
            <ac:spMk id="3328002" creationId="{00000000-0000-0000-0000-000000000000}"/>
          </ac:spMkLst>
        </pc:spChg>
      </pc:sldChg>
      <pc:sldChg chg="modSp mod">
        <pc:chgData name="John Paserba" userId="77bd6c8a-d0c1-4fea-8705-0169f65d0c0e" providerId="ADAL" clId="{569F64FD-FE64-4867-854E-D31ACBDD4BE5}" dt="2025-10-16T04:00:09.035" v="2013" actId="3064"/>
        <pc:sldMkLst>
          <pc:docMk/>
          <pc:sldMk cId="3818620073" sldId="2147471776"/>
        </pc:sldMkLst>
        <pc:spChg chg="mod">
          <ac:chgData name="John Paserba" userId="77bd6c8a-d0c1-4fea-8705-0169f65d0c0e" providerId="ADAL" clId="{569F64FD-FE64-4867-854E-D31ACBDD4BE5}" dt="2025-10-16T04:00:09.035" v="2013" actId="3064"/>
          <ac:spMkLst>
            <pc:docMk/>
            <pc:sldMk cId="3818620073" sldId="2147471776"/>
            <ac:spMk id="3328002" creationId="{00000000-0000-0000-0000-000000000000}"/>
          </ac:spMkLst>
        </pc:spChg>
      </pc:sldChg>
      <pc:sldChg chg="modSp mod">
        <pc:chgData name="John Paserba" userId="77bd6c8a-d0c1-4fea-8705-0169f65d0c0e" providerId="ADAL" clId="{569F64FD-FE64-4867-854E-D31ACBDD4BE5}" dt="2025-10-16T02:34:23.730" v="1061" actId="20577"/>
        <pc:sldMkLst>
          <pc:docMk/>
          <pc:sldMk cId="694031996" sldId="2147471777"/>
        </pc:sldMkLst>
        <pc:spChg chg="mod">
          <ac:chgData name="John Paserba" userId="77bd6c8a-d0c1-4fea-8705-0169f65d0c0e" providerId="ADAL" clId="{569F64FD-FE64-4867-854E-D31ACBDD4BE5}" dt="2025-10-16T02:34:23.730" v="1061" actId="20577"/>
          <ac:spMkLst>
            <pc:docMk/>
            <pc:sldMk cId="694031996" sldId="2147471777"/>
            <ac:spMk id="4" creationId="{75D644E8-26BF-74EF-C1AD-366E18E20D1A}"/>
          </ac:spMkLst>
        </pc:spChg>
      </pc:sldChg>
      <pc:sldChg chg="modSp mod">
        <pc:chgData name="John Paserba" userId="77bd6c8a-d0c1-4fea-8705-0169f65d0c0e" providerId="ADAL" clId="{569F64FD-FE64-4867-854E-D31ACBDD4BE5}" dt="2025-10-16T02:34:50.915" v="1079" actId="20577"/>
        <pc:sldMkLst>
          <pc:docMk/>
          <pc:sldMk cId="4230604041" sldId="2147471778"/>
        </pc:sldMkLst>
        <pc:spChg chg="mod">
          <ac:chgData name="John Paserba" userId="77bd6c8a-d0c1-4fea-8705-0169f65d0c0e" providerId="ADAL" clId="{569F64FD-FE64-4867-854E-D31ACBDD4BE5}" dt="2025-10-16T02:34:30.124" v="1064" actId="20577"/>
          <ac:spMkLst>
            <pc:docMk/>
            <pc:sldMk cId="4230604041" sldId="2147471778"/>
            <ac:spMk id="4" creationId="{0BC888C2-2D38-C7D9-35AF-75C71ABFBEB6}"/>
          </ac:spMkLst>
        </pc:spChg>
        <pc:spChg chg="mod">
          <ac:chgData name="John Paserba" userId="77bd6c8a-d0c1-4fea-8705-0169f65d0c0e" providerId="ADAL" clId="{569F64FD-FE64-4867-854E-D31ACBDD4BE5}" dt="2025-10-16T02:34:41.405" v="1073" actId="20577"/>
          <ac:spMkLst>
            <pc:docMk/>
            <pc:sldMk cId="4230604041" sldId="2147471778"/>
            <ac:spMk id="9" creationId="{E026AFFD-2F30-6D3F-5111-EF920183E4FE}"/>
          </ac:spMkLst>
        </pc:spChg>
        <pc:spChg chg="mod">
          <ac:chgData name="John Paserba" userId="77bd6c8a-d0c1-4fea-8705-0169f65d0c0e" providerId="ADAL" clId="{569F64FD-FE64-4867-854E-D31ACBDD4BE5}" dt="2025-10-16T02:34:50.915" v="1079" actId="20577"/>
          <ac:spMkLst>
            <pc:docMk/>
            <pc:sldMk cId="4230604041" sldId="2147471778"/>
            <ac:spMk id="10" creationId="{C84A0D55-ABDB-0A4B-4299-7227B09684B6}"/>
          </ac:spMkLst>
        </pc:spChg>
      </pc:sldChg>
      <pc:sldChg chg="del">
        <pc:chgData name="John Paserba" userId="77bd6c8a-d0c1-4fea-8705-0169f65d0c0e" providerId="ADAL" clId="{569F64FD-FE64-4867-854E-D31ACBDD4BE5}" dt="2025-10-16T02:44:05.871" v="1426" actId="47"/>
        <pc:sldMkLst>
          <pc:docMk/>
          <pc:sldMk cId="2584384277" sldId="2147471780"/>
        </pc:sldMkLst>
      </pc:sldChg>
      <pc:sldChg chg="modSp mod">
        <pc:chgData name="John Paserba" userId="77bd6c8a-d0c1-4fea-8705-0169f65d0c0e" providerId="ADAL" clId="{569F64FD-FE64-4867-854E-D31ACBDD4BE5}" dt="2025-10-16T02:30:23.815" v="956" actId="20577"/>
        <pc:sldMkLst>
          <pc:docMk/>
          <pc:sldMk cId="3517840741" sldId="2147471782"/>
        </pc:sldMkLst>
        <pc:spChg chg="mod">
          <ac:chgData name="John Paserba" userId="77bd6c8a-d0c1-4fea-8705-0169f65d0c0e" providerId="ADAL" clId="{569F64FD-FE64-4867-854E-D31ACBDD4BE5}" dt="2025-10-16T02:30:23.815" v="956" actId="20577"/>
          <ac:spMkLst>
            <pc:docMk/>
            <pc:sldMk cId="3517840741" sldId="2147471782"/>
            <ac:spMk id="3" creationId="{E6993746-A424-4F09-867F-B919F4E18ECB}"/>
          </ac:spMkLst>
        </pc:spChg>
      </pc:sldChg>
      <pc:sldChg chg="modSp add">
        <pc:chgData name="John Paserba" userId="77bd6c8a-d0c1-4fea-8705-0169f65d0c0e" providerId="ADAL" clId="{569F64FD-FE64-4867-854E-D31ACBDD4BE5}" dt="2025-10-16T02:53:39.436" v="1623"/>
        <pc:sldMkLst>
          <pc:docMk/>
          <pc:sldMk cId="2418141605" sldId="2147471784"/>
        </pc:sldMkLst>
        <pc:spChg chg="mod">
          <ac:chgData name="John Paserba" userId="77bd6c8a-d0c1-4fea-8705-0169f65d0c0e" providerId="ADAL" clId="{569F64FD-FE64-4867-854E-D31ACBDD4BE5}" dt="2025-10-16T02:53:39.436" v="1623"/>
          <ac:spMkLst>
            <pc:docMk/>
            <pc:sldMk cId="2418141605" sldId="2147471784"/>
            <ac:spMk id="3328002" creationId="{00000000-0000-0000-0000-000000000000}"/>
          </ac:spMkLst>
        </pc:spChg>
      </pc:sldChg>
      <pc:sldChg chg="addSp delSp modSp del mod">
        <pc:chgData name="John Paserba" userId="77bd6c8a-d0c1-4fea-8705-0169f65d0c0e" providerId="ADAL" clId="{569F64FD-FE64-4867-854E-D31ACBDD4BE5}" dt="2025-10-16T02:53:24.898" v="1621" actId="2696"/>
        <pc:sldMkLst>
          <pc:docMk/>
          <pc:sldMk cId="3602354048" sldId="2147471784"/>
        </pc:sldMkLst>
        <pc:spChg chg="del">
          <ac:chgData name="John Paserba" userId="77bd6c8a-d0c1-4fea-8705-0169f65d0c0e" providerId="ADAL" clId="{569F64FD-FE64-4867-854E-D31ACBDD4BE5}" dt="2025-10-16T02:19:15.333" v="578" actId="478"/>
          <ac:spMkLst>
            <pc:docMk/>
            <pc:sldMk cId="3602354048" sldId="2147471784"/>
            <ac:spMk id="14" creationId="{37FA2262-D38A-4846-B7D1-A216D84AB650}"/>
          </ac:spMkLst>
        </pc:spChg>
        <pc:spChg chg="mod">
          <ac:chgData name="John Paserba" userId="77bd6c8a-d0c1-4fea-8705-0169f65d0c0e" providerId="ADAL" clId="{569F64FD-FE64-4867-854E-D31ACBDD4BE5}" dt="2025-10-16T02:20:35.892" v="598"/>
          <ac:spMkLst>
            <pc:docMk/>
            <pc:sldMk cId="3602354048" sldId="2147471784"/>
            <ac:spMk id="3328002" creationId="{00000000-0000-0000-0000-000000000000}"/>
          </ac:spMkLst>
        </pc:spChg>
        <pc:graphicFrameChg chg="add del mod modGraphic">
          <ac:chgData name="John Paserba" userId="77bd6c8a-d0c1-4fea-8705-0169f65d0c0e" providerId="ADAL" clId="{569F64FD-FE64-4867-854E-D31ACBDD4BE5}" dt="2025-10-16T02:21:19.248" v="599" actId="478"/>
          <ac:graphicFrameMkLst>
            <pc:docMk/>
            <pc:sldMk cId="3602354048" sldId="2147471784"/>
            <ac:graphicFrameMk id="3" creationId="{78B223AC-E942-43B3-8D9E-B7689412092E}"/>
          </ac:graphicFrameMkLst>
        </pc:graphicFrameChg>
        <pc:graphicFrameChg chg="add del mod modGraphic">
          <ac:chgData name="John Paserba" userId="77bd6c8a-d0c1-4fea-8705-0169f65d0c0e" providerId="ADAL" clId="{569F64FD-FE64-4867-854E-D31ACBDD4BE5}" dt="2025-10-16T02:22:02.485" v="607" actId="478"/>
          <ac:graphicFrameMkLst>
            <pc:docMk/>
            <pc:sldMk cId="3602354048" sldId="2147471784"/>
            <ac:graphicFrameMk id="12" creationId="{D2BCC7E9-9857-4EA2-8776-291DC15FB55B}"/>
          </ac:graphicFrameMkLst>
        </pc:graphicFrameChg>
        <pc:graphicFrameChg chg="add mod modGraphic">
          <ac:chgData name="John Paserba" userId="77bd6c8a-d0c1-4fea-8705-0169f65d0c0e" providerId="ADAL" clId="{569F64FD-FE64-4867-854E-D31ACBDD4BE5}" dt="2025-10-16T02:51:21.860" v="1620" actId="122"/>
          <ac:graphicFrameMkLst>
            <pc:docMk/>
            <pc:sldMk cId="3602354048" sldId="2147471784"/>
            <ac:graphicFrameMk id="13" creationId="{A6893137-D145-4D4F-BC2A-8161EEB68F17}"/>
          </ac:graphicFrameMkLst>
        </pc:graphicFrameChg>
        <pc:picChg chg="add del mod">
          <ac:chgData name="John Paserba" userId="77bd6c8a-d0c1-4fea-8705-0169f65d0c0e" providerId="ADAL" clId="{569F64FD-FE64-4867-854E-D31ACBDD4BE5}" dt="2025-10-16T02:19:28.398" v="583" actId="478"/>
          <ac:picMkLst>
            <pc:docMk/>
            <pc:sldMk cId="3602354048" sldId="2147471784"/>
            <ac:picMk id="2" creationId="{61EF33C0-E142-4C8A-96DC-33BD1D3E360F}"/>
          </ac:picMkLst>
        </pc:picChg>
      </pc:sldChg>
      <pc:sldChg chg="modSp mod ord">
        <pc:chgData name="John Paserba" userId="77bd6c8a-d0c1-4fea-8705-0169f65d0c0e" providerId="ADAL" clId="{569F64FD-FE64-4867-854E-D31ACBDD4BE5}" dt="2025-10-16T04:46:29.007" v="2663" actId="20577"/>
        <pc:sldMkLst>
          <pc:docMk/>
          <pc:sldMk cId="223166733" sldId="2147471785"/>
        </pc:sldMkLst>
        <pc:spChg chg="mod">
          <ac:chgData name="John Paserba" userId="77bd6c8a-d0c1-4fea-8705-0169f65d0c0e" providerId="ADAL" clId="{569F64FD-FE64-4867-854E-D31ACBDD4BE5}" dt="2025-10-16T02:30:53.709" v="958" actId="20577"/>
          <ac:spMkLst>
            <pc:docMk/>
            <pc:sldMk cId="223166733" sldId="2147471785"/>
            <ac:spMk id="3328002" creationId="{00000000-0000-0000-0000-000000000000}"/>
          </ac:spMkLst>
        </pc:spChg>
        <pc:graphicFrameChg chg="modGraphic">
          <ac:chgData name="John Paserba" userId="77bd6c8a-d0c1-4fea-8705-0169f65d0c0e" providerId="ADAL" clId="{569F64FD-FE64-4867-854E-D31ACBDD4BE5}" dt="2025-10-16T04:46:29.007" v="2663" actId="20577"/>
          <ac:graphicFrameMkLst>
            <pc:docMk/>
            <pc:sldMk cId="223166733" sldId="2147471785"/>
            <ac:graphicFrameMk id="3" creationId="{4FC7BB60-BAD4-4E29-B97E-ACEE972C2815}"/>
          </ac:graphicFrameMkLst>
        </pc:graphicFrameChg>
      </pc:sldChg>
      <pc:sldChg chg="modSp mod">
        <pc:chgData name="John Paserba" userId="77bd6c8a-d0c1-4fea-8705-0169f65d0c0e" providerId="ADAL" clId="{569F64FD-FE64-4867-854E-D31ACBDD4BE5}" dt="2025-10-16T04:47:33.892" v="2683" actId="20577"/>
        <pc:sldMkLst>
          <pc:docMk/>
          <pc:sldMk cId="2920915659" sldId="2147471786"/>
        </pc:sldMkLst>
        <pc:spChg chg="mod">
          <ac:chgData name="John Paserba" userId="77bd6c8a-d0c1-4fea-8705-0169f65d0c0e" providerId="ADAL" clId="{569F64FD-FE64-4867-854E-D31ACBDD4BE5}" dt="2025-10-16T04:47:33.892" v="2683" actId="20577"/>
          <ac:spMkLst>
            <pc:docMk/>
            <pc:sldMk cId="2920915659" sldId="2147471786"/>
            <ac:spMk id="3" creationId="{E6993746-A424-4F09-867F-B919F4E18ECB}"/>
          </ac:spMkLst>
        </pc:spChg>
        <pc:spChg chg="mod">
          <ac:chgData name="John Paserba" userId="77bd6c8a-d0c1-4fea-8705-0169f65d0c0e" providerId="ADAL" clId="{569F64FD-FE64-4867-854E-D31ACBDD4BE5}" dt="2025-10-16T03:58:25.991" v="2001" actId="3064"/>
          <ac:spMkLst>
            <pc:docMk/>
            <pc:sldMk cId="2920915659" sldId="2147471786"/>
            <ac:spMk id="3328002" creationId="{00000000-0000-0000-0000-000000000000}"/>
          </ac:spMkLst>
        </pc:spChg>
      </pc:sldChg>
      <pc:sldChg chg="modSp mod">
        <pc:chgData name="John Paserba" userId="77bd6c8a-d0c1-4fea-8705-0169f65d0c0e" providerId="ADAL" clId="{569F64FD-FE64-4867-854E-D31ACBDD4BE5}" dt="2025-10-16T03:59:30.745" v="2010" actId="3064"/>
        <pc:sldMkLst>
          <pc:docMk/>
          <pc:sldMk cId="506027128" sldId="2147471787"/>
        </pc:sldMkLst>
        <pc:spChg chg="mod">
          <ac:chgData name="John Paserba" userId="77bd6c8a-d0c1-4fea-8705-0169f65d0c0e" providerId="ADAL" clId="{569F64FD-FE64-4867-854E-D31ACBDD4BE5}" dt="2025-10-16T03:59:30.745" v="2010" actId="3064"/>
          <ac:spMkLst>
            <pc:docMk/>
            <pc:sldMk cId="506027128" sldId="2147471787"/>
            <ac:spMk id="3328002" creationId="{00000000-0000-0000-0000-000000000000}"/>
          </ac:spMkLst>
        </pc:spChg>
      </pc:sldChg>
      <pc:sldChg chg="del">
        <pc:chgData name="John Paserba" userId="77bd6c8a-d0c1-4fea-8705-0169f65d0c0e" providerId="ADAL" clId="{569F64FD-FE64-4867-854E-D31ACBDD4BE5}" dt="2025-10-16T02:15:32.847" v="577" actId="47"/>
        <pc:sldMkLst>
          <pc:docMk/>
          <pc:sldMk cId="1731357715" sldId="2147471788"/>
        </pc:sldMkLst>
      </pc:sldChg>
      <pc:sldChg chg="del">
        <pc:chgData name="John Paserba" userId="77bd6c8a-d0c1-4fea-8705-0169f65d0c0e" providerId="ADAL" clId="{569F64FD-FE64-4867-854E-D31ACBDD4BE5}" dt="2025-10-16T02:44:05.871" v="1426" actId="47"/>
        <pc:sldMkLst>
          <pc:docMk/>
          <pc:sldMk cId="198455228" sldId="2147471792"/>
        </pc:sldMkLst>
      </pc:sldChg>
      <pc:sldChg chg="del">
        <pc:chgData name="John Paserba" userId="77bd6c8a-d0c1-4fea-8705-0169f65d0c0e" providerId="ADAL" clId="{569F64FD-FE64-4867-854E-D31ACBDD4BE5}" dt="2025-10-16T02:44:05.871" v="1426" actId="47"/>
        <pc:sldMkLst>
          <pc:docMk/>
          <pc:sldMk cId="4231909255" sldId="2147471793"/>
        </pc:sldMkLst>
      </pc:sldChg>
      <pc:sldChg chg="modSp mod">
        <pc:chgData name="John Paserba" userId="77bd6c8a-d0c1-4fea-8705-0169f65d0c0e" providerId="ADAL" clId="{569F64FD-FE64-4867-854E-D31ACBDD4BE5}" dt="2025-10-16T04:46:44.684" v="2671" actId="20577"/>
        <pc:sldMkLst>
          <pc:docMk/>
          <pc:sldMk cId="1003790712" sldId="2147471796"/>
        </pc:sldMkLst>
        <pc:spChg chg="mod">
          <ac:chgData name="John Paserba" userId="77bd6c8a-d0c1-4fea-8705-0169f65d0c0e" providerId="ADAL" clId="{569F64FD-FE64-4867-854E-D31ACBDD4BE5}" dt="2025-10-16T04:46:44.684" v="2671" actId="20577"/>
          <ac:spMkLst>
            <pc:docMk/>
            <pc:sldMk cId="1003790712" sldId="2147471796"/>
            <ac:spMk id="3" creationId="{E6993746-A424-4F09-867F-B919F4E18ECB}"/>
          </ac:spMkLst>
        </pc:spChg>
      </pc:sldChg>
      <pc:sldChg chg="del">
        <pc:chgData name="John Paserba" userId="77bd6c8a-d0c1-4fea-8705-0169f65d0c0e" providerId="ADAL" clId="{569F64FD-FE64-4867-854E-D31ACBDD4BE5}" dt="2025-10-16T02:55:16.124" v="1640" actId="2696"/>
        <pc:sldMkLst>
          <pc:docMk/>
          <pc:sldMk cId="4011912219" sldId="2147471796"/>
        </pc:sldMkLst>
      </pc:sldChg>
      <pc:sldChg chg="del">
        <pc:chgData name="John Paserba" userId="77bd6c8a-d0c1-4fea-8705-0169f65d0c0e" providerId="ADAL" clId="{569F64FD-FE64-4867-854E-D31ACBDD4BE5}" dt="2025-10-16T02:55:16.124" v="1640" actId="2696"/>
        <pc:sldMkLst>
          <pc:docMk/>
          <pc:sldMk cId="1045465934" sldId="2147471797"/>
        </pc:sldMkLst>
      </pc:sldChg>
      <pc:sldChg chg="modSp del mod">
        <pc:chgData name="John Paserba" userId="77bd6c8a-d0c1-4fea-8705-0169f65d0c0e" providerId="ADAL" clId="{569F64FD-FE64-4867-854E-D31ACBDD4BE5}" dt="2025-10-16T02:55:16.124" v="1640" actId="2696"/>
        <pc:sldMkLst>
          <pc:docMk/>
          <pc:sldMk cId="813813943" sldId="2147471798"/>
        </pc:sldMkLst>
        <pc:spChg chg="mod">
          <ac:chgData name="John Paserba" userId="77bd6c8a-d0c1-4fea-8705-0169f65d0c0e" providerId="ADAL" clId="{569F64FD-FE64-4867-854E-D31ACBDD4BE5}" dt="2025-10-16T02:03:42.602" v="39" actId="20577"/>
          <ac:spMkLst>
            <pc:docMk/>
            <pc:sldMk cId="813813943" sldId="2147471798"/>
            <ac:spMk id="3" creationId="{E6993746-A424-4F09-867F-B919F4E18ECB}"/>
          </ac:spMkLst>
        </pc:spChg>
      </pc:sldChg>
      <pc:sldChg chg="del">
        <pc:chgData name="John Paserba" userId="77bd6c8a-d0c1-4fea-8705-0169f65d0c0e" providerId="ADAL" clId="{569F64FD-FE64-4867-854E-D31ACBDD4BE5}" dt="2025-10-16T02:44:05.871" v="1426" actId="47"/>
        <pc:sldMkLst>
          <pc:docMk/>
          <pc:sldMk cId="4135330872" sldId="2147471799"/>
        </pc:sldMkLst>
      </pc:sldChg>
      <pc:sldChg chg="del">
        <pc:chgData name="John Paserba" userId="77bd6c8a-d0c1-4fea-8705-0169f65d0c0e" providerId="ADAL" clId="{569F64FD-FE64-4867-854E-D31ACBDD4BE5}" dt="2025-10-16T02:44:05.871" v="1426" actId="47"/>
        <pc:sldMkLst>
          <pc:docMk/>
          <pc:sldMk cId="2143132638" sldId="2147471800"/>
        </pc:sldMkLst>
      </pc:sldChg>
      <pc:sldChg chg="modSp mod">
        <pc:chgData name="John Paserba" userId="77bd6c8a-d0c1-4fea-8705-0169f65d0c0e" providerId="ADAL" clId="{569F64FD-FE64-4867-854E-D31ACBDD4BE5}" dt="2025-10-16T04:47:04.270" v="2672" actId="20577"/>
        <pc:sldMkLst>
          <pc:docMk/>
          <pc:sldMk cId="1100047433" sldId="2147471802"/>
        </pc:sldMkLst>
        <pc:spChg chg="mod">
          <ac:chgData name="John Paserba" userId="77bd6c8a-d0c1-4fea-8705-0169f65d0c0e" providerId="ADAL" clId="{569F64FD-FE64-4867-854E-D31ACBDD4BE5}" dt="2025-10-16T03:52:33.705" v="1969" actId="3064"/>
          <ac:spMkLst>
            <pc:docMk/>
            <pc:sldMk cId="1100047433" sldId="2147471802"/>
            <ac:spMk id="3328002" creationId="{00000000-0000-0000-0000-000000000000}"/>
          </ac:spMkLst>
        </pc:spChg>
        <pc:graphicFrameChg chg="modGraphic">
          <ac:chgData name="John Paserba" userId="77bd6c8a-d0c1-4fea-8705-0169f65d0c0e" providerId="ADAL" clId="{569F64FD-FE64-4867-854E-D31ACBDD4BE5}" dt="2025-10-16T04:47:04.270" v="2672" actId="20577"/>
          <ac:graphicFrameMkLst>
            <pc:docMk/>
            <pc:sldMk cId="1100047433" sldId="2147471802"/>
            <ac:graphicFrameMk id="2" creationId="{DC5099DB-E32D-4104-BCAA-50D2853A3BC4}"/>
          </ac:graphicFrameMkLst>
        </pc:graphicFrameChg>
      </pc:sldChg>
      <pc:sldChg chg="modSp mod">
        <pc:chgData name="John Paserba" userId="77bd6c8a-d0c1-4fea-8705-0169f65d0c0e" providerId="ADAL" clId="{569F64FD-FE64-4867-854E-D31ACBDD4BE5}" dt="2025-10-16T03:57:59.384" v="1998" actId="3064"/>
        <pc:sldMkLst>
          <pc:docMk/>
          <pc:sldMk cId="3355548159" sldId="2147471814"/>
        </pc:sldMkLst>
        <pc:spChg chg="mod">
          <ac:chgData name="John Paserba" userId="77bd6c8a-d0c1-4fea-8705-0169f65d0c0e" providerId="ADAL" clId="{569F64FD-FE64-4867-854E-D31ACBDD4BE5}" dt="2025-10-16T03:57:59.384" v="1998" actId="3064"/>
          <ac:spMkLst>
            <pc:docMk/>
            <pc:sldMk cId="3355548159" sldId="2147471814"/>
            <ac:spMk id="3328002" creationId="{00000000-0000-0000-0000-000000000000}"/>
          </ac:spMkLst>
        </pc:spChg>
      </pc:sldChg>
      <pc:sldChg chg="modSp mod">
        <pc:chgData name="John Paserba" userId="77bd6c8a-d0c1-4fea-8705-0169f65d0c0e" providerId="ADAL" clId="{569F64FD-FE64-4867-854E-D31ACBDD4BE5}" dt="2025-10-16T03:58:08.905" v="1999" actId="3064"/>
        <pc:sldMkLst>
          <pc:docMk/>
          <pc:sldMk cId="1601724199" sldId="2147471815"/>
        </pc:sldMkLst>
        <pc:spChg chg="mod">
          <ac:chgData name="John Paserba" userId="77bd6c8a-d0c1-4fea-8705-0169f65d0c0e" providerId="ADAL" clId="{569F64FD-FE64-4867-854E-D31ACBDD4BE5}" dt="2025-10-16T03:58:08.905" v="1999" actId="3064"/>
          <ac:spMkLst>
            <pc:docMk/>
            <pc:sldMk cId="1601724199" sldId="2147471815"/>
            <ac:spMk id="3328002" creationId="{00000000-0000-0000-0000-000000000000}"/>
          </ac:spMkLst>
        </pc:spChg>
      </pc:sldChg>
      <pc:sldChg chg="modSp mod">
        <pc:chgData name="John Paserba" userId="77bd6c8a-d0c1-4fea-8705-0169f65d0c0e" providerId="ADAL" clId="{569F64FD-FE64-4867-854E-D31ACBDD4BE5}" dt="2025-10-16T03:58:17.527" v="2000" actId="3064"/>
        <pc:sldMkLst>
          <pc:docMk/>
          <pc:sldMk cId="2611446155" sldId="2147471816"/>
        </pc:sldMkLst>
        <pc:spChg chg="mod">
          <ac:chgData name="John Paserba" userId="77bd6c8a-d0c1-4fea-8705-0169f65d0c0e" providerId="ADAL" clId="{569F64FD-FE64-4867-854E-D31ACBDD4BE5}" dt="2025-10-16T03:58:17.527" v="2000" actId="3064"/>
          <ac:spMkLst>
            <pc:docMk/>
            <pc:sldMk cId="2611446155" sldId="2147471816"/>
            <ac:spMk id="3328002" creationId="{00000000-0000-0000-0000-000000000000}"/>
          </ac:spMkLst>
        </pc:spChg>
      </pc:sldChg>
      <pc:sldChg chg="modSp mod">
        <pc:chgData name="John Paserba" userId="77bd6c8a-d0c1-4fea-8705-0169f65d0c0e" providerId="ADAL" clId="{569F64FD-FE64-4867-854E-D31ACBDD4BE5}" dt="2025-10-16T03:59:40.056" v="2011" actId="3064"/>
        <pc:sldMkLst>
          <pc:docMk/>
          <pc:sldMk cId="2218686594" sldId="2147471818"/>
        </pc:sldMkLst>
        <pc:spChg chg="mod">
          <ac:chgData name="John Paserba" userId="77bd6c8a-d0c1-4fea-8705-0169f65d0c0e" providerId="ADAL" clId="{569F64FD-FE64-4867-854E-D31ACBDD4BE5}" dt="2025-10-16T03:59:40.056" v="2011" actId="3064"/>
          <ac:spMkLst>
            <pc:docMk/>
            <pc:sldMk cId="2218686594" sldId="2147471818"/>
            <ac:spMk id="3328002" creationId="{00000000-0000-0000-0000-000000000000}"/>
          </ac:spMkLst>
        </pc:spChg>
      </pc:sldChg>
      <pc:sldChg chg="modSp mod">
        <pc:chgData name="John Paserba" userId="77bd6c8a-d0c1-4fea-8705-0169f65d0c0e" providerId="ADAL" clId="{569F64FD-FE64-4867-854E-D31ACBDD4BE5}" dt="2025-10-16T02:39:10.808" v="1233" actId="20577"/>
        <pc:sldMkLst>
          <pc:docMk/>
          <pc:sldMk cId="3105101276" sldId="2147471822"/>
        </pc:sldMkLst>
        <pc:spChg chg="mod">
          <ac:chgData name="John Paserba" userId="77bd6c8a-d0c1-4fea-8705-0169f65d0c0e" providerId="ADAL" clId="{569F64FD-FE64-4867-854E-D31ACBDD4BE5}" dt="2025-10-16T02:39:10.808" v="1233" actId="20577"/>
          <ac:spMkLst>
            <pc:docMk/>
            <pc:sldMk cId="3105101276" sldId="2147471822"/>
            <ac:spMk id="12" creationId="{7637F54C-2D4B-44A5-B3F7-1642BB564316}"/>
          </ac:spMkLst>
        </pc:spChg>
      </pc:sldChg>
      <pc:sldChg chg="modSp del mod">
        <pc:chgData name="John Paserba" userId="77bd6c8a-d0c1-4fea-8705-0169f65d0c0e" providerId="ADAL" clId="{569F64FD-FE64-4867-854E-D31ACBDD4BE5}" dt="2025-10-16T05:18:36.194" v="2784" actId="2696"/>
        <pc:sldMkLst>
          <pc:docMk/>
          <pc:sldMk cId="1848293232" sldId="2147471823"/>
        </pc:sldMkLst>
        <pc:spChg chg="mod">
          <ac:chgData name="John Paserba" userId="77bd6c8a-d0c1-4fea-8705-0169f65d0c0e" providerId="ADAL" clId="{569F64FD-FE64-4867-854E-D31ACBDD4BE5}" dt="2025-10-16T04:48:39.679" v="2692" actId="20577"/>
          <ac:spMkLst>
            <pc:docMk/>
            <pc:sldMk cId="1848293232" sldId="2147471823"/>
            <ac:spMk id="3328002" creationId="{00000000-0000-0000-0000-000000000000}"/>
          </ac:spMkLst>
        </pc:spChg>
      </pc:sldChg>
      <pc:sldChg chg="add">
        <pc:chgData name="John Paserba" userId="77bd6c8a-d0c1-4fea-8705-0169f65d0c0e" providerId="ADAL" clId="{569F64FD-FE64-4867-854E-D31ACBDD4BE5}" dt="2025-10-16T05:18:47.429" v="2785"/>
        <pc:sldMkLst>
          <pc:docMk/>
          <pc:sldMk cId="3743190439" sldId="2147471823"/>
        </pc:sldMkLst>
      </pc:sldChg>
      <pc:sldChg chg="add">
        <pc:chgData name="John Paserba" userId="77bd6c8a-d0c1-4fea-8705-0169f65d0c0e" providerId="ADAL" clId="{569F64FD-FE64-4867-854E-D31ACBDD4BE5}" dt="2025-10-16T05:19:09.690" v="2787"/>
        <pc:sldMkLst>
          <pc:docMk/>
          <pc:sldMk cId="3022454174" sldId="2147471824"/>
        </pc:sldMkLst>
      </pc:sldChg>
      <pc:sldChg chg="del">
        <pc:chgData name="John Paserba" userId="77bd6c8a-d0c1-4fea-8705-0169f65d0c0e" providerId="ADAL" clId="{569F64FD-FE64-4867-854E-D31ACBDD4BE5}" dt="2025-10-16T05:19:01.754" v="2786" actId="2696"/>
        <pc:sldMkLst>
          <pc:docMk/>
          <pc:sldMk cId="3891908509" sldId="2147471824"/>
        </pc:sldMkLst>
      </pc:sldChg>
      <pc:sldChg chg="add">
        <pc:chgData name="John Paserba" userId="77bd6c8a-d0c1-4fea-8705-0169f65d0c0e" providerId="ADAL" clId="{569F64FD-FE64-4867-854E-D31ACBDD4BE5}" dt="2025-10-16T05:19:09.690" v="2787"/>
        <pc:sldMkLst>
          <pc:docMk/>
          <pc:sldMk cId="1146039287" sldId="2147471825"/>
        </pc:sldMkLst>
      </pc:sldChg>
      <pc:sldChg chg="modSp del">
        <pc:chgData name="John Paserba" userId="77bd6c8a-d0c1-4fea-8705-0169f65d0c0e" providerId="ADAL" clId="{569F64FD-FE64-4867-854E-D31ACBDD4BE5}" dt="2025-10-16T05:19:01.754" v="2786" actId="2696"/>
        <pc:sldMkLst>
          <pc:docMk/>
          <pc:sldMk cId="3521576497" sldId="2147471825"/>
        </pc:sldMkLst>
        <pc:graphicFrameChg chg="mod">
          <ac:chgData name="John Paserba" userId="77bd6c8a-d0c1-4fea-8705-0169f65d0c0e" providerId="ADAL" clId="{569F64FD-FE64-4867-854E-D31ACBDD4BE5}" dt="2025-10-16T04:40:02.426" v="2625" actId="20577"/>
          <ac:graphicFrameMkLst>
            <pc:docMk/>
            <pc:sldMk cId="3521576497" sldId="2147471825"/>
            <ac:graphicFrameMk id="2" creationId="{665EF968-A3DF-4C28-851C-49CF0F511DDC}"/>
          </ac:graphicFrameMkLst>
        </pc:graphicFrameChg>
      </pc:sldChg>
      <pc:sldChg chg="add">
        <pc:chgData name="John Paserba" userId="77bd6c8a-d0c1-4fea-8705-0169f65d0c0e" providerId="ADAL" clId="{569F64FD-FE64-4867-854E-D31ACBDD4BE5}" dt="2025-10-16T05:19:09.690" v="2787"/>
        <pc:sldMkLst>
          <pc:docMk/>
          <pc:sldMk cId="2526490395" sldId="2147471826"/>
        </pc:sldMkLst>
      </pc:sldChg>
      <pc:sldChg chg="del">
        <pc:chgData name="John Paserba" userId="77bd6c8a-d0c1-4fea-8705-0169f65d0c0e" providerId="ADAL" clId="{569F64FD-FE64-4867-854E-D31ACBDD4BE5}" dt="2025-10-16T05:19:01.754" v="2786" actId="2696"/>
        <pc:sldMkLst>
          <pc:docMk/>
          <pc:sldMk cId="3060494149" sldId="2147471826"/>
        </pc:sldMkLst>
      </pc:sldChg>
      <pc:sldChg chg="modSp del mod">
        <pc:chgData name="John Paserba" userId="77bd6c8a-d0c1-4fea-8705-0169f65d0c0e" providerId="ADAL" clId="{569F64FD-FE64-4867-854E-D31ACBDD4BE5}" dt="2025-10-16T05:19:01.754" v="2786" actId="2696"/>
        <pc:sldMkLst>
          <pc:docMk/>
          <pc:sldMk cId="1518505039" sldId="2147471827"/>
        </pc:sldMkLst>
        <pc:spChg chg="mod">
          <ac:chgData name="John Paserba" userId="77bd6c8a-d0c1-4fea-8705-0169f65d0c0e" providerId="ADAL" clId="{569F64FD-FE64-4867-854E-D31ACBDD4BE5}" dt="2025-10-16T05:06:07.518" v="2771" actId="207"/>
          <ac:spMkLst>
            <pc:docMk/>
            <pc:sldMk cId="1518505039" sldId="2147471827"/>
            <ac:spMk id="3" creationId="{E6993746-A424-4F09-867F-B919F4E18ECB}"/>
          </ac:spMkLst>
        </pc:spChg>
      </pc:sldChg>
      <pc:sldChg chg="add">
        <pc:chgData name="John Paserba" userId="77bd6c8a-d0c1-4fea-8705-0169f65d0c0e" providerId="ADAL" clId="{569F64FD-FE64-4867-854E-D31ACBDD4BE5}" dt="2025-10-16T05:19:09.690" v="2787"/>
        <pc:sldMkLst>
          <pc:docMk/>
          <pc:sldMk cId="3423941778" sldId="2147471827"/>
        </pc:sldMkLst>
      </pc:sldChg>
      <pc:sldChg chg="add">
        <pc:chgData name="John Paserba" userId="77bd6c8a-d0c1-4fea-8705-0169f65d0c0e" providerId="ADAL" clId="{569F64FD-FE64-4867-854E-D31ACBDD4BE5}" dt="2025-10-16T05:19:09.690" v="2787"/>
        <pc:sldMkLst>
          <pc:docMk/>
          <pc:sldMk cId="500186506" sldId="2147471828"/>
        </pc:sldMkLst>
      </pc:sldChg>
      <pc:sldChg chg="modSp del mod">
        <pc:chgData name="John Paserba" userId="77bd6c8a-d0c1-4fea-8705-0169f65d0c0e" providerId="ADAL" clId="{569F64FD-FE64-4867-854E-D31ACBDD4BE5}" dt="2025-10-16T05:19:01.754" v="2786" actId="2696"/>
        <pc:sldMkLst>
          <pc:docMk/>
          <pc:sldMk cId="2934761795" sldId="2147471828"/>
        </pc:sldMkLst>
        <pc:spChg chg="mod">
          <ac:chgData name="John Paserba" userId="77bd6c8a-d0c1-4fea-8705-0169f65d0c0e" providerId="ADAL" clId="{569F64FD-FE64-4867-854E-D31ACBDD4BE5}" dt="2025-10-16T02:09:07.649" v="160" actId="313"/>
          <ac:spMkLst>
            <pc:docMk/>
            <pc:sldMk cId="2934761795" sldId="2147471828"/>
            <ac:spMk id="3" creationId="{E6993746-A424-4F09-867F-B919F4E18ECB}"/>
          </ac:spMkLst>
        </pc:spChg>
      </pc:sldChg>
      <pc:sldChg chg="delSp modSp mod">
        <pc:chgData name="John Paserba" userId="77bd6c8a-d0c1-4fea-8705-0169f65d0c0e" providerId="ADAL" clId="{569F64FD-FE64-4867-854E-D31ACBDD4BE5}" dt="2025-10-16T05:12:52.210" v="2783" actId="20577"/>
        <pc:sldMkLst>
          <pc:docMk/>
          <pc:sldMk cId="4015630486" sldId="2147471840"/>
        </pc:sldMkLst>
        <pc:spChg chg="del mod">
          <ac:chgData name="John Paserba" userId="77bd6c8a-d0c1-4fea-8705-0169f65d0c0e" providerId="ADAL" clId="{569F64FD-FE64-4867-854E-D31ACBDD4BE5}" dt="2025-10-16T05:12:47.974" v="2779" actId="478"/>
          <ac:spMkLst>
            <pc:docMk/>
            <pc:sldMk cId="4015630486" sldId="2147471840"/>
            <ac:spMk id="27" creationId="{1ECDD52E-95CD-4AA5-8760-D89F6D8B016B}"/>
          </ac:spMkLst>
        </pc:spChg>
        <pc:spChg chg="mod">
          <ac:chgData name="John Paserba" userId="77bd6c8a-d0c1-4fea-8705-0169f65d0c0e" providerId="ADAL" clId="{569F64FD-FE64-4867-854E-D31ACBDD4BE5}" dt="2025-10-16T05:12:52.210" v="2783" actId="20577"/>
          <ac:spMkLst>
            <pc:docMk/>
            <pc:sldMk cId="4015630486" sldId="2147471840"/>
            <ac:spMk id="28" creationId="{A7F2B84C-531A-4A84-87EA-D1D6C5F74EC8}"/>
          </ac:spMkLst>
        </pc:spChg>
        <pc:graphicFrameChg chg="mod">
          <ac:chgData name="John Paserba" userId="77bd6c8a-d0c1-4fea-8705-0169f65d0c0e" providerId="ADAL" clId="{569F64FD-FE64-4867-854E-D31ACBDD4BE5}" dt="2025-10-16T04:37:04.074" v="2588" actId="208"/>
          <ac:graphicFrameMkLst>
            <pc:docMk/>
            <pc:sldMk cId="4015630486" sldId="2147471840"/>
            <ac:graphicFrameMk id="14" creationId="{00000000-0000-0000-0000-000000000000}"/>
          </ac:graphicFrameMkLst>
        </pc:graphicFrameChg>
        <pc:graphicFrameChg chg="mod">
          <ac:chgData name="John Paserba" userId="77bd6c8a-d0c1-4fea-8705-0169f65d0c0e" providerId="ADAL" clId="{569F64FD-FE64-4867-854E-D31ACBDD4BE5}" dt="2025-10-16T04:36:51.960" v="2585" actId="207"/>
          <ac:graphicFrameMkLst>
            <pc:docMk/>
            <pc:sldMk cId="4015630486" sldId="2147471840"/>
            <ac:graphicFrameMk id="17" creationId="{56F1947A-A87B-47AE-A49D-C3183B9A0338}"/>
          </ac:graphicFrameMkLst>
        </pc:graphicFrameChg>
      </pc:sldChg>
      <pc:sldChg chg="modSp mod">
        <pc:chgData name="John Paserba" userId="77bd6c8a-d0c1-4fea-8705-0169f65d0c0e" providerId="ADAL" clId="{569F64FD-FE64-4867-854E-D31ACBDD4BE5}" dt="2025-10-16T04:21:48.171" v="2435" actId="20577"/>
        <pc:sldMkLst>
          <pc:docMk/>
          <pc:sldMk cId="3887683762" sldId="2147471842"/>
        </pc:sldMkLst>
        <pc:spChg chg="mod">
          <ac:chgData name="John Paserba" userId="77bd6c8a-d0c1-4fea-8705-0169f65d0c0e" providerId="ADAL" clId="{569F64FD-FE64-4867-854E-D31ACBDD4BE5}" dt="2025-10-16T04:21:48.171" v="2435" actId="20577"/>
          <ac:spMkLst>
            <pc:docMk/>
            <pc:sldMk cId="3887683762" sldId="2147471842"/>
            <ac:spMk id="2" creationId="{00000000-0000-0000-0000-000000000000}"/>
          </ac:spMkLst>
        </pc:spChg>
        <pc:spChg chg="mod">
          <ac:chgData name="John Paserba" userId="77bd6c8a-d0c1-4fea-8705-0169f65d0c0e" providerId="ADAL" clId="{569F64FD-FE64-4867-854E-D31ACBDD4BE5}" dt="2025-10-16T02:39:27.481" v="1244" actId="20577"/>
          <ac:spMkLst>
            <pc:docMk/>
            <pc:sldMk cId="3887683762" sldId="2147471842"/>
            <ac:spMk id="13" creationId="{E04F9E07-578D-4AFB-873E-82B17B555C1E}"/>
          </ac:spMkLst>
        </pc:spChg>
        <pc:graphicFrameChg chg="mod">
          <ac:chgData name="John Paserba" userId="77bd6c8a-d0c1-4fea-8705-0169f65d0c0e" providerId="ADAL" clId="{569F64FD-FE64-4867-854E-D31ACBDD4BE5}" dt="2025-10-16T02:09:45.874" v="188" actId="20577"/>
          <ac:graphicFrameMkLst>
            <pc:docMk/>
            <pc:sldMk cId="3887683762" sldId="2147471842"/>
            <ac:graphicFrameMk id="5" creationId="{00000000-0000-0000-0000-000000000000}"/>
          </ac:graphicFrameMkLst>
        </pc:graphicFrameChg>
      </pc:sldChg>
      <pc:sldChg chg="add">
        <pc:chgData name="John Paserba" userId="77bd6c8a-d0c1-4fea-8705-0169f65d0c0e" providerId="ADAL" clId="{569F64FD-FE64-4867-854E-D31ACBDD4BE5}" dt="2025-10-16T05:19:09.690" v="2787"/>
        <pc:sldMkLst>
          <pc:docMk/>
          <pc:sldMk cId="503563062" sldId="2147471846"/>
        </pc:sldMkLst>
      </pc:sldChg>
      <pc:sldChg chg="modSp del mod">
        <pc:chgData name="John Paserba" userId="77bd6c8a-d0c1-4fea-8705-0169f65d0c0e" providerId="ADAL" clId="{569F64FD-FE64-4867-854E-D31ACBDD4BE5}" dt="2025-10-16T05:19:01.754" v="2786" actId="2696"/>
        <pc:sldMkLst>
          <pc:docMk/>
          <pc:sldMk cId="1797580026" sldId="2147471846"/>
        </pc:sldMkLst>
        <pc:spChg chg="mod">
          <ac:chgData name="John Paserba" userId="77bd6c8a-d0c1-4fea-8705-0169f65d0c0e" providerId="ADAL" clId="{569F64FD-FE64-4867-854E-D31ACBDD4BE5}" dt="2025-10-16T02:08:09.101" v="130" actId="20577"/>
          <ac:spMkLst>
            <pc:docMk/>
            <pc:sldMk cId="1797580026" sldId="2147471846"/>
            <ac:spMk id="21" creationId="{AE762D9E-9375-48FB-9027-C352FEDE0E4C}"/>
          </ac:spMkLst>
        </pc:spChg>
        <pc:graphicFrameChg chg="mod">
          <ac:chgData name="John Paserba" userId="77bd6c8a-d0c1-4fea-8705-0169f65d0c0e" providerId="ADAL" clId="{569F64FD-FE64-4867-854E-D31ACBDD4BE5}" dt="2025-10-16T02:07:40.691" v="105" actId="20577"/>
          <ac:graphicFrameMkLst>
            <pc:docMk/>
            <pc:sldMk cId="1797580026" sldId="2147471846"/>
            <ac:graphicFrameMk id="5" creationId="{00000000-0000-0000-0000-000000000000}"/>
          </ac:graphicFrameMkLst>
        </pc:graphicFrameChg>
      </pc:sldChg>
      <pc:sldChg chg="del">
        <pc:chgData name="John Paserba" userId="77bd6c8a-d0c1-4fea-8705-0169f65d0c0e" providerId="ADAL" clId="{569F64FD-FE64-4867-854E-D31ACBDD4BE5}" dt="2025-10-16T03:07:52.164" v="1652" actId="47"/>
        <pc:sldMkLst>
          <pc:docMk/>
          <pc:sldMk cId="4085070674" sldId="2147471849"/>
        </pc:sldMkLst>
      </pc:sldChg>
      <pc:sldChg chg="modSp mod">
        <pc:chgData name="John Paserba" userId="77bd6c8a-d0c1-4fea-8705-0169f65d0c0e" providerId="ADAL" clId="{569F64FD-FE64-4867-854E-D31ACBDD4BE5}" dt="2025-10-16T02:43:08.675" v="1413" actId="20577"/>
        <pc:sldMkLst>
          <pc:docMk/>
          <pc:sldMk cId="795209985" sldId="2147471850"/>
        </pc:sldMkLst>
        <pc:spChg chg="mod">
          <ac:chgData name="John Paserba" userId="77bd6c8a-d0c1-4fea-8705-0169f65d0c0e" providerId="ADAL" clId="{569F64FD-FE64-4867-854E-D31ACBDD4BE5}" dt="2025-10-16T02:43:08.675" v="1413" actId="20577"/>
          <ac:spMkLst>
            <pc:docMk/>
            <pc:sldMk cId="795209985" sldId="2147471850"/>
            <ac:spMk id="5" creationId="{6F20F5EE-239B-245C-C76E-33E3340BDF30}"/>
          </ac:spMkLst>
        </pc:spChg>
      </pc:sldChg>
      <pc:sldChg chg="modSp mod">
        <pc:chgData name="John Paserba" userId="77bd6c8a-d0c1-4fea-8705-0169f65d0c0e" providerId="ADAL" clId="{569F64FD-FE64-4867-854E-D31ACBDD4BE5}" dt="2025-10-16T05:20:11.290" v="2793" actId="20577"/>
        <pc:sldMkLst>
          <pc:docMk/>
          <pc:sldMk cId="1707099215" sldId="2147471852"/>
        </pc:sldMkLst>
        <pc:spChg chg="mod">
          <ac:chgData name="John Paserba" userId="77bd6c8a-d0c1-4fea-8705-0169f65d0c0e" providerId="ADAL" clId="{569F64FD-FE64-4867-854E-D31ACBDD4BE5}" dt="2025-10-16T05:20:11.290" v="2793" actId="20577"/>
          <ac:spMkLst>
            <pc:docMk/>
            <pc:sldMk cId="1707099215" sldId="2147471852"/>
            <ac:spMk id="12" creationId="{F45E667D-D9ED-4BE1-999E-2A4766484A8F}"/>
          </ac:spMkLst>
        </pc:spChg>
      </pc:sldChg>
      <pc:sldChg chg="modSp mod">
        <pc:chgData name="John Paserba" userId="77bd6c8a-d0c1-4fea-8705-0169f65d0c0e" providerId="ADAL" clId="{569F64FD-FE64-4867-854E-D31ACBDD4BE5}" dt="2025-10-16T02:43:23.030" v="1419" actId="20577"/>
        <pc:sldMkLst>
          <pc:docMk/>
          <pc:sldMk cId="2809262590" sldId="2147471854"/>
        </pc:sldMkLst>
        <pc:spChg chg="mod">
          <ac:chgData name="John Paserba" userId="77bd6c8a-d0c1-4fea-8705-0169f65d0c0e" providerId="ADAL" clId="{569F64FD-FE64-4867-854E-D31ACBDD4BE5}" dt="2025-10-16T02:43:23.030" v="1419" actId="20577"/>
          <ac:spMkLst>
            <pc:docMk/>
            <pc:sldMk cId="2809262590" sldId="2147471854"/>
            <ac:spMk id="2" creationId="{24EFA49A-D6F0-94EB-2E4A-46AC510574DD}"/>
          </ac:spMkLst>
        </pc:spChg>
      </pc:sldChg>
      <pc:sldChg chg="modSp mod">
        <pc:chgData name="John Paserba" userId="77bd6c8a-d0c1-4fea-8705-0169f65d0c0e" providerId="ADAL" clId="{569F64FD-FE64-4867-854E-D31ACBDD4BE5}" dt="2025-10-16T04:15:09.569" v="2269" actId="207"/>
        <pc:sldMkLst>
          <pc:docMk/>
          <pc:sldMk cId="2509368989" sldId="2147471855"/>
        </pc:sldMkLst>
        <pc:spChg chg="mod">
          <ac:chgData name="John Paserba" userId="77bd6c8a-d0c1-4fea-8705-0169f65d0c0e" providerId="ADAL" clId="{569F64FD-FE64-4867-854E-D31ACBDD4BE5}" dt="2025-10-16T04:15:09.569" v="2269" actId="207"/>
          <ac:spMkLst>
            <pc:docMk/>
            <pc:sldMk cId="2509368989" sldId="2147471855"/>
            <ac:spMk id="3" creationId="{E6993746-A424-4F09-867F-B919F4E18ECB}"/>
          </ac:spMkLst>
        </pc:spChg>
        <pc:spChg chg="mod">
          <ac:chgData name="John Paserba" userId="77bd6c8a-d0c1-4fea-8705-0169f65d0c0e" providerId="ADAL" clId="{569F64FD-FE64-4867-854E-D31ACBDD4BE5}" dt="2025-10-16T04:05:23.034" v="2087" actId="3064"/>
          <ac:spMkLst>
            <pc:docMk/>
            <pc:sldMk cId="2509368989" sldId="2147471855"/>
            <ac:spMk id="3328002" creationId="{00000000-0000-0000-0000-000000000000}"/>
          </ac:spMkLst>
        </pc:spChg>
      </pc:sldChg>
      <pc:sldChg chg="modSp mod">
        <pc:chgData name="John Paserba" userId="77bd6c8a-d0c1-4fea-8705-0169f65d0c0e" providerId="ADAL" clId="{569F64FD-FE64-4867-854E-D31ACBDD4BE5}" dt="2025-10-16T04:08:44.192" v="2134" actId="6549"/>
        <pc:sldMkLst>
          <pc:docMk/>
          <pc:sldMk cId="317826799" sldId="2147471857"/>
        </pc:sldMkLst>
        <pc:spChg chg="mod">
          <ac:chgData name="John Paserba" userId="77bd6c8a-d0c1-4fea-8705-0169f65d0c0e" providerId="ADAL" clId="{569F64FD-FE64-4867-854E-D31ACBDD4BE5}" dt="2025-10-16T04:08:03.320" v="2125" actId="20577"/>
          <ac:spMkLst>
            <pc:docMk/>
            <pc:sldMk cId="317826799" sldId="2147471857"/>
            <ac:spMk id="20" creationId="{E4D2AEB1-6464-4208-B025-9933D66667C1}"/>
          </ac:spMkLst>
        </pc:spChg>
        <pc:spChg chg="mod">
          <ac:chgData name="John Paserba" userId="77bd6c8a-d0c1-4fea-8705-0169f65d0c0e" providerId="ADAL" clId="{569F64FD-FE64-4867-854E-D31ACBDD4BE5}" dt="2025-10-16T04:08:44.192" v="2134" actId="6549"/>
          <ac:spMkLst>
            <pc:docMk/>
            <pc:sldMk cId="317826799" sldId="2147471857"/>
            <ac:spMk id="3328002" creationId="{00000000-0000-0000-0000-000000000000}"/>
          </ac:spMkLst>
        </pc:spChg>
      </pc:sldChg>
      <pc:sldChg chg="modSp mod">
        <pc:chgData name="John Paserba" userId="77bd6c8a-d0c1-4fea-8705-0169f65d0c0e" providerId="ADAL" clId="{569F64FD-FE64-4867-854E-D31ACBDD4BE5}" dt="2025-10-16T04:10:52.205" v="2249" actId="255"/>
        <pc:sldMkLst>
          <pc:docMk/>
          <pc:sldMk cId="3513153426" sldId="2147471858"/>
        </pc:sldMkLst>
        <pc:spChg chg="mod">
          <ac:chgData name="John Paserba" userId="77bd6c8a-d0c1-4fea-8705-0169f65d0c0e" providerId="ADAL" clId="{569F64FD-FE64-4867-854E-D31ACBDD4BE5}" dt="2025-10-16T04:10:52.205" v="2249" actId="255"/>
          <ac:spMkLst>
            <pc:docMk/>
            <pc:sldMk cId="3513153426" sldId="2147471858"/>
            <ac:spMk id="19" creationId="{0327FAC7-2F1E-4D8A-B13A-A6095EB953B4}"/>
          </ac:spMkLst>
        </pc:spChg>
        <pc:spChg chg="mod">
          <ac:chgData name="John Paserba" userId="77bd6c8a-d0c1-4fea-8705-0169f65d0c0e" providerId="ADAL" clId="{569F64FD-FE64-4867-854E-D31ACBDD4BE5}" dt="2025-10-16T04:09:22.377" v="2147" actId="20577"/>
          <ac:spMkLst>
            <pc:docMk/>
            <pc:sldMk cId="3513153426" sldId="2147471858"/>
            <ac:spMk id="3328002" creationId="{00000000-0000-0000-0000-000000000000}"/>
          </ac:spMkLst>
        </pc:spChg>
      </pc:sldChg>
      <pc:sldChg chg="modSp mod">
        <pc:chgData name="John Paserba" userId="77bd6c8a-d0c1-4fea-8705-0169f65d0c0e" providerId="ADAL" clId="{569F64FD-FE64-4867-854E-D31ACBDD4BE5}" dt="2025-10-16T02:34:07.578" v="1055" actId="20577"/>
        <pc:sldMkLst>
          <pc:docMk/>
          <pc:sldMk cId="358134025" sldId="2147471862"/>
        </pc:sldMkLst>
        <pc:spChg chg="mod">
          <ac:chgData name="John Paserba" userId="77bd6c8a-d0c1-4fea-8705-0169f65d0c0e" providerId="ADAL" clId="{569F64FD-FE64-4867-854E-D31ACBDD4BE5}" dt="2025-10-16T02:34:07.578" v="1055" actId="20577"/>
          <ac:spMkLst>
            <pc:docMk/>
            <pc:sldMk cId="358134025" sldId="2147471862"/>
            <ac:spMk id="4" creationId="{1F9A974B-93B8-0481-0512-306FB2E80783}"/>
          </ac:spMkLst>
        </pc:spChg>
      </pc:sldChg>
      <pc:sldChg chg="modSp mod">
        <pc:chgData name="John Paserba" userId="77bd6c8a-d0c1-4fea-8705-0169f65d0c0e" providerId="ADAL" clId="{569F64FD-FE64-4867-854E-D31ACBDD4BE5}" dt="2025-10-16T02:34:18.108" v="1058" actId="20577"/>
        <pc:sldMkLst>
          <pc:docMk/>
          <pc:sldMk cId="700796200" sldId="2147471863"/>
        </pc:sldMkLst>
        <pc:spChg chg="mod">
          <ac:chgData name="John Paserba" userId="77bd6c8a-d0c1-4fea-8705-0169f65d0c0e" providerId="ADAL" clId="{569F64FD-FE64-4867-854E-D31ACBDD4BE5}" dt="2025-10-16T02:34:18.108" v="1058" actId="20577"/>
          <ac:spMkLst>
            <pc:docMk/>
            <pc:sldMk cId="700796200" sldId="2147471863"/>
            <ac:spMk id="4" creationId="{F5EEC707-19D0-2678-A658-E59019801041}"/>
          </ac:spMkLst>
        </pc:spChg>
      </pc:sldChg>
      <pc:sldChg chg="modSp mod">
        <pc:chgData name="John Paserba" userId="77bd6c8a-d0c1-4fea-8705-0169f65d0c0e" providerId="ADAL" clId="{569F64FD-FE64-4867-854E-D31ACBDD4BE5}" dt="2025-10-16T02:34:56.905" v="1082" actId="20577"/>
        <pc:sldMkLst>
          <pc:docMk/>
          <pc:sldMk cId="2693308933" sldId="2147471864"/>
        </pc:sldMkLst>
        <pc:spChg chg="mod">
          <ac:chgData name="John Paserba" userId="77bd6c8a-d0c1-4fea-8705-0169f65d0c0e" providerId="ADAL" clId="{569F64FD-FE64-4867-854E-D31ACBDD4BE5}" dt="2025-10-16T02:34:56.905" v="1082" actId="20577"/>
          <ac:spMkLst>
            <pc:docMk/>
            <pc:sldMk cId="2693308933" sldId="2147471864"/>
            <ac:spMk id="4" creationId="{2FC0B051-D716-47DF-D694-C6C915BB0DEE}"/>
          </ac:spMkLst>
        </pc:spChg>
      </pc:sldChg>
      <pc:sldChg chg="modSp mod">
        <pc:chgData name="John Paserba" userId="77bd6c8a-d0c1-4fea-8705-0169f65d0c0e" providerId="ADAL" clId="{569F64FD-FE64-4867-854E-D31ACBDD4BE5}" dt="2025-10-16T02:40:02.776" v="1268" actId="20577"/>
        <pc:sldMkLst>
          <pc:docMk/>
          <pc:sldMk cId="1823009741" sldId="2147471865"/>
        </pc:sldMkLst>
        <pc:spChg chg="mod">
          <ac:chgData name="John Paserba" userId="77bd6c8a-d0c1-4fea-8705-0169f65d0c0e" providerId="ADAL" clId="{569F64FD-FE64-4867-854E-D31ACBDD4BE5}" dt="2025-10-16T02:40:02.776" v="1268" actId="20577"/>
          <ac:spMkLst>
            <pc:docMk/>
            <pc:sldMk cId="1823009741" sldId="2147471865"/>
            <ac:spMk id="4" creationId="{2FC0B051-D716-47DF-D694-C6C915BB0DEE}"/>
          </ac:spMkLst>
        </pc:spChg>
        <pc:spChg chg="mod">
          <ac:chgData name="John Paserba" userId="77bd6c8a-d0c1-4fea-8705-0169f65d0c0e" providerId="ADAL" clId="{569F64FD-FE64-4867-854E-D31ACBDD4BE5}" dt="2025-10-16T02:05:00.125" v="58" actId="313"/>
          <ac:spMkLst>
            <pc:docMk/>
            <pc:sldMk cId="1823009741" sldId="2147471865"/>
            <ac:spMk id="9" creationId="{8E076489-02B8-6FF8-ED72-6ADEBBE3566D}"/>
          </ac:spMkLst>
        </pc:spChg>
      </pc:sldChg>
      <pc:sldChg chg="modSp mod ord">
        <pc:chgData name="John Paserba" userId="77bd6c8a-d0c1-4fea-8705-0169f65d0c0e" providerId="ADAL" clId="{569F64FD-FE64-4867-854E-D31ACBDD4BE5}" dt="2025-10-16T05:12:30.412" v="2778" actId="20577"/>
        <pc:sldMkLst>
          <pc:docMk/>
          <pc:sldMk cId="2458740875" sldId="2147471871"/>
        </pc:sldMkLst>
        <pc:spChg chg="mod">
          <ac:chgData name="John Paserba" userId="77bd6c8a-d0c1-4fea-8705-0169f65d0c0e" providerId="ADAL" clId="{569F64FD-FE64-4867-854E-D31ACBDD4BE5}" dt="2025-10-16T05:12:30.412" v="2778" actId="20577"/>
          <ac:spMkLst>
            <pc:docMk/>
            <pc:sldMk cId="2458740875" sldId="2147471871"/>
            <ac:spMk id="3" creationId="{E6993746-A424-4F09-867F-B919F4E18ECB}"/>
          </ac:spMkLst>
        </pc:spChg>
        <pc:spChg chg="mod">
          <ac:chgData name="John Paserba" userId="77bd6c8a-d0c1-4fea-8705-0169f65d0c0e" providerId="ADAL" clId="{569F64FD-FE64-4867-854E-D31ACBDD4BE5}" dt="2025-10-16T03:51:44.130" v="1968" actId="3064"/>
          <ac:spMkLst>
            <pc:docMk/>
            <pc:sldMk cId="2458740875" sldId="2147471871"/>
            <ac:spMk id="3328002" creationId="{00000000-0000-0000-0000-000000000000}"/>
          </ac:spMkLst>
        </pc:spChg>
      </pc:sldChg>
      <pc:sldChg chg="modSp del mod">
        <pc:chgData name="John Paserba" userId="77bd6c8a-d0c1-4fea-8705-0169f65d0c0e" providerId="ADAL" clId="{569F64FD-FE64-4867-854E-D31ACBDD4BE5}" dt="2025-10-16T04:58:19.531" v="2723" actId="47"/>
        <pc:sldMkLst>
          <pc:docMk/>
          <pc:sldMk cId="3592873902" sldId="2147471872"/>
        </pc:sldMkLst>
        <pc:spChg chg="mod">
          <ac:chgData name="John Paserba" userId="77bd6c8a-d0c1-4fea-8705-0169f65d0c0e" providerId="ADAL" clId="{569F64FD-FE64-4867-854E-D31ACBDD4BE5}" dt="2025-10-16T04:58:08.258" v="2722" actId="20577"/>
          <ac:spMkLst>
            <pc:docMk/>
            <pc:sldMk cId="3592873902" sldId="2147471872"/>
            <ac:spMk id="3" creationId="{E6993746-A424-4F09-867F-B919F4E18ECB}"/>
          </ac:spMkLst>
        </pc:spChg>
        <pc:spChg chg="mod">
          <ac:chgData name="John Paserba" userId="77bd6c8a-d0c1-4fea-8705-0169f65d0c0e" providerId="ADAL" clId="{569F64FD-FE64-4867-854E-D31ACBDD4BE5}" dt="2025-10-16T03:58:34.038" v="2002" actId="3064"/>
          <ac:spMkLst>
            <pc:docMk/>
            <pc:sldMk cId="3592873902" sldId="2147471872"/>
            <ac:spMk id="3328002" creationId="{00000000-0000-0000-0000-000000000000}"/>
          </ac:spMkLst>
        </pc:spChg>
      </pc:sldChg>
      <pc:sldChg chg="modSp mod">
        <pc:chgData name="John Paserba" userId="77bd6c8a-d0c1-4fea-8705-0169f65d0c0e" providerId="ADAL" clId="{569F64FD-FE64-4867-854E-D31ACBDD4BE5}" dt="2025-10-16T03:58:42.790" v="2003" actId="3064"/>
        <pc:sldMkLst>
          <pc:docMk/>
          <pc:sldMk cId="2963790451" sldId="2147471873"/>
        </pc:sldMkLst>
        <pc:spChg chg="mod">
          <ac:chgData name="John Paserba" userId="77bd6c8a-d0c1-4fea-8705-0169f65d0c0e" providerId="ADAL" clId="{569F64FD-FE64-4867-854E-D31ACBDD4BE5}" dt="2025-10-16T03:58:42.790" v="2003" actId="3064"/>
          <ac:spMkLst>
            <pc:docMk/>
            <pc:sldMk cId="2963790451" sldId="2147471873"/>
            <ac:spMk id="3328002" creationId="{00000000-0000-0000-0000-000000000000}"/>
          </ac:spMkLst>
        </pc:spChg>
        <pc:graphicFrameChg chg="modGraphic">
          <ac:chgData name="John Paserba" userId="77bd6c8a-d0c1-4fea-8705-0169f65d0c0e" providerId="ADAL" clId="{569F64FD-FE64-4867-854E-D31ACBDD4BE5}" dt="2025-10-16T02:31:31.934" v="967" actId="20577"/>
          <ac:graphicFrameMkLst>
            <pc:docMk/>
            <pc:sldMk cId="2963790451" sldId="2147471873"/>
            <ac:graphicFrameMk id="3" creationId="{59480258-15D5-76B7-5FD5-9DA8FE30BC6C}"/>
          </ac:graphicFrameMkLst>
        </pc:graphicFrameChg>
      </pc:sldChg>
      <pc:sldChg chg="modSp mod">
        <pc:chgData name="John Paserba" userId="77bd6c8a-d0c1-4fea-8705-0169f65d0c0e" providerId="ADAL" clId="{569F64FD-FE64-4867-854E-D31ACBDD4BE5}" dt="2025-10-16T05:00:29.704" v="2725" actId="255"/>
        <pc:sldMkLst>
          <pc:docMk/>
          <pc:sldMk cId="2805556490" sldId="2147471874"/>
        </pc:sldMkLst>
        <pc:spChg chg="mod">
          <ac:chgData name="John Paserba" userId="77bd6c8a-d0c1-4fea-8705-0169f65d0c0e" providerId="ADAL" clId="{569F64FD-FE64-4867-854E-D31ACBDD4BE5}" dt="2025-10-16T05:00:29.704" v="2725" actId="255"/>
          <ac:spMkLst>
            <pc:docMk/>
            <pc:sldMk cId="2805556490" sldId="2147471874"/>
            <ac:spMk id="9" creationId="{A403911F-E33B-4F6F-933A-99D0A2535E13}"/>
          </ac:spMkLst>
        </pc:spChg>
      </pc:sldChg>
      <pc:sldChg chg="modSp mod">
        <pc:chgData name="John Paserba" userId="77bd6c8a-d0c1-4fea-8705-0169f65d0c0e" providerId="ADAL" clId="{569F64FD-FE64-4867-854E-D31ACBDD4BE5}" dt="2025-10-16T05:00:18.497" v="2724" actId="255"/>
        <pc:sldMkLst>
          <pc:docMk/>
          <pc:sldMk cId="2269281244" sldId="2147471875"/>
        </pc:sldMkLst>
        <pc:spChg chg="mod">
          <ac:chgData name="John Paserba" userId="77bd6c8a-d0c1-4fea-8705-0169f65d0c0e" providerId="ADAL" clId="{569F64FD-FE64-4867-854E-D31ACBDD4BE5}" dt="2025-10-16T05:00:18.497" v="2724" actId="255"/>
          <ac:spMkLst>
            <pc:docMk/>
            <pc:sldMk cId="2269281244" sldId="2147471875"/>
            <ac:spMk id="9" creationId="{A403911F-E33B-4F6F-933A-99D0A2535E13}"/>
          </ac:spMkLst>
        </pc:spChg>
      </pc:sldChg>
      <pc:sldChg chg="modSp mod">
        <pc:chgData name="John Paserba" userId="77bd6c8a-d0c1-4fea-8705-0169f65d0c0e" providerId="ADAL" clId="{569F64FD-FE64-4867-854E-D31ACBDD4BE5}" dt="2025-10-16T02:41:06.608" v="1300" actId="20577"/>
        <pc:sldMkLst>
          <pc:docMk/>
          <pc:sldMk cId="2362021607" sldId="2147471877"/>
        </pc:sldMkLst>
        <pc:spChg chg="mod">
          <ac:chgData name="John Paserba" userId="77bd6c8a-d0c1-4fea-8705-0169f65d0c0e" providerId="ADAL" clId="{569F64FD-FE64-4867-854E-D31ACBDD4BE5}" dt="2025-10-16T02:41:06.608" v="1300" actId="20577"/>
          <ac:spMkLst>
            <pc:docMk/>
            <pc:sldMk cId="2362021607" sldId="2147471877"/>
            <ac:spMk id="11" creationId="{041C9C5F-956A-62F8-5692-EBD637F9CA14}"/>
          </ac:spMkLst>
        </pc:spChg>
      </pc:sldChg>
      <pc:sldChg chg="modSp mod">
        <pc:chgData name="John Paserba" userId="77bd6c8a-d0c1-4fea-8705-0169f65d0c0e" providerId="ADAL" clId="{569F64FD-FE64-4867-854E-D31ACBDD4BE5}" dt="2025-10-16T04:33:33.959" v="2552" actId="11"/>
        <pc:sldMkLst>
          <pc:docMk/>
          <pc:sldMk cId="2029220160" sldId="2147471878"/>
        </pc:sldMkLst>
        <pc:spChg chg="mod">
          <ac:chgData name="John Paserba" userId="77bd6c8a-d0c1-4fea-8705-0169f65d0c0e" providerId="ADAL" clId="{569F64FD-FE64-4867-854E-D31ACBDD4BE5}" dt="2025-10-16T04:33:33.959" v="2552" actId="11"/>
          <ac:spMkLst>
            <pc:docMk/>
            <pc:sldMk cId="2029220160" sldId="2147471878"/>
            <ac:spMk id="9" creationId="{33E1701B-7F94-6789-3C6A-A428042FCAA4}"/>
          </ac:spMkLst>
        </pc:spChg>
        <pc:spChg chg="mod">
          <ac:chgData name="John Paserba" userId="77bd6c8a-d0c1-4fea-8705-0169f65d0c0e" providerId="ADAL" clId="{569F64FD-FE64-4867-854E-D31ACBDD4BE5}" dt="2025-10-16T02:35:30.999" v="1100" actId="20577"/>
          <ac:spMkLst>
            <pc:docMk/>
            <pc:sldMk cId="2029220160" sldId="2147471878"/>
            <ac:spMk id="14" creationId="{BE873208-CFB3-EC14-CE1C-AA516F70F1F2}"/>
          </ac:spMkLst>
        </pc:spChg>
        <pc:spChg chg="mod">
          <ac:chgData name="John Paserba" userId="77bd6c8a-d0c1-4fea-8705-0169f65d0c0e" providerId="ADAL" clId="{569F64FD-FE64-4867-854E-D31ACBDD4BE5}" dt="2025-10-16T02:41:10.890" v="1303" actId="20577"/>
          <ac:spMkLst>
            <pc:docMk/>
            <pc:sldMk cId="2029220160" sldId="2147471878"/>
            <ac:spMk id="3328002" creationId="{00000000-0000-0000-0000-000000000000}"/>
          </ac:spMkLst>
        </pc:spChg>
      </pc:sldChg>
      <pc:sldChg chg="modSp mod">
        <pc:chgData name="John Paserba" userId="77bd6c8a-d0c1-4fea-8705-0169f65d0c0e" providerId="ADAL" clId="{569F64FD-FE64-4867-854E-D31ACBDD4BE5}" dt="2025-10-16T04:33:37.261" v="2553" actId="11"/>
        <pc:sldMkLst>
          <pc:docMk/>
          <pc:sldMk cId="1958876136" sldId="2147471879"/>
        </pc:sldMkLst>
        <pc:spChg chg="mod">
          <ac:chgData name="John Paserba" userId="77bd6c8a-d0c1-4fea-8705-0169f65d0c0e" providerId="ADAL" clId="{569F64FD-FE64-4867-854E-D31ACBDD4BE5}" dt="2025-10-16T04:33:37.261" v="2553" actId="11"/>
          <ac:spMkLst>
            <pc:docMk/>
            <pc:sldMk cId="1958876136" sldId="2147471879"/>
            <ac:spMk id="9" creationId="{82343B83-828C-8FAE-CD82-1D04A33738D3}"/>
          </ac:spMkLst>
        </pc:spChg>
        <pc:spChg chg="mod">
          <ac:chgData name="John Paserba" userId="77bd6c8a-d0c1-4fea-8705-0169f65d0c0e" providerId="ADAL" clId="{569F64FD-FE64-4867-854E-D31ACBDD4BE5}" dt="2025-10-16T02:41:15.623" v="1306" actId="20577"/>
          <ac:spMkLst>
            <pc:docMk/>
            <pc:sldMk cId="1958876136" sldId="2147471879"/>
            <ac:spMk id="3328002" creationId="{5E24D7C5-6186-B6CD-3F2C-DAB4DF55DB9B}"/>
          </ac:spMkLst>
        </pc:spChg>
      </pc:sldChg>
      <pc:sldChg chg="modSp mod">
        <pc:chgData name="John Paserba" userId="77bd6c8a-d0c1-4fea-8705-0169f65d0c0e" providerId="ADAL" clId="{569F64FD-FE64-4867-854E-D31ACBDD4BE5}" dt="2025-10-16T04:33:38.598" v="2554" actId="11"/>
        <pc:sldMkLst>
          <pc:docMk/>
          <pc:sldMk cId="2090766154" sldId="2147471880"/>
        </pc:sldMkLst>
        <pc:spChg chg="mod">
          <ac:chgData name="John Paserba" userId="77bd6c8a-d0c1-4fea-8705-0169f65d0c0e" providerId="ADAL" clId="{569F64FD-FE64-4867-854E-D31ACBDD4BE5}" dt="2025-10-16T04:33:38.598" v="2554" actId="11"/>
          <ac:spMkLst>
            <pc:docMk/>
            <pc:sldMk cId="2090766154" sldId="2147471880"/>
            <ac:spMk id="9" creationId="{33E1701B-7F94-6789-3C6A-A428042FCAA4}"/>
          </ac:spMkLst>
        </pc:spChg>
        <pc:spChg chg="mod">
          <ac:chgData name="John Paserba" userId="77bd6c8a-d0c1-4fea-8705-0169f65d0c0e" providerId="ADAL" clId="{569F64FD-FE64-4867-854E-D31ACBDD4BE5}" dt="2025-10-16T02:41:20.054" v="1309" actId="20577"/>
          <ac:spMkLst>
            <pc:docMk/>
            <pc:sldMk cId="2090766154" sldId="2147471880"/>
            <ac:spMk id="3328002" creationId="{00000000-0000-0000-0000-000000000000}"/>
          </ac:spMkLst>
        </pc:spChg>
      </pc:sldChg>
      <pc:sldChg chg="modSp mod">
        <pc:chgData name="John Paserba" userId="77bd6c8a-d0c1-4fea-8705-0169f65d0c0e" providerId="ADAL" clId="{569F64FD-FE64-4867-854E-D31ACBDD4BE5}" dt="2025-10-16T02:35:43.504" v="1108" actId="20577"/>
        <pc:sldMkLst>
          <pc:docMk/>
          <pc:sldMk cId="2817930747" sldId="2147471881"/>
        </pc:sldMkLst>
        <pc:spChg chg="mod">
          <ac:chgData name="John Paserba" userId="77bd6c8a-d0c1-4fea-8705-0169f65d0c0e" providerId="ADAL" clId="{569F64FD-FE64-4867-854E-D31ACBDD4BE5}" dt="2025-10-16T02:35:43.504" v="1108" actId="20577"/>
          <ac:spMkLst>
            <pc:docMk/>
            <pc:sldMk cId="2817930747" sldId="2147471881"/>
            <ac:spMk id="3328002" creationId="{00000000-0000-0000-0000-000000000000}"/>
          </ac:spMkLst>
        </pc:spChg>
      </pc:sldChg>
      <pc:sldChg chg="modSp mod">
        <pc:chgData name="John Paserba" userId="77bd6c8a-d0c1-4fea-8705-0169f65d0c0e" providerId="ADAL" clId="{569F64FD-FE64-4867-854E-D31ACBDD4BE5}" dt="2025-10-16T04:21:27.179" v="2424" actId="20577"/>
        <pc:sldMkLst>
          <pc:docMk/>
          <pc:sldMk cId="3695867305" sldId="2147471883"/>
        </pc:sldMkLst>
        <pc:spChg chg="mod">
          <ac:chgData name="John Paserba" userId="77bd6c8a-d0c1-4fea-8705-0169f65d0c0e" providerId="ADAL" clId="{569F64FD-FE64-4867-854E-D31ACBDD4BE5}" dt="2025-10-16T04:21:27.179" v="2424" actId="20577"/>
          <ac:spMkLst>
            <pc:docMk/>
            <pc:sldMk cId="3695867305" sldId="2147471883"/>
            <ac:spMk id="17" creationId="{1ED7C542-AA61-4681-B847-6D75398D0208}"/>
          </ac:spMkLst>
        </pc:spChg>
        <pc:graphicFrameChg chg="mod">
          <ac:chgData name="John Paserba" userId="77bd6c8a-d0c1-4fea-8705-0169f65d0c0e" providerId="ADAL" clId="{569F64FD-FE64-4867-854E-D31ACBDD4BE5}" dt="2025-10-16T02:09:41.066" v="187" actId="20577"/>
          <ac:graphicFrameMkLst>
            <pc:docMk/>
            <pc:sldMk cId="3695867305" sldId="2147471883"/>
            <ac:graphicFrameMk id="5" creationId="{00000000-0000-0000-0000-000000000000}"/>
          </ac:graphicFrameMkLst>
        </pc:graphicFrameChg>
      </pc:sldChg>
      <pc:sldChg chg="modSp mod">
        <pc:chgData name="John Paserba" userId="77bd6c8a-d0c1-4fea-8705-0169f65d0c0e" providerId="ADAL" clId="{569F64FD-FE64-4867-854E-D31ACBDD4BE5}" dt="2025-10-16T04:47:46.891" v="2684" actId="20577"/>
        <pc:sldMkLst>
          <pc:docMk/>
          <pc:sldMk cId="2578400383" sldId="2147471884"/>
        </pc:sldMkLst>
        <pc:spChg chg="mod">
          <ac:chgData name="John Paserba" userId="77bd6c8a-d0c1-4fea-8705-0169f65d0c0e" providerId="ADAL" clId="{569F64FD-FE64-4867-854E-D31ACBDD4BE5}" dt="2025-10-16T04:47:46.891" v="2684" actId="20577"/>
          <ac:spMkLst>
            <pc:docMk/>
            <pc:sldMk cId="2578400383" sldId="2147471884"/>
            <ac:spMk id="16" creationId="{759C4904-0FA0-4EBD-88DA-83F872C4DC37}"/>
          </ac:spMkLst>
        </pc:spChg>
        <pc:graphicFrameChg chg="mod">
          <ac:chgData name="John Paserba" userId="77bd6c8a-d0c1-4fea-8705-0169f65d0c0e" providerId="ADAL" clId="{569F64FD-FE64-4867-854E-D31ACBDD4BE5}" dt="2025-10-16T04:36:33.700" v="2583" actId="207"/>
          <ac:graphicFrameMkLst>
            <pc:docMk/>
            <pc:sldMk cId="2578400383" sldId="2147471884"/>
            <ac:graphicFrameMk id="5" creationId="{00000000-0000-0000-0000-000000000000}"/>
          </ac:graphicFrameMkLst>
        </pc:graphicFrameChg>
        <pc:graphicFrameChg chg="mod">
          <ac:chgData name="John Paserba" userId="77bd6c8a-d0c1-4fea-8705-0169f65d0c0e" providerId="ADAL" clId="{569F64FD-FE64-4867-854E-D31ACBDD4BE5}" dt="2025-10-16T04:36:36.441" v="2584" actId="207"/>
          <ac:graphicFrameMkLst>
            <pc:docMk/>
            <pc:sldMk cId="2578400383" sldId="2147471884"/>
            <ac:graphicFrameMk id="6" creationId="{00000000-0000-0000-0000-000000000000}"/>
          </ac:graphicFrameMkLst>
        </pc:graphicFrameChg>
      </pc:sldChg>
      <pc:sldChg chg="add">
        <pc:chgData name="John Paserba" userId="77bd6c8a-d0c1-4fea-8705-0169f65d0c0e" providerId="ADAL" clId="{569F64FD-FE64-4867-854E-D31ACBDD4BE5}" dt="2025-10-16T05:18:47.429" v="2785"/>
        <pc:sldMkLst>
          <pc:docMk/>
          <pc:sldMk cId="979036647" sldId="2147471885"/>
        </pc:sldMkLst>
      </pc:sldChg>
      <pc:sldChg chg="modSp del mod">
        <pc:chgData name="John Paserba" userId="77bd6c8a-d0c1-4fea-8705-0169f65d0c0e" providerId="ADAL" clId="{569F64FD-FE64-4867-854E-D31ACBDD4BE5}" dt="2025-10-16T05:18:36.194" v="2784" actId="2696"/>
        <pc:sldMkLst>
          <pc:docMk/>
          <pc:sldMk cId="1629667996" sldId="2147471885"/>
        </pc:sldMkLst>
        <pc:spChg chg="mod">
          <ac:chgData name="John Paserba" userId="77bd6c8a-d0c1-4fea-8705-0169f65d0c0e" providerId="ADAL" clId="{569F64FD-FE64-4867-854E-D31ACBDD4BE5}" dt="2025-10-16T05:04:35.166" v="2743" actId="20577"/>
          <ac:spMkLst>
            <pc:docMk/>
            <pc:sldMk cId="1629667996" sldId="2147471885"/>
            <ac:spMk id="2" creationId="{00000000-0000-0000-0000-000000000000}"/>
          </ac:spMkLst>
        </pc:spChg>
        <pc:spChg chg="mod">
          <ac:chgData name="John Paserba" userId="77bd6c8a-d0c1-4fea-8705-0169f65d0c0e" providerId="ADAL" clId="{569F64FD-FE64-4867-854E-D31ACBDD4BE5}" dt="2025-10-16T02:41:37.620" v="1333" actId="20577"/>
          <ac:spMkLst>
            <pc:docMk/>
            <pc:sldMk cId="1629667996" sldId="2147471885"/>
            <ac:spMk id="23" creationId="{A50ED7DC-BB8D-4DF5-B0DB-B4962591C9D4}"/>
          </ac:spMkLst>
        </pc:spChg>
        <pc:graphicFrameChg chg="mod">
          <ac:chgData name="John Paserba" userId="77bd6c8a-d0c1-4fea-8705-0169f65d0c0e" providerId="ADAL" clId="{569F64FD-FE64-4867-854E-D31ACBDD4BE5}" dt="2025-10-16T04:49:03.809" v="2695" actId="20577"/>
          <ac:graphicFrameMkLst>
            <pc:docMk/>
            <pc:sldMk cId="1629667996" sldId="2147471885"/>
            <ac:graphicFrameMk id="16" creationId="{A9B09697-6D04-4AED-B8DA-7964DF323193}"/>
          </ac:graphicFrameMkLst>
        </pc:graphicFrameChg>
        <pc:graphicFrameChg chg="mod">
          <ac:chgData name="John Paserba" userId="77bd6c8a-d0c1-4fea-8705-0169f65d0c0e" providerId="ADAL" clId="{569F64FD-FE64-4867-854E-D31ACBDD4BE5}" dt="2025-10-16T04:39:15.186" v="2621" actId="339"/>
          <ac:graphicFrameMkLst>
            <pc:docMk/>
            <pc:sldMk cId="1629667996" sldId="2147471885"/>
            <ac:graphicFrameMk id="17" creationId="{92E26C94-F162-4B18-8B6C-AF382DB389C3}"/>
          </ac:graphicFrameMkLst>
        </pc:graphicFrameChg>
      </pc:sldChg>
      <pc:sldChg chg="modSp mod">
        <pc:chgData name="John Paserba" userId="77bd6c8a-d0c1-4fea-8705-0169f65d0c0e" providerId="ADAL" clId="{569F64FD-FE64-4867-854E-D31ACBDD4BE5}" dt="2025-10-16T02:37:34.167" v="1180" actId="20577"/>
        <pc:sldMkLst>
          <pc:docMk/>
          <pc:sldMk cId="3296580655" sldId="2147471886"/>
        </pc:sldMkLst>
        <pc:spChg chg="mod">
          <ac:chgData name="John Paserba" userId="77bd6c8a-d0c1-4fea-8705-0169f65d0c0e" providerId="ADAL" clId="{569F64FD-FE64-4867-854E-D31ACBDD4BE5}" dt="2025-10-16T02:37:34.167" v="1180" actId="20577"/>
          <ac:spMkLst>
            <pc:docMk/>
            <pc:sldMk cId="3296580655" sldId="2147471886"/>
            <ac:spMk id="28" creationId="{A7F2B84C-531A-4A84-87EA-D1D6C5F74EC8}"/>
          </ac:spMkLst>
        </pc:spChg>
        <pc:graphicFrameChg chg="mod">
          <ac:chgData name="John Paserba" userId="77bd6c8a-d0c1-4fea-8705-0169f65d0c0e" providerId="ADAL" clId="{569F64FD-FE64-4867-854E-D31ACBDD4BE5}" dt="2025-10-16T02:09:11.652" v="161" actId="20577"/>
          <ac:graphicFrameMkLst>
            <pc:docMk/>
            <pc:sldMk cId="3296580655" sldId="2147471886"/>
            <ac:graphicFrameMk id="17" creationId="{56F1947A-A87B-47AE-A49D-C3183B9A0338}"/>
          </ac:graphicFrameMkLst>
        </pc:graphicFrameChg>
      </pc:sldChg>
      <pc:sldChg chg="addSp modSp mod">
        <pc:chgData name="John Paserba" userId="77bd6c8a-d0c1-4fea-8705-0169f65d0c0e" providerId="ADAL" clId="{569F64FD-FE64-4867-854E-D31ACBDD4BE5}" dt="2025-10-16T04:41:34.107" v="2644" actId="20577"/>
        <pc:sldMkLst>
          <pc:docMk/>
          <pc:sldMk cId="2791649867" sldId="2147471887"/>
        </pc:sldMkLst>
        <pc:spChg chg="mod">
          <ac:chgData name="John Paserba" userId="77bd6c8a-d0c1-4fea-8705-0169f65d0c0e" providerId="ADAL" clId="{569F64FD-FE64-4867-854E-D31ACBDD4BE5}" dt="2025-10-16T04:41:34.107" v="2644" actId="20577"/>
          <ac:spMkLst>
            <pc:docMk/>
            <pc:sldMk cId="2791649867" sldId="2147471887"/>
            <ac:spMk id="15" creationId="{9597AFFD-AF8F-46BB-8331-D7B7C48AEBCB}"/>
          </ac:spMkLst>
        </pc:spChg>
        <pc:spChg chg="mod">
          <ac:chgData name="John Paserba" userId="77bd6c8a-d0c1-4fea-8705-0169f65d0c0e" providerId="ADAL" clId="{569F64FD-FE64-4867-854E-D31ACBDD4BE5}" dt="2025-10-16T04:40:53.921" v="2629" actId="255"/>
          <ac:spMkLst>
            <pc:docMk/>
            <pc:sldMk cId="2791649867" sldId="2147471887"/>
            <ac:spMk id="19" creationId="{00000000-0000-0000-0000-000000000000}"/>
          </ac:spMkLst>
        </pc:spChg>
        <pc:picChg chg="add mod">
          <ac:chgData name="John Paserba" userId="77bd6c8a-d0c1-4fea-8705-0169f65d0c0e" providerId="ADAL" clId="{569F64FD-FE64-4867-854E-D31ACBDD4BE5}" dt="2025-10-16T04:40:46.498" v="2628"/>
          <ac:picMkLst>
            <pc:docMk/>
            <pc:sldMk cId="2791649867" sldId="2147471887"/>
            <ac:picMk id="10" creationId="{99DA9097-8E6E-4D97-A91D-80CBF10031F9}"/>
          </ac:picMkLst>
        </pc:picChg>
      </pc:sldChg>
      <pc:sldChg chg="addSp modSp mod">
        <pc:chgData name="John Paserba" userId="77bd6c8a-d0c1-4fea-8705-0169f65d0c0e" providerId="ADAL" clId="{569F64FD-FE64-4867-854E-D31ACBDD4BE5}" dt="2025-10-16T03:54:20.898" v="1987" actId="255"/>
        <pc:sldMkLst>
          <pc:docMk/>
          <pc:sldMk cId="1142811799" sldId="2147471888"/>
        </pc:sldMkLst>
        <pc:spChg chg="mod">
          <ac:chgData name="John Paserba" userId="77bd6c8a-d0c1-4fea-8705-0169f65d0c0e" providerId="ADAL" clId="{569F64FD-FE64-4867-854E-D31ACBDD4BE5}" dt="2025-10-16T03:54:20.898" v="1987" actId="255"/>
          <ac:spMkLst>
            <pc:docMk/>
            <pc:sldMk cId="1142811799" sldId="2147471888"/>
            <ac:spMk id="19" creationId="{00000000-0000-0000-0000-000000000000}"/>
          </ac:spMkLst>
        </pc:spChg>
        <pc:picChg chg="add mod">
          <ac:chgData name="John Paserba" userId="77bd6c8a-d0c1-4fea-8705-0169f65d0c0e" providerId="ADAL" clId="{569F64FD-FE64-4867-854E-D31ACBDD4BE5}" dt="2025-10-16T03:54:14.018" v="1986"/>
          <ac:picMkLst>
            <pc:docMk/>
            <pc:sldMk cId="1142811799" sldId="2147471888"/>
            <ac:picMk id="5" creationId="{A82C71E4-6F01-4E26-9104-826DBD7FF2B0}"/>
          </ac:picMkLst>
        </pc:picChg>
      </pc:sldChg>
      <pc:sldChg chg="modSp mod">
        <pc:chgData name="John Paserba" userId="77bd6c8a-d0c1-4fea-8705-0169f65d0c0e" providerId="ADAL" clId="{569F64FD-FE64-4867-854E-D31ACBDD4BE5}" dt="2025-10-16T05:22:19.778" v="2800" actId="20577"/>
        <pc:sldMkLst>
          <pc:docMk/>
          <pc:sldMk cId="309881359" sldId="2147471889"/>
        </pc:sldMkLst>
        <pc:spChg chg="mod">
          <ac:chgData name="John Paserba" userId="77bd6c8a-d0c1-4fea-8705-0169f65d0c0e" providerId="ADAL" clId="{569F64FD-FE64-4867-854E-D31ACBDD4BE5}" dt="2025-10-16T05:22:19.778" v="2800" actId="20577"/>
          <ac:spMkLst>
            <pc:docMk/>
            <pc:sldMk cId="309881359" sldId="2147471889"/>
            <ac:spMk id="3" creationId="{E6993746-A424-4F09-867F-B919F4E18ECB}"/>
          </ac:spMkLst>
        </pc:spChg>
      </pc:sldChg>
      <pc:sldChg chg="modSp mod">
        <pc:chgData name="John Paserba" userId="77bd6c8a-d0c1-4fea-8705-0169f65d0c0e" providerId="ADAL" clId="{569F64FD-FE64-4867-854E-D31ACBDD4BE5}" dt="2025-10-16T04:35:16.936" v="2563" actId="1076"/>
        <pc:sldMkLst>
          <pc:docMk/>
          <pc:sldMk cId="2597960199" sldId="2147471892"/>
        </pc:sldMkLst>
        <pc:spChg chg="mod">
          <ac:chgData name="John Paserba" userId="77bd6c8a-d0c1-4fea-8705-0169f65d0c0e" providerId="ADAL" clId="{569F64FD-FE64-4867-854E-D31ACBDD4BE5}" dt="2025-10-16T04:35:16.936" v="2563" actId="1076"/>
          <ac:spMkLst>
            <pc:docMk/>
            <pc:sldMk cId="2597960199" sldId="2147471892"/>
            <ac:spMk id="2" creationId="{B07B3721-1F55-4D8F-9F57-4CA101077307}"/>
          </ac:spMkLst>
        </pc:spChg>
        <pc:spChg chg="mod">
          <ac:chgData name="John Paserba" userId="77bd6c8a-d0c1-4fea-8705-0169f65d0c0e" providerId="ADAL" clId="{569F64FD-FE64-4867-854E-D31ACBDD4BE5}" dt="2025-10-16T04:35:02.279" v="2561" actId="255"/>
          <ac:spMkLst>
            <pc:docMk/>
            <pc:sldMk cId="2597960199" sldId="2147471892"/>
            <ac:spMk id="3" creationId="{D30A53C3-FA98-2C68-7926-30EE45974960}"/>
          </ac:spMkLst>
        </pc:spChg>
      </pc:sldChg>
      <pc:sldChg chg="modSp mod">
        <pc:chgData name="John Paserba" userId="77bd6c8a-d0c1-4fea-8705-0169f65d0c0e" providerId="ADAL" clId="{569F64FD-FE64-4867-854E-D31ACBDD4BE5}" dt="2025-10-16T03:10:41.350" v="1810" actId="207"/>
        <pc:sldMkLst>
          <pc:docMk/>
          <pc:sldMk cId="1560344356" sldId="2147471895"/>
        </pc:sldMkLst>
        <pc:spChg chg="mod">
          <ac:chgData name="John Paserba" userId="77bd6c8a-d0c1-4fea-8705-0169f65d0c0e" providerId="ADAL" clId="{569F64FD-FE64-4867-854E-D31ACBDD4BE5}" dt="2025-10-16T03:10:41.350" v="1810" actId="207"/>
          <ac:spMkLst>
            <pc:docMk/>
            <pc:sldMk cId="1560344356" sldId="2147471895"/>
            <ac:spMk id="13" creationId="{B6D29F8F-2A2D-4646-9AD1-832B28EDE402}"/>
          </ac:spMkLst>
        </pc:spChg>
      </pc:sldChg>
      <pc:sldChg chg="addSp modSp mod">
        <pc:chgData name="John Paserba" userId="77bd6c8a-d0c1-4fea-8705-0169f65d0c0e" providerId="ADAL" clId="{569F64FD-FE64-4867-854E-D31ACBDD4BE5}" dt="2025-10-16T03:11:15.802" v="1813" actId="692"/>
        <pc:sldMkLst>
          <pc:docMk/>
          <pc:sldMk cId="4241611111" sldId="2147471897"/>
        </pc:sldMkLst>
        <pc:spChg chg="add mod">
          <ac:chgData name="John Paserba" userId="77bd6c8a-d0c1-4fea-8705-0169f65d0c0e" providerId="ADAL" clId="{569F64FD-FE64-4867-854E-D31ACBDD4BE5}" dt="2025-10-16T03:11:15.802" v="1813" actId="692"/>
          <ac:spMkLst>
            <pc:docMk/>
            <pc:sldMk cId="4241611111" sldId="2147471897"/>
            <ac:spMk id="2" creationId="{832363AA-6EE6-400E-AC88-CBDCB644EB8F}"/>
          </ac:spMkLst>
        </pc:spChg>
      </pc:sldChg>
      <pc:sldChg chg="addSp modSp mod">
        <pc:chgData name="John Paserba" userId="77bd6c8a-d0c1-4fea-8705-0169f65d0c0e" providerId="ADAL" clId="{569F64FD-FE64-4867-854E-D31ACBDD4BE5}" dt="2025-10-16T03:12:07.639" v="1822" actId="1076"/>
        <pc:sldMkLst>
          <pc:docMk/>
          <pc:sldMk cId="82607383" sldId="2147471898"/>
        </pc:sldMkLst>
        <pc:spChg chg="add mod">
          <ac:chgData name="John Paserba" userId="77bd6c8a-d0c1-4fea-8705-0169f65d0c0e" providerId="ADAL" clId="{569F64FD-FE64-4867-854E-D31ACBDD4BE5}" dt="2025-10-16T03:12:07.639" v="1822" actId="1076"/>
          <ac:spMkLst>
            <pc:docMk/>
            <pc:sldMk cId="82607383" sldId="2147471898"/>
            <ac:spMk id="6" creationId="{E1393B52-F70F-4902-8374-F3241B1311C4}"/>
          </ac:spMkLst>
        </pc:spChg>
        <pc:picChg chg="mod ord">
          <ac:chgData name="John Paserba" userId="77bd6c8a-d0c1-4fea-8705-0169f65d0c0e" providerId="ADAL" clId="{569F64FD-FE64-4867-854E-D31ACBDD4BE5}" dt="2025-10-16T03:11:58.945" v="1820" actId="14100"/>
          <ac:picMkLst>
            <pc:docMk/>
            <pc:sldMk cId="82607383" sldId="2147471898"/>
            <ac:picMk id="3" creationId="{02B1AFB9-615A-47D2-A89A-3C5AF65C3D37}"/>
          </ac:picMkLst>
        </pc:picChg>
      </pc:sldChg>
      <pc:sldChg chg="modSp mod">
        <pc:chgData name="John Paserba" userId="77bd6c8a-d0c1-4fea-8705-0169f65d0c0e" providerId="ADAL" clId="{569F64FD-FE64-4867-854E-D31ACBDD4BE5}" dt="2025-10-16T03:13:24.401" v="1847" actId="14100"/>
        <pc:sldMkLst>
          <pc:docMk/>
          <pc:sldMk cId="358466133" sldId="2147471900"/>
        </pc:sldMkLst>
        <pc:graphicFrameChg chg="mod modGraphic">
          <ac:chgData name="John Paserba" userId="77bd6c8a-d0c1-4fea-8705-0169f65d0c0e" providerId="ADAL" clId="{569F64FD-FE64-4867-854E-D31ACBDD4BE5}" dt="2025-10-16T03:13:24.401" v="1847" actId="14100"/>
          <ac:graphicFrameMkLst>
            <pc:docMk/>
            <pc:sldMk cId="358466133" sldId="2147471900"/>
            <ac:graphicFrameMk id="2" creationId="{AE5EDA23-4A2F-4161-8031-FFEA84A6AEDF}"/>
          </ac:graphicFrameMkLst>
        </pc:graphicFrameChg>
      </pc:sldChg>
      <pc:sldChg chg="modSp mod">
        <pc:chgData name="John Paserba" userId="77bd6c8a-d0c1-4fea-8705-0169f65d0c0e" providerId="ADAL" clId="{569F64FD-FE64-4867-854E-D31ACBDD4BE5}" dt="2025-10-16T03:13:48.944" v="1852" actId="14100"/>
        <pc:sldMkLst>
          <pc:docMk/>
          <pc:sldMk cId="252891168" sldId="2147471901"/>
        </pc:sldMkLst>
        <pc:picChg chg="mod">
          <ac:chgData name="John Paserba" userId="77bd6c8a-d0c1-4fea-8705-0169f65d0c0e" providerId="ADAL" clId="{569F64FD-FE64-4867-854E-D31ACBDD4BE5}" dt="2025-10-16T03:13:48.944" v="1852" actId="14100"/>
          <ac:picMkLst>
            <pc:docMk/>
            <pc:sldMk cId="252891168" sldId="2147471901"/>
            <ac:picMk id="8" creationId="{3A894713-C187-42BA-920F-89D28295BE4D}"/>
          </ac:picMkLst>
        </pc:picChg>
      </pc:sldChg>
      <pc:sldChg chg="modSp mod">
        <pc:chgData name="John Paserba" userId="77bd6c8a-d0c1-4fea-8705-0169f65d0c0e" providerId="ADAL" clId="{569F64FD-FE64-4867-854E-D31ACBDD4BE5}" dt="2025-10-16T03:13:55.534" v="1854" actId="14100"/>
        <pc:sldMkLst>
          <pc:docMk/>
          <pc:sldMk cId="2743069527" sldId="2147471902"/>
        </pc:sldMkLst>
        <pc:picChg chg="mod">
          <ac:chgData name="John Paserba" userId="77bd6c8a-d0c1-4fea-8705-0169f65d0c0e" providerId="ADAL" clId="{569F64FD-FE64-4867-854E-D31ACBDD4BE5}" dt="2025-10-16T03:13:55.534" v="1854" actId="14100"/>
          <ac:picMkLst>
            <pc:docMk/>
            <pc:sldMk cId="2743069527" sldId="2147471902"/>
            <ac:picMk id="3" creationId="{2A7DBD0B-D4EE-479F-9755-361A7C466A0D}"/>
          </ac:picMkLst>
        </pc:picChg>
      </pc:sldChg>
      <pc:sldChg chg="modSp mod">
        <pc:chgData name="John Paserba" userId="77bd6c8a-d0c1-4fea-8705-0169f65d0c0e" providerId="ADAL" clId="{569F64FD-FE64-4867-854E-D31ACBDD4BE5}" dt="2025-10-16T03:14:09.385" v="1858" actId="1076"/>
        <pc:sldMkLst>
          <pc:docMk/>
          <pc:sldMk cId="3497950315" sldId="2147471903"/>
        </pc:sldMkLst>
        <pc:picChg chg="mod">
          <ac:chgData name="John Paserba" userId="77bd6c8a-d0c1-4fea-8705-0169f65d0c0e" providerId="ADAL" clId="{569F64FD-FE64-4867-854E-D31ACBDD4BE5}" dt="2025-10-16T03:14:09.385" v="1858" actId="1076"/>
          <ac:picMkLst>
            <pc:docMk/>
            <pc:sldMk cId="3497950315" sldId="2147471903"/>
            <ac:picMk id="6" creationId="{F7A18874-BA94-4F6B-A3C1-1A7307B27828}"/>
          </ac:picMkLst>
        </pc:picChg>
      </pc:sldChg>
      <pc:sldChg chg="modSp mod">
        <pc:chgData name="John Paserba" userId="77bd6c8a-d0c1-4fea-8705-0169f65d0c0e" providerId="ADAL" clId="{569F64FD-FE64-4867-854E-D31ACBDD4BE5}" dt="2025-10-16T03:14:32.636" v="1870" actId="1076"/>
        <pc:sldMkLst>
          <pc:docMk/>
          <pc:sldMk cId="4071523654" sldId="2147471904"/>
        </pc:sldMkLst>
        <pc:picChg chg="mod">
          <ac:chgData name="John Paserba" userId="77bd6c8a-d0c1-4fea-8705-0169f65d0c0e" providerId="ADAL" clId="{569F64FD-FE64-4867-854E-D31ACBDD4BE5}" dt="2025-10-16T03:14:32.636" v="1870" actId="1076"/>
          <ac:picMkLst>
            <pc:docMk/>
            <pc:sldMk cId="4071523654" sldId="2147471904"/>
            <ac:picMk id="12" creationId="{7AC8C9D9-13EF-430C-9B58-9D5027E7C3F8}"/>
          </ac:picMkLst>
        </pc:picChg>
      </pc:sldChg>
      <pc:sldChg chg="modSp mod">
        <pc:chgData name="John Paserba" userId="77bd6c8a-d0c1-4fea-8705-0169f65d0c0e" providerId="ADAL" clId="{569F64FD-FE64-4867-854E-D31ACBDD4BE5}" dt="2025-10-16T03:14:54.705" v="1875" actId="207"/>
        <pc:sldMkLst>
          <pc:docMk/>
          <pc:sldMk cId="2751759747" sldId="2147471905"/>
        </pc:sldMkLst>
        <pc:spChg chg="mod">
          <ac:chgData name="John Paserba" userId="77bd6c8a-d0c1-4fea-8705-0169f65d0c0e" providerId="ADAL" clId="{569F64FD-FE64-4867-854E-D31ACBDD4BE5}" dt="2025-10-16T03:14:54.705" v="1875" actId="207"/>
          <ac:spMkLst>
            <pc:docMk/>
            <pc:sldMk cId="2751759747" sldId="2147471905"/>
            <ac:spMk id="8" creationId="{7CEFAEA8-4B7B-42D1-B1C5-741E9A980190}"/>
          </ac:spMkLst>
        </pc:spChg>
      </pc:sldChg>
      <pc:sldChg chg="delSp modSp mod">
        <pc:chgData name="John Paserba" userId="77bd6c8a-d0c1-4fea-8705-0169f65d0c0e" providerId="ADAL" clId="{569F64FD-FE64-4867-854E-D31ACBDD4BE5}" dt="2025-10-16T03:46:16.106" v="1919" actId="20577"/>
        <pc:sldMkLst>
          <pc:docMk/>
          <pc:sldMk cId="3550776017" sldId="2147471906"/>
        </pc:sldMkLst>
        <pc:spChg chg="mod">
          <ac:chgData name="John Paserba" userId="77bd6c8a-d0c1-4fea-8705-0169f65d0c0e" providerId="ADAL" clId="{569F64FD-FE64-4867-854E-D31ACBDD4BE5}" dt="2025-10-16T03:46:16.106" v="1919" actId="20577"/>
          <ac:spMkLst>
            <pc:docMk/>
            <pc:sldMk cId="3550776017" sldId="2147471906"/>
            <ac:spMk id="2" creationId="{24EFA49A-D6F0-94EB-2E4A-46AC510574DD}"/>
          </ac:spMkLst>
        </pc:spChg>
        <pc:spChg chg="del mod">
          <ac:chgData name="John Paserba" userId="77bd6c8a-d0c1-4fea-8705-0169f65d0c0e" providerId="ADAL" clId="{569F64FD-FE64-4867-854E-D31ACBDD4BE5}" dt="2025-10-16T03:45:22.486" v="1889" actId="478"/>
          <ac:spMkLst>
            <pc:docMk/>
            <pc:sldMk cId="3550776017" sldId="2147471906"/>
            <ac:spMk id="9" creationId="{CF0BE9A5-2C29-48D0-8726-68BD8C807A2F}"/>
          </ac:spMkLst>
        </pc:spChg>
        <pc:spChg chg="del mod">
          <ac:chgData name="John Paserba" userId="77bd6c8a-d0c1-4fea-8705-0169f65d0c0e" providerId="ADAL" clId="{569F64FD-FE64-4867-854E-D31ACBDD4BE5}" dt="2025-10-16T03:45:23.943" v="1890" actId="478"/>
          <ac:spMkLst>
            <pc:docMk/>
            <pc:sldMk cId="3550776017" sldId="2147471906"/>
            <ac:spMk id="10" creationId="{ABF4CBAA-2DA5-48F7-9E5F-AFC5FC4A0EF9}"/>
          </ac:spMkLst>
        </pc:spChg>
        <pc:spChg chg="del">
          <ac:chgData name="John Paserba" userId="77bd6c8a-d0c1-4fea-8705-0169f65d0c0e" providerId="ADAL" clId="{569F64FD-FE64-4867-854E-D31ACBDD4BE5}" dt="2025-10-16T03:45:25.960" v="1892" actId="478"/>
          <ac:spMkLst>
            <pc:docMk/>
            <pc:sldMk cId="3550776017" sldId="2147471906"/>
            <ac:spMk id="11" creationId="{30442B94-AB85-4999-9407-FDFFEA7F7EDB}"/>
          </ac:spMkLst>
        </pc:spChg>
        <pc:picChg chg="del">
          <ac:chgData name="John Paserba" userId="77bd6c8a-d0c1-4fea-8705-0169f65d0c0e" providerId="ADAL" clId="{569F64FD-FE64-4867-854E-D31ACBDD4BE5}" dt="2025-10-16T03:45:24.482" v="1891" actId="478"/>
          <ac:picMkLst>
            <pc:docMk/>
            <pc:sldMk cId="3550776017" sldId="2147471906"/>
            <ac:picMk id="4" creationId="{D87A4A7B-4F1B-4DF8-B666-EA1175A3C09C}"/>
          </ac:picMkLst>
        </pc:picChg>
        <pc:picChg chg="del">
          <ac:chgData name="John Paserba" userId="77bd6c8a-d0c1-4fea-8705-0169f65d0c0e" providerId="ADAL" clId="{569F64FD-FE64-4867-854E-D31ACBDD4BE5}" dt="2025-10-16T03:45:17.696" v="1886" actId="478"/>
          <ac:picMkLst>
            <pc:docMk/>
            <pc:sldMk cId="3550776017" sldId="2147471906"/>
            <ac:picMk id="8" creationId="{E414D870-CD6F-4310-A34D-7926D83D3DDE}"/>
          </ac:picMkLst>
        </pc:picChg>
      </pc:sldChg>
      <pc:sldChg chg="modSp mod">
        <pc:chgData name="John Paserba" userId="77bd6c8a-d0c1-4fea-8705-0169f65d0c0e" providerId="ADAL" clId="{569F64FD-FE64-4867-854E-D31ACBDD4BE5}" dt="2025-10-16T03:47:09.026" v="1953" actId="20577"/>
        <pc:sldMkLst>
          <pc:docMk/>
          <pc:sldMk cId="3386599358" sldId="2147471907"/>
        </pc:sldMkLst>
        <pc:spChg chg="mod">
          <ac:chgData name="John Paserba" userId="77bd6c8a-d0c1-4fea-8705-0169f65d0c0e" providerId="ADAL" clId="{569F64FD-FE64-4867-854E-D31ACBDD4BE5}" dt="2025-10-16T03:47:09.026" v="1953" actId="20577"/>
          <ac:spMkLst>
            <pc:docMk/>
            <pc:sldMk cId="3386599358" sldId="2147471907"/>
            <ac:spMk id="2" creationId="{24EFA49A-D6F0-94EB-2E4A-46AC510574DD}"/>
          </ac:spMkLst>
        </pc:spChg>
      </pc:sldChg>
      <pc:sldChg chg="modSp mod">
        <pc:chgData name="John Paserba" userId="77bd6c8a-d0c1-4fea-8705-0169f65d0c0e" providerId="ADAL" clId="{569F64FD-FE64-4867-854E-D31ACBDD4BE5}" dt="2025-10-16T04:57:50.743" v="2721" actId="20577"/>
        <pc:sldMkLst>
          <pc:docMk/>
          <pc:sldMk cId="1842549074" sldId="2147471908"/>
        </pc:sldMkLst>
        <pc:spChg chg="mod">
          <ac:chgData name="John Paserba" userId="77bd6c8a-d0c1-4fea-8705-0169f65d0c0e" providerId="ADAL" clId="{569F64FD-FE64-4867-854E-D31ACBDD4BE5}" dt="2025-10-16T04:57:50.743" v="2721" actId="20577"/>
          <ac:spMkLst>
            <pc:docMk/>
            <pc:sldMk cId="1842549074" sldId="2147471908"/>
            <ac:spMk id="19" creationId="{1F4C4F59-D38A-4C6C-9E8C-E788A3207FAE}"/>
          </ac:spMkLst>
        </pc:spChg>
        <pc:spChg chg="mod">
          <ac:chgData name="John Paserba" userId="77bd6c8a-d0c1-4fea-8705-0169f65d0c0e" providerId="ADAL" clId="{569F64FD-FE64-4867-854E-D31ACBDD4BE5}" dt="2025-10-16T04:02:51.457" v="2018" actId="3064"/>
          <ac:spMkLst>
            <pc:docMk/>
            <pc:sldMk cId="1842549074" sldId="2147471908"/>
            <ac:spMk id="3328002" creationId="{00000000-0000-0000-0000-000000000000}"/>
          </ac:spMkLst>
        </pc:spChg>
        <pc:picChg chg="mod">
          <ac:chgData name="John Paserba" userId="77bd6c8a-d0c1-4fea-8705-0169f65d0c0e" providerId="ADAL" clId="{569F64FD-FE64-4867-854E-D31ACBDD4BE5}" dt="2025-10-16T04:03:34.238" v="2045" actId="1036"/>
          <ac:picMkLst>
            <pc:docMk/>
            <pc:sldMk cId="1842549074" sldId="2147471908"/>
            <ac:picMk id="18" creationId="{CEE68D67-7415-4D31-839C-A76DEF1F575C}"/>
          </ac:picMkLst>
        </pc:picChg>
      </pc:sldChg>
      <pc:sldChg chg="add">
        <pc:chgData name="John Paserba" userId="77bd6c8a-d0c1-4fea-8705-0169f65d0c0e" providerId="ADAL" clId="{569F64FD-FE64-4867-854E-D31ACBDD4BE5}" dt="2025-10-16T05:18:47.429" v="2785"/>
        <pc:sldMkLst>
          <pc:docMk/>
          <pc:sldMk cId="2765354551" sldId="2147471909"/>
        </pc:sldMkLst>
      </pc:sldChg>
      <pc:sldChg chg="modSp add del mod">
        <pc:chgData name="John Paserba" userId="77bd6c8a-d0c1-4fea-8705-0169f65d0c0e" providerId="ADAL" clId="{569F64FD-FE64-4867-854E-D31ACBDD4BE5}" dt="2025-10-16T05:18:36.194" v="2784" actId="2696"/>
        <pc:sldMkLst>
          <pc:docMk/>
          <pc:sldMk cId="3557610223" sldId="2147471909"/>
        </pc:sldMkLst>
        <pc:spChg chg="mod">
          <ac:chgData name="John Paserba" userId="77bd6c8a-d0c1-4fea-8705-0169f65d0c0e" providerId="ADAL" clId="{569F64FD-FE64-4867-854E-D31ACBDD4BE5}" dt="2025-10-16T05:05:23.345" v="2769" actId="20577"/>
          <ac:spMkLst>
            <pc:docMk/>
            <pc:sldMk cId="3557610223" sldId="2147471909"/>
            <ac:spMk id="2" creationId="{6D8A165E-458A-41C5-8EC0-ED887338CD4B}"/>
          </ac:spMkLst>
        </pc:spChg>
      </pc:sldChg>
      <pc:sldChg chg="modSp add del mod">
        <pc:chgData name="John Paserba" userId="77bd6c8a-d0c1-4fea-8705-0169f65d0c0e" providerId="ADAL" clId="{569F64FD-FE64-4867-854E-D31ACBDD4BE5}" dt="2025-10-16T05:19:01.754" v="2786" actId="2696"/>
        <pc:sldMkLst>
          <pc:docMk/>
          <pc:sldMk cId="1394667375" sldId="2147471910"/>
        </pc:sldMkLst>
        <pc:spChg chg="mod">
          <ac:chgData name="John Paserba" userId="77bd6c8a-d0c1-4fea-8705-0169f65d0c0e" providerId="ADAL" clId="{569F64FD-FE64-4867-854E-D31ACBDD4BE5}" dt="2025-10-16T04:45:09.298" v="2662" actId="20577"/>
          <ac:spMkLst>
            <pc:docMk/>
            <pc:sldMk cId="1394667375" sldId="2147471910"/>
            <ac:spMk id="3" creationId="{E6993746-A424-4F09-867F-B919F4E18ECB}"/>
          </ac:spMkLst>
        </pc:spChg>
      </pc:sldChg>
      <pc:sldChg chg="add">
        <pc:chgData name="John Paserba" userId="77bd6c8a-d0c1-4fea-8705-0169f65d0c0e" providerId="ADAL" clId="{569F64FD-FE64-4867-854E-D31ACBDD4BE5}" dt="2025-10-16T05:19:09.690" v="2787"/>
        <pc:sldMkLst>
          <pc:docMk/>
          <pc:sldMk cId="1978089359" sldId="2147471910"/>
        </pc:sldMkLst>
      </pc:sldChg>
      <pc:sldChg chg="modSp mod">
        <pc:chgData name="John Paserba" userId="77bd6c8a-d0c1-4fea-8705-0169f65d0c0e" providerId="ADAL" clId="{569F64FD-FE64-4867-854E-D31ACBDD4BE5}" dt="2025-10-16T05:20:01.766" v="2790" actId="20577"/>
        <pc:sldMkLst>
          <pc:docMk/>
          <pc:sldMk cId="311581154" sldId="2147471911"/>
        </pc:sldMkLst>
        <pc:spChg chg="mod">
          <ac:chgData name="John Paserba" userId="77bd6c8a-d0c1-4fea-8705-0169f65d0c0e" providerId="ADAL" clId="{569F64FD-FE64-4867-854E-D31ACBDD4BE5}" dt="2025-10-16T05:20:01.766" v="2790" actId="20577"/>
          <ac:spMkLst>
            <pc:docMk/>
            <pc:sldMk cId="311581154" sldId="2147471911"/>
            <ac:spMk id="12" creationId="{F45E667D-D9ED-4BE1-999E-2A4766484A8F}"/>
          </ac:spMkLst>
        </pc:spChg>
      </pc:sldChg>
      <pc:sldMasterChg chg="del delSldLayout">
        <pc:chgData name="John Paserba" userId="77bd6c8a-d0c1-4fea-8705-0169f65d0c0e" providerId="ADAL" clId="{569F64FD-FE64-4867-854E-D31ACBDD4BE5}" dt="2025-10-16T05:19:01.754" v="2786" actId="2696"/>
        <pc:sldMasterMkLst>
          <pc:docMk/>
          <pc:sldMasterMk cId="3066378110" sldId="2147483921"/>
        </pc:sldMasterMkLst>
        <pc:sldLayoutChg chg="del">
          <pc:chgData name="John Paserba" userId="77bd6c8a-d0c1-4fea-8705-0169f65d0c0e" providerId="ADAL" clId="{569F64FD-FE64-4867-854E-D31ACBDD4BE5}" dt="2025-10-16T05:19:01.754" v="2786" actId="2696"/>
          <pc:sldLayoutMkLst>
            <pc:docMk/>
            <pc:sldMasterMk cId="3066378110" sldId="2147483921"/>
            <pc:sldLayoutMk cId="1448266869" sldId="2147483922"/>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3766942403" sldId="2147483923"/>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2278949436" sldId="2147483924"/>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3757038515" sldId="2147483925"/>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2064993713" sldId="2147483926"/>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3407611854" sldId="2147483927"/>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3351224841" sldId="2147483928"/>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2824664736" sldId="2147483929"/>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2277975265" sldId="2147483930"/>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579728826" sldId="2147483931"/>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2483398899" sldId="2147483932"/>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552791772" sldId="2147483933"/>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2030070621" sldId="2147483934"/>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2754939745" sldId="2147483935"/>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3578094663" sldId="2147483936"/>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2214688767" sldId="2147483937"/>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1008113327" sldId="2147483938"/>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1665964961" sldId="2147483939"/>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3885250347" sldId="2147483940"/>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994882198" sldId="2147483941"/>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1488619703" sldId="2147483942"/>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79381639" sldId="2147483943"/>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1608658560" sldId="2147483944"/>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2335335619" sldId="2147483945"/>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2766771772" sldId="2147483946"/>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3994390504" sldId="2147483947"/>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337944786" sldId="2147483948"/>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1437431241" sldId="2147483949"/>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3104551976" sldId="2147483950"/>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569768810" sldId="2147483951"/>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1115595519" sldId="2147483952"/>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752679289" sldId="2147483953"/>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3351587336" sldId="2147483954"/>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3635534903" sldId="2147483955"/>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1862316408" sldId="2147483956"/>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1491104460" sldId="2147483957"/>
          </pc:sldLayoutMkLst>
        </pc:sldLayoutChg>
        <pc:sldLayoutChg chg="del">
          <pc:chgData name="John Paserba" userId="77bd6c8a-d0c1-4fea-8705-0169f65d0c0e" providerId="ADAL" clId="{569F64FD-FE64-4867-854E-D31ACBDD4BE5}" dt="2025-10-16T05:19:01.754" v="2786" actId="2696"/>
          <pc:sldLayoutMkLst>
            <pc:docMk/>
            <pc:sldMasterMk cId="3066378110" sldId="2147483921"/>
            <pc:sldLayoutMk cId="1589396936" sldId="2147483958"/>
          </pc:sldLayoutMkLst>
        </pc:sldLayoutChg>
      </pc:sldMasterChg>
    </pc:docChg>
  </pc:docChgLst>
  <pc:docChgLst>
    <pc:chgData name="John Paserba" userId="77bd6c8a-d0c1-4fea-8705-0169f65d0c0e" providerId="ADAL" clId="{D8D8FA6A-55CF-4107-B041-515EA4BE0821}"/>
    <pc:docChg chg="undo redo custSel addSld delSld modSld sldOrd">
      <pc:chgData name="John Paserba" userId="77bd6c8a-d0c1-4fea-8705-0169f65d0c0e" providerId="ADAL" clId="{D8D8FA6A-55CF-4107-B041-515EA4BE0821}" dt="2025-10-14T21:06:00.730" v="1336" actId="1076"/>
      <pc:docMkLst>
        <pc:docMk/>
      </pc:docMkLst>
      <pc:sldChg chg="modSp">
        <pc:chgData name="John Paserba" userId="77bd6c8a-d0c1-4fea-8705-0169f65d0c0e" providerId="ADAL" clId="{D8D8FA6A-55CF-4107-B041-515EA4BE0821}" dt="2025-10-14T20:47:52.611" v="1239"/>
        <pc:sldMkLst>
          <pc:docMk/>
          <pc:sldMk cId="2989192699" sldId="2147471182"/>
        </pc:sldMkLst>
        <pc:spChg chg="mod">
          <ac:chgData name="John Paserba" userId="77bd6c8a-d0c1-4fea-8705-0169f65d0c0e" providerId="ADAL" clId="{D8D8FA6A-55CF-4107-B041-515EA4BE0821}" dt="2025-10-14T20:47:52.611" v="1239"/>
          <ac:spMkLst>
            <pc:docMk/>
            <pc:sldMk cId="2989192699" sldId="2147471182"/>
            <ac:spMk id="2" creationId="{E023DA16-09A1-34B1-8C00-F948BA5C7203}"/>
          </ac:spMkLst>
        </pc:spChg>
      </pc:sldChg>
      <pc:sldChg chg="modSp">
        <pc:chgData name="John Paserba" userId="77bd6c8a-d0c1-4fea-8705-0169f65d0c0e" providerId="ADAL" clId="{D8D8FA6A-55CF-4107-B041-515EA4BE0821}" dt="2025-10-14T20:47:59.782" v="1240"/>
        <pc:sldMkLst>
          <pc:docMk/>
          <pc:sldMk cId="720949376" sldId="2147471183"/>
        </pc:sldMkLst>
        <pc:spChg chg="mod">
          <ac:chgData name="John Paserba" userId="77bd6c8a-d0c1-4fea-8705-0169f65d0c0e" providerId="ADAL" clId="{D8D8FA6A-55CF-4107-B041-515EA4BE0821}" dt="2025-10-14T20:47:59.782" v="1240"/>
          <ac:spMkLst>
            <pc:docMk/>
            <pc:sldMk cId="720949376" sldId="2147471183"/>
            <ac:spMk id="2" creationId="{E023DA16-09A1-34B1-8C00-F948BA5C7203}"/>
          </ac:spMkLst>
        </pc:spChg>
      </pc:sldChg>
      <pc:sldChg chg="modSp">
        <pc:chgData name="John Paserba" userId="77bd6c8a-d0c1-4fea-8705-0169f65d0c0e" providerId="ADAL" clId="{D8D8FA6A-55CF-4107-B041-515EA4BE0821}" dt="2025-10-14T20:48:06.701" v="1242"/>
        <pc:sldMkLst>
          <pc:docMk/>
          <pc:sldMk cId="586829096" sldId="2147471185"/>
        </pc:sldMkLst>
        <pc:spChg chg="mod">
          <ac:chgData name="John Paserba" userId="77bd6c8a-d0c1-4fea-8705-0169f65d0c0e" providerId="ADAL" clId="{D8D8FA6A-55CF-4107-B041-515EA4BE0821}" dt="2025-10-14T20:48:06.701" v="1242"/>
          <ac:spMkLst>
            <pc:docMk/>
            <pc:sldMk cId="586829096" sldId="2147471185"/>
            <ac:spMk id="2" creationId="{00000000-0000-0000-0000-000000000000}"/>
          </ac:spMkLst>
        </pc:spChg>
      </pc:sldChg>
      <pc:sldChg chg="modSp mod">
        <pc:chgData name="John Paserba" userId="77bd6c8a-d0c1-4fea-8705-0169f65d0c0e" providerId="ADAL" clId="{D8D8FA6A-55CF-4107-B041-515EA4BE0821}" dt="2025-10-14T20:55:39.193" v="1305" actId="113"/>
        <pc:sldMkLst>
          <pc:docMk/>
          <pc:sldMk cId="3988688197" sldId="2147471187"/>
        </pc:sldMkLst>
        <pc:spChg chg="mod">
          <ac:chgData name="John Paserba" userId="77bd6c8a-d0c1-4fea-8705-0169f65d0c0e" providerId="ADAL" clId="{D8D8FA6A-55CF-4107-B041-515EA4BE0821}" dt="2025-10-14T20:55:39.193" v="1305" actId="113"/>
          <ac:spMkLst>
            <pc:docMk/>
            <pc:sldMk cId="3988688197" sldId="2147471187"/>
            <ac:spMk id="5" creationId="{6F20F5EE-239B-245C-C76E-33E3340BDF30}"/>
          </ac:spMkLst>
        </pc:spChg>
        <pc:spChg chg="mod">
          <ac:chgData name="John Paserba" userId="77bd6c8a-d0c1-4fea-8705-0169f65d0c0e" providerId="ADAL" clId="{D8D8FA6A-55CF-4107-B041-515EA4BE0821}" dt="2025-10-14T20:48:32.147" v="1249"/>
          <ac:spMkLst>
            <pc:docMk/>
            <pc:sldMk cId="3988688197" sldId="2147471187"/>
            <ac:spMk id="3328002" creationId="{00000000-0000-0000-0000-000000000000}"/>
          </ac:spMkLst>
        </pc:spChg>
      </pc:sldChg>
      <pc:sldChg chg="modSp mod">
        <pc:chgData name="John Paserba" userId="77bd6c8a-d0c1-4fea-8705-0169f65d0c0e" providerId="ADAL" clId="{D8D8FA6A-55CF-4107-B041-515EA4BE0821}" dt="2025-10-14T20:55:33.912" v="1304" actId="113"/>
        <pc:sldMkLst>
          <pc:docMk/>
          <pc:sldMk cId="226625141" sldId="2147471194"/>
        </pc:sldMkLst>
        <pc:spChg chg="mod">
          <ac:chgData name="John Paserba" userId="77bd6c8a-d0c1-4fea-8705-0169f65d0c0e" providerId="ADAL" clId="{D8D8FA6A-55CF-4107-B041-515EA4BE0821}" dt="2025-10-14T20:55:33.912" v="1304" actId="113"/>
          <ac:spMkLst>
            <pc:docMk/>
            <pc:sldMk cId="226625141" sldId="2147471194"/>
            <ac:spMk id="3" creationId="{E6993746-A424-4F09-867F-B919F4E18ECB}"/>
          </ac:spMkLst>
        </pc:spChg>
        <pc:spChg chg="mod">
          <ac:chgData name="John Paserba" userId="77bd6c8a-d0c1-4fea-8705-0169f65d0c0e" providerId="ADAL" clId="{D8D8FA6A-55CF-4107-B041-515EA4BE0821}" dt="2025-10-14T20:48:45.647" v="1250"/>
          <ac:spMkLst>
            <pc:docMk/>
            <pc:sldMk cId="226625141" sldId="2147471194"/>
            <ac:spMk id="3328002" creationId="{00000000-0000-0000-0000-000000000000}"/>
          </ac:spMkLst>
        </pc:spChg>
      </pc:sldChg>
      <pc:sldChg chg="modSp mod">
        <pc:chgData name="John Paserba" userId="77bd6c8a-d0c1-4fea-8705-0169f65d0c0e" providerId="ADAL" clId="{D8D8FA6A-55CF-4107-B041-515EA4BE0821}" dt="2025-10-14T20:48:26.601" v="1248" actId="2711"/>
        <pc:sldMkLst>
          <pc:docMk/>
          <pc:sldMk cId="162267870" sldId="2147471195"/>
        </pc:sldMkLst>
        <pc:spChg chg="mod">
          <ac:chgData name="John Paserba" userId="77bd6c8a-d0c1-4fea-8705-0169f65d0c0e" providerId="ADAL" clId="{D8D8FA6A-55CF-4107-B041-515EA4BE0821}" dt="2025-10-14T20:48:10.824" v="1243"/>
          <ac:spMkLst>
            <pc:docMk/>
            <pc:sldMk cId="162267870" sldId="2147471195"/>
            <ac:spMk id="2" creationId="{00000000-0000-0000-0000-000000000000}"/>
          </ac:spMkLst>
        </pc:spChg>
        <pc:graphicFrameChg chg="modGraphic">
          <ac:chgData name="John Paserba" userId="77bd6c8a-d0c1-4fea-8705-0169f65d0c0e" providerId="ADAL" clId="{D8D8FA6A-55CF-4107-B041-515EA4BE0821}" dt="2025-10-14T20:48:26.601" v="1248" actId="2711"/>
          <ac:graphicFrameMkLst>
            <pc:docMk/>
            <pc:sldMk cId="162267870" sldId="2147471195"/>
            <ac:graphicFrameMk id="6" creationId="{3ACFDDCC-F49E-45D0-B6B4-BCB6B94E8405}"/>
          </ac:graphicFrameMkLst>
        </pc:graphicFrameChg>
      </pc:sldChg>
      <pc:sldChg chg="modSp mod">
        <pc:chgData name="John Paserba" userId="77bd6c8a-d0c1-4fea-8705-0169f65d0c0e" providerId="ADAL" clId="{D8D8FA6A-55CF-4107-B041-515EA4BE0821}" dt="2025-10-14T20:53:29.496" v="1287" actId="12"/>
        <pc:sldMkLst>
          <pc:docMk/>
          <pc:sldMk cId="107756887" sldId="2147471201"/>
        </pc:sldMkLst>
        <pc:spChg chg="mod">
          <ac:chgData name="John Paserba" userId="77bd6c8a-d0c1-4fea-8705-0169f65d0c0e" providerId="ADAL" clId="{D8D8FA6A-55CF-4107-B041-515EA4BE0821}" dt="2025-10-14T20:48:03.364" v="1241"/>
          <ac:spMkLst>
            <pc:docMk/>
            <pc:sldMk cId="107756887" sldId="2147471201"/>
            <ac:spMk id="2" creationId="{391CC949-76C8-2774-251C-8B51B7F6EB22}"/>
          </ac:spMkLst>
        </pc:spChg>
        <pc:spChg chg="mod">
          <ac:chgData name="John Paserba" userId="77bd6c8a-d0c1-4fea-8705-0169f65d0c0e" providerId="ADAL" clId="{D8D8FA6A-55CF-4107-B041-515EA4BE0821}" dt="2025-10-14T20:53:29.496" v="1287" actId="12"/>
          <ac:spMkLst>
            <pc:docMk/>
            <pc:sldMk cId="107756887" sldId="2147471201"/>
            <ac:spMk id="3" creationId="{C7E63D57-1DFE-34B1-3170-34F96412855C}"/>
          </ac:spMkLst>
        </pc:spChg>
      </pc:sldChg>
      <pc:sldChg chg="modSp mod">
        <pc:chgData name="John Paserba" userId="77bd6c8a-d0c1-4fea-8705-0169f65d0c0e" providerId="ADAL" clId="{D8D8FA6A-55CF-4107-B041-515EA4BE0821}" dt="2025-10-14T20:52:44.113" v="1275" actId="115"/>
        <pc:sldMkLst>
          <pc:docMk/>
          <pc:sldMk cId="816824933" sldId="2147471310"/>
        </pc:sldMkLst>
        <pc:spChg chg="mod">
          <ac:chgData name="John Paserba" userId="77bd6c8a-d0c1-4fea-8705-0169f65d0c0e" providerId="ADAL" clId="{D8D8FA6A-55CF-4107-B041-515EA4BE0821}" dt="2025-10-14T20:52:44.113" v="1275" actId="115"/>
          <ac:spMkLst>
            <pc:docMk/>
            <pc:sldMk cId="816824933" sldId="2147471310"/>
            <ac:spMk id="3" creationId="{E6993746-A424-4F09-867F-B919F4E18ECB}"/>
          </ac:spMkLst>
        </pc:spChg>
        <pc:spChg chg="mod">
          <ac:chgData name="John Paserba" userId="77bd6c8a-d0c1-4fea-8705-0169f65d0c0e" providerId="ADAL" clId="{D8D8FA6A-55CF-4107-B041-515EA4BE0821}" dt="2025-10-14T20:47:49.307" v="1238"/>
          <ac:spMkLst>
            <pc:docMk/>
            <pc:sldMk cId="816824933" sldId="2147471310"/>
            <ac:spMk id="3328002" creationId="{00000000-0000-0000-0000-000000000000}"/>
          </ac:spMkLst>
        </pc:spChg>
      </pc:sldChg>
      <pc:sldChg chg="modSp mod">
        <pc:chgData name="John Paserba" userId="77bd6c8a-d0c1-4fea-8705-0169f65d0c0e" providerId="ADAL" clId="{D8D8FA6A-55CF-4107-B041-515EA4BE0821}" dt="2025-10-13T13:45:26.777" v="38" actId="1076"/>
        <pc:sldMkLst>
          <pc:docMk/>
          <pc:sldMk cId="2351575374" sldId="2147471318"/>
        </pc:sldMkLst>
        <pc:spChg chg="mod">
          <ac:chgData name="John Paserba" userId="77bd6c8a-d0c1-4fea-8705-0169f65d0c0e" providerId="ADAL" clId="{D8D8FA6A-55CF-4107-B041-515EA4BE0821}" dt="2025-10-13T13:45:26.777" v="38" actId="1076"/>
          <ac:spMkLst>
            <pc:docMk/>
            <pc:sldMk cId="2351575374" sldId="2147471318"/>
            <ac:spMk id="12" creationId="{2FE864D8-B118-45E7-BCDC-269AB89A6566}"/>
          </ac:spMkLst>
        </pc:spChg>
      </pc:sldChg>
      <pc:sldChg chg="modSp mod">
        <pc:chgData name="John Paserba" userId="77bd6c8a-d0c1-4fea-8705-0169f65d0c0e" providerId="ADAL" clId="{D8D8FA6A-55CF-4107-B041-515EA4BE0821}" dt="2025-10-14T20:40:41.299" v="1213" actId="255"/>
        <pc:sldMkLst>
          <pc:docMk/>
          <pc:sldMk cId="637690621" sldId="2147471352"/>
        </pc:sldMkLst>
        <pc:graphicFrameChg chg="modGraphic">
          <ac:chgData name="John Paserba" userId="77bd6c8a-d0c1-4fea-8705-0169f65d0c0e" providerId="ADAL" clId="{D8D8FA6A-55CF-4107-B041-515EA4BE0821}" dt="2025-10-14T20:40:41.299" v="1213" actId="255"/>
          <ac:graphicFrameMkLst>
            <pc:docMk/>
            <pc:sldMk cId="637690621" sldId="2147471352"/>
            <ac:graphicFrameMk id="5" creationId="{1DB31D69-4CC7-4A3F-87DF-A60F4EBC0925}"/>
          </ac:graphicFrameMkLst>
        </pc:graphicFrameChg>
      </pc:sldChg>
      <pc:sldChg chg="modSp mod">
        <pc:chgData name="John Paserba" userId="77bd6c8a-d0c1-4fea-8705-0169f65d0c0e" providerId="ADAL" clId="{D8D8FA6A-55CF-4107-B041-515EA4BE0821}" dt="2025-10-14T20:56:14.518" v="1308" actId="207"/>
        <pc:sldMkLst>
          <pc:docMk/>
          <pc:sldMk cId="37534917" sldId="2147471383"/>
        </pc:sldMkLst>
        <pc:spChg chg="mod">
          <ac:chgData name="John Paserba" userId="77bd6c8a-d0c1-4fea-8705-0169f65d0c0e" providerId="ADAL" clId="{D8D8FA6A-55CF-4107-B041-515EA4BE0821}" dt="2025-10-14T20:56:14.518" v="1308" actId="207"/>
          <ac:spMkLst>
            <pc:docMk/>
            <pc:sldMk cId="37534917" sldId="2147471383"/>
            <ac:spMk id="8" creationId="{237249FE-3C94-F063-0EDC-F718C885375A}"/>
          </ac:spMkLst>
        </pc:spChg>
        <pc:spChg chg="mod">
          <ac:chgData name="John Paserba" userId="77bd6c8a-d0c1-4fea-8705-0169f65d0c0e" providerId="ADAL" clId="{D8D8FA6A-55CF-4107-B041-515EA4BE0821}" dt="2025-10-14T20:48:55.881" v="1252"/>
          <ac:spMkLst>
            <pc:docMk/>
            <pc:sldMk cId="37534917" sldId="2147471383"/>
            <ac:spMk id="3328002" creationId="{00000000-0000-0000-0000-000000000000}"/>
          </ac:spMkLst>
        </pc:spChg>
      </pc:sldChg>
      <pc:sldChg chg="modSp mod">
        <pc:chgData name="John Paserba" userId="77bd6c8a-d0c1-4fea-8705-0169f65d0c0e" providerId="ADAL" clId="{D8D8FA6A-55CF-4107-B041-515EA4BE0821}" dt="2025-10-14T20:04:59.977" v="768" actId="20577"/>
        <pc:sldMkLst>
          <pc:docMk/>
          <pc:sldMk cId="2990581354" sldId="2147471395"/>
        </pc:sldMkLst>
        <pc:graphicFrameChg chg="modGraphic">
          <ac:chgData name="John Paserba" userId="77bd6c8a-d0c1-4fea-8705-0169f65d0c0e" providerId="ADAL" clId="{D8D8FA6A-55CF-4107-B041-515EA4BE0821}" dt="2025-10-14T20:04:59.977" v="768" actId="20577"/>
          <ac:graphicFrameMkLst>
            <pc:docMk/>
            <pc:sldMk cId="2990581354" sldId="2147471395"/>
            <ac:graphicFrameMk id="9" creationId="{BD9FCBD1-20D4-4C5C-A448-3D57926DD3DD}"/>
          </ac:graphicFrameMkLst>
        </pc:graphicFrameChg>
      </pc:sldChg>
      <pc:sldChg chg="del">
        <pc:chgData name="John Paserba" userId="77bd6c8a-d0c1-4fea-8705-0169f65d0c0e" providerId="ADAL" clId="{D8D8FA6A-55CF-4107-B041-515EA4BE0821}" dt="2025-10-14T20:15:55.835" v="816" actId="47"/>
        <pc:sldMkLst>
          <pc:docMk/>
          <pc:sldMk cId="3498029312" sldId="2147471414"/>
        </pc:sldMkLst>
      </pc:sldChg>
      <pc:sldChg chg="modSp mod">
        <pc:chgData name="John Paserba" userId="77bd6c8a-d0c1-4fea-8705-0169f65d0c0e" providerId="ADAL" clId="{D8D8FA6A-55CF-4107-B041-515EA4BE0821}" dt="2025-10-13T14:42:23.977" v="43" actId="1076"/>
        <pc:sldMkLst>
          <pc:docMk/>
          <pc:sldMk cId="623707261" sldId="2147471425"/>
        </pc:sldMkLst>
        <pc:spChg chg="mod">
          <ac:chgData name="John Paserba" userId="77bd6c8a-d0c1-4fea-8705-0169f65d0c0e" providerId="ADAL" clId="{D8D8FA6A-55CF-4107-B041-515EA4BE0821}" dt="2025-10-13T14:42:23.977" v="43" actId="1076"/>
          <ac:spMkLst>
            <pc:docMk/>
            <pc:sldMk cId="623707261" sldId="2147471425"/>
            <ac:spMk id="21" creationId="{A2477078-63AD-462B-BFC8-637EAD405153}"/>
          </ac:spMkLst>
        </pc:spChg>
      </pc:sldChg>
      <pc:sldChg chg="modSp mod">
        <pc:chgData name="John Paserba" userId="77bd6c8a-d0c1-4fea-8705-0169f65d0c0e" providerId="ADAL" clId="{D8D8FA6A-55CF-4107-B041-515EA4BE0821}" dt="2025-10-14T20:12:15.476" v="795" actId="14100"/>
        <pc:sldMkLst>
          <pc:docMk/>
          <pc:sldMk cId="4059234087" sldId="2147471429"/>
        </pc:sldMkLst>
        <pc:spChg chg="mod">
          <ac:chgData name="John Paserba" userId="77bd6c8a-d0c1-4fea-8705-0169f65d0c0e" providerId="ADAL" clId="{D8D8FA6A-55CF-4107-B041-515EA4BE0821}" dt="2025-10-14T20:12:15.476" v="795" actId="14100"/>
          <ac:spMkLst>
            <pc:docMk/>
            <pc:sldMk cId="4059234087" sldId="2147471429"/>
            <ac:spMk id="4" creationId="{C2C99258-52AB-4386-BD92-908479CB2924}"/>
          </ac:spMkLst>
        </pc:spChg>
      </pc:sldChg>
      <pc:sldChg chg="delSp">
        <pc:chgData name="John Paserba" userId="77bd6c8a-d0c1-4fea-8705-0169f65d0c0e" providerId="ADAL" clId="{D8D8FA6A-55CF-4107-B041-515EA4BE0821}" dt="2025-10-14T20:35:42.617" v="987"/>
        <pc:sldMkLst>
          <pc:docMk/>
          <pc:sldMk cId="2579604733" sldId="2147471482"/>
        </pc:sldMkLst>
        <pc:graphicFrameChg chg="del">
          <ac:chgData name="John Paserba" userId="77bd6c8a-d0c1-4fea-8705-0169f65d0c0e" providerId="ADAL" clId="{D8D8FA6A-55CF-4107-B041-515EA4BE0821}" dt="2025-10-14T20:35:42.617" v="987"/>
          <ac:graphicFrameMkLst>
            <pc:docMk/>
            <pc:sldMk cId="2579604733" sldId="2147471482"/>
            <ac:graphicFrameMk id="3" creationId="{1EA2ED55-61B9-400C-A258-3A7985639792}"/>
          </ac:graphicFrameMkLst>
        </pc:graphicFrameChg>
      </pc:sldChg>
      <pc:sldChg chg="modSp mod">
        <pc:chgData name="John Paserba" userId="77bd6c8a-d0c1-4fea-8705-0169f65d0c0e" providerId="ADAL" clId="{D8D8FA6A-55CF-4107-B041-515EA4BE0821}" dt="2025-10-14T20:35:12.685" v="986" actId="255"/>
        <pc:sldMkLst>
          <pc:docMk/>
          <pc:sldMk cId="1509309180" sldId="2147471499"/>
        </pc:sldMkLst>
        <pc:spChg chg="mod">
          <ac:chgData name="John Paserba" userId="77bd6c8a-d0c1-4fea-8705-0169f65d0c0e" providerId="ADAL" clId="{D8D8FA6A-55CF-4107-B041-515EA4BE0821}" dt="2025-10-14T20:35:12.685" v="986" actId="255"/>
          <ac:spMkLst>
            <pc:docMk/>
            <pc:sldMk cId="1509309180" sldId="2147471499"/>
            <ac:spMk id="3" creationId="{E6993746-A424-4F09-867F-B919F4E18ECB}"/>
          </ac:spMkLst>
        </pc:spChg>
      </pc:sldChg>
      <pc:sldChg chg="del">
        <pc:chgData name="John Paserba" userId="77bd6c8a-d0c1-4fea-8705-0169f65d0c0e" providerId="ADAL" clId="{D8D8FA6A-55CF-4107-B041-515EA4BE0821}" dt="2025-10-14T20:16:52.816" v="817" actId="47"/>
        <pc:sldMkLst>
          <pc:docMk/>
          <pc:sldMk cId="1850612918" sldId="2147471573"/>
        </pc:sldMkLst>
      </pc:sldChg>
      <pc:sldChg chg="modSp del mod">
        <pc:chgData name="John Paserba" userId="77bd6c8a-d0c1-4fea-8705-0169f65d0c0e" providerId="ADAL" clId="{D8D8FA6A-55CF-4107-B041-515EA4BE0821}" dt="2025-10-14T20:32:16.050" v="913" actId="1038"/>
        <pc:sldMkLst>
          <pc:docMk/>
          <pc:sldMk cId="649508728" sldId="2147471574"/>
        </pc:sldMkLst>
        <pc:spChg chg="mod">
          <ac:chgData name="John Paserba" userId="77bd6c8a-d0c1-4fea-8705-0169f65d0c0e" providerId="ADAL" clId="{D8D8FA6A-55CF-4107-B041-515EA4BE0821}" dt="2025-10-14T20:32:16.050" v="913" actId="1038"/>
          <ac:spMkLst>
            <pc:docMk/>
            <pc:sldMk cId="649508728" sldId="2147471574"/>
            <ac:spMk id="21" creationId="{FE4B2705-C7C6-4EE0-9E21-FED3D5C31F03}"/>
          </ac:spMkLst>
        </pc:spChg>
      </pc:sldChg>
      <pc:sldChg chg="modSp mod">
        <pc:chgData name="John Paserba" userId="77bd6c8a-d0c1-4fea-8705-0169f65d0c0e" providerId="ADAL" clId="{D8D8FA6A-55CF-4107-B041-515EA4BE0821}" dt="2025-10-14T20:55:53.790" v="1306" actId="207"/>
        <pc:sldMkLst>
          <pc:docMk/>
          <pc:sldMk cId="3394760255" sldId="2147471697"/>
        </pc:sldMkLst>
        <pc:spChg chg="mod">
          <ac:chgData name="John Paserba" userId="77bd6c8a-d0c1-4fea-8705-0169f65d0c0e" providerId="ADAL" clId="{D8D8FA6A-55CF-4107-B041-515EA4BE0821}" dt="2025-10-14T20:55:53.790" v="1306" actId="207"/>
          <ac:spMkLst>
            <pc:docMk/>
            <pc:sldMk cId="3394760255" sldId="2147471697"/>
            <ac:spMk id="9" creationId="{33E1701B-7F94-6789-3C6A-A428042FCAA4}"/>
          </ac:spMkLst>
        </pc:spChg>
        <pc:spChg chg="mod">
          <ac:chgData name="John Paserba" userId="77bd6c8a-d0c1-4fea-8705-0169f65d0c0e" providerId="ADAL" clId="{D8D8FA6A-55CF-4107-B041-515EA4BE0821}" dt="2025-10-14T20:48:49.911" v="1251"/>
          <ac:spMkLst>
            <pc:docMk/>
            <pc:sldMk cId="3394760255" sldId="2147471697"/>
            <ac:spMk id="3328002" creationId="{00000000-0000-0000-0000-000000000000}"/>
          </ac:spMkLst>
        </pc:spChg>
      </pc:sldChg>
      <pc:sldChg chg="addSp modSp mod ord">
        <pc:chgData name="John Paserba" userId="77bd6c8a-d0c1-4fea-8705-0169f65d0c0e" providerId="ADAL" clId="{D8D8FA6A-55CF-4107-B041-515EA4BE0821}" dt="2025-10-14T21:03:37.252" v="1321" actId="1076"/>
        <pc:sldMkLst>
          <pc:docMk/>
          <pc:sldMk cId="249611834" sldId="2147471698"/>
        </pc:sldMkLst>
        <pc:spChg chg="add mod">
          <ac:chgData name="John Paserba" userId="77bd6c8a-d0c1-4fea-8705-0169f65d0c0e" providerId="ADAL" clId="{D8D8FA6A-55CF-4107-B041-515EA4BE0821}" dt="2025-10-14T21:03:37.252" v="1321" actId="1076"/>
          <ac:spMkLst>
            <pc:docMk/>
            <pc:sldMk cId="249611834" sldId="2147471698"/>
            <ac:spMk id="12" creationId="{1700755D-345B-46CD-84C7-0F0FA4384C36}"/>
          </ac:spMkLst>
        </pc:spChg>
      </pc:sldChg>
      <pc:sldChg chg="modSp mod">
        <pc:chgData name="John Paserba" userId="77bd6c8a-d0c1-4fea-8705-0169f65d0c0e" providerId="ADAL" clId="{D8D8FA6A-55CF-4107-B041-515EA4BE0821}" dt="2025-10-14T20:56:24.040" v="1309" actId="12"/>
        <pc:sldMkLst>
          <pc:docMk/>
          <pc:sldMk cId="2200909925" sldId="2147471699"/>
        </pc:sldMkLst>
        <pc:spChg chg="mod">
          <ac:chgData name="John Paserba" userId="77bd6c8a-d0c1-4fea-8705-0169f65d0c0e" providerId="ADAL" clId="{D8D8FA6A-55CF-4107-B041-515EA4BE0821}" dt="2025-10-14T20:56:24.040" v="1309" actId="12"/>
          <ac:spMkLst>
            <pc:docMk/>
            <pc:sldMk cId="2200909925" sldId="2147471699"/>
            <ac:spMk id="7" creationId="{C96D8A9C-5A17-B267-A346-88623ED07DA2}"/>
          </ac:spMkLst>
        </pc:spChg>
        <pc:spChg chg="mod">
          <ac:chgData name="John Paserba" userId="77bd6c8a-d0c1-4fea-8705-0169f65d0c0e" providerId="ADAL" clId="{D8D8FA6A-55CF-4107-B041-515EA4BE0821}" dt="2025-10-14T20:48:59.313" v="1253"/>
          <ac:spMkLst>
            <pc:docMk/>
            <pc:sldMk cId="2200909925" sldId="2147471699"/>
            <ac:spMk id="3328002" creationId="{B5509ECD-409F-EBF2-BDE6-9EE57B44C3E2}"/>
          </ac:spMkLst>
        </pc:spChg>
      </pc:sldChg>
      <pc:sldChg chg="modSp">
        <pc:chgData name="John Paserba" userId="77bd6c8a-d0c1-4fea-8705-0169f65d0c0e" providerId="ADAL" clId="{D8D8FA6A-55CF-4107-B041-515EA4BE0821}" dt="2025-10-14T20:49:03.260" v="1254"/>
        <pc:sldMkLst>
          <pc:docMk/>
          <pc:sldMk cId="1094543838" sldId="2147471700"/>
        </pc:sldMkLst>
        <pc:spChg chg="mod">
          <ac:chgData name="John Paserba" userId="77bd6c8a-d0c1-4fea-8705-0169f65d0c0e" providerId="ADAL" clId="{D8D8FA6A-55CF-4107-B041-515EA4BE0821}" dt="2025-10-14T20:49:03.260" v="1254"/>
          <ac:spMkLst>
            <pc:docMk/>
            <pc:sldMk cId="1094543838" sldId="2147471700"/>
            <ac:spMk id="3328002" creationId="{D0C70CC0-74ED-1E99-414A-40EC651B66A1}"/>
          </ac:spMkLst>
        </pc:spChg>
      </pc:sldChg>
      <pc:sldChg chg="modSp mod">
        <pc:chgData name="John Paserba" userId="77bd6c8a-d0c1-4fea-8705-0169f65d0c0e" providerId="ADAL" clId="{D8D8FA6A-55CF-4107-B041-515EA4BE0821}" dt="2025-10-14T20:56:40.461" v="1310" actId="115"/>
        <pc:sldMkLst>
          <pc:docMk/>
          <pc:sldMk cId="1201248736" sldId="2147471701"/>
        </pc:sldMkLst>
        <pc:spChg chg="mod">
          <ac:chgData name="John Paserba" userId="77bd6c8a-d0c1-4fea-8705-0169f65d0c0e" providerId="ADAL" clId="{D8D8FA6A-55CF-4107-B041-515EA4BE0821}" dt="2025-10-14T20:56:40.461" v="1310" actId="115"/>
          <ac:spMkLst>
            <pc:docMk/>
            <pc:sldMk cId="1201248736" sldId="2147471701"/>
            <ac:spMk id="11" creationId="{2240B85E-3F8A-A80E-9B97-81DE6BF6AE1A}"/>
          </ac:spMkLst>
        </pc:spChg>
        <pc:spChg chg="mod">
          <ac:chgData name="John Paserba" userId="77bd6c8a-d0c1-4fea-8705-0169f65d0c0e" providerId="ADAL" clId="{D8D8FA6A-55CF-4107-B041-515EA4BE0821}" dt="2025-10-14T20:49:09.127" v="1255"/>
          <ac:spMkLst>
            <pc:docMk/>
            <pc:sldMk cId="1201248736" sldId="2147471701"/>
            <ac:spMk id="3328002" creationId="{C61DBCFD-ACBD-AE13-E449-734DD6C615BE}"/>
          </ac:spMkLst>
        </pc:spChg>
      </pc:sldChg>
      <pc:sldChg chg="modSp mod">
        <pc:chgData name="John Paserba" userId="77bd6c8a-d0c1-4fea-8705-0169f65d0c0e" providerId="ADAL" clId="{D8D8FA6A-55CF-4107-B041-515EA4BE0821}" dt="2025-10-14T20:57:52.011" v="1320" actId="207"/>
        <pc:sldMkLst>
          <pc:docMk/>
          <pc:sldMk cId="456085429" sldId="2147471702"/>
        </pc:sldMkLst>
        <pc:spChg chg="mod">
          <ac:chgData name="John Paserba" userId="77bd6c8a-d0c1-4fea-8705-0169f65d0c0e" providerId="ADAL" clId="{D8D8FA6A-55CF-4107-B041-515EA4BE0821}" dt="2025-10-14T20:57:52.011" v="1320" actId="207"/>
          <ac:spMkLst>
            <pc:docMk/>
            <pc:sldMk cId="456085429" sldId="2147471702"/>
            <ac:spMk id="11" creationId="{B976DB2D-6AAF-6427-E53A-330409DE95EC}"/>
          </ac:spMkLst>
        </pc:spChg>
        <pc:spChg chg="mod">
          <ac:chgData name="John Paserba" userId="77bd6c8a-d0c1-4fea-8705-0169f65d0c0e" providerId="ADAL" clId="{D8D8FA6A-55CF-4107-B041-515EA4BE0821}" dt="2025-10-14T20:49:12.593" v="1256"/>
          <ac:spMkLst>
            <pc:docMk/>
            <pc:sldMk cId="456085429" sldId="2147471702"/>
            <ac:spMk id="3328002" creationId="{84694405-56C0-7A8F-7A12-6C246739A71D}"/>
          </ac:spMkLst>
        </pc:spChg>
      </pc:sldChg>
      <pc:sldChg chg="del">
        <pc:chgData name="John Paserba" userId="77bd6c8a-d0c1-4fea-8705-0169f65d0c0e" providerId="ADAL" clId="{D8D8FA6A-55CF-4107-B041-515EA4BE0821}" dt="2025-10-14T20:16:52.816" v="817" actId="47"/>
        <pc:sldMkLst>
          <pc:docMk/>
          <pc:sldMk cId="73387506" sldId="2147471703"/>
        </pc:sldMkLst>
      </pc:sldChg>
      <pc:sldChg chg="modSp">
        <pc:chgData name="John Paserba" userId="77bd6c8a-d0c1-4fea-8705-0169f65d0c0e" providerId="ADAL" clId="{D8D8FA6A-55CF-4107-B041-515EA4BE0821}" dt="2025-10-14T20:49:20.366" v="1258"/>
        <pc:sldMkLst>
          <pc:docMk/>
          <pc:sldMk cId="2597162896" sldId="2147471704"/>
        </pc:sldMkLst>
        <pc:spChg chg="mod">
          <ac:chgData name="John Paserba" userId="77bd6c8a-d0c1-4fea-8705-0169f65d0c0e" providerId="ADAL" clId="{D8D8FA6A-55CF-4107-B041-515EA4BE0821}" dt="2025-10-14T20:49:20.366" v="1258"/>
          <ac:spMkLst>
            <pc:docMk/>
            <pc:sldMk cId="2597162896" sldId="2147471704"/>
            <ac:spMk id="3328002" creationId="{47A04DDD-8F54-8A9B-29A7-A40B0BA9B5DF}"/>
          </ac:spMkLst>
        </pc:spChg>
      </pc:sldChg>
      <pc:sldChg chg="del">
        <pc:chgData name="John Paserba" userId="77bd6c8a-d0c1-4fea-8705-0169f65d0c0e" providerId="ADAL" clId="{D8D8FA6A-55CF-4107-B041-515EA4BE0821}" dt="2025-10-14T20:16:52.816" v="817" actId="47"/>
        <pc:sldMkLst>
          <pc:docMk/>
          <pc:sldMk cId="3082573837" sldId="2147471705"/>
        </pc:sldMkLst>
      </pc:sldChg>
      <pc:sldChg chg="del">
        <pc:chgData name="John Paserba" userId="77bd6c8a-d0c1-4fea-8705-0169f65d0c0e" providerId="ADAL" clId="{D8D8FA6A-55CF-4107-B041-515EA4BE0821}" dt="2025-10-14T20:16:52.816" v="817" actId="47"/>
        <pc:sldMkLst>
          <pc:docMk/>
          <pc:sldMk cId="3558142149" sldId="2147471710"/>
        </pc:sldMkLst>
      </pc:sldChg>
      <pc:sldChg chg="del">
        <pc:chgData name="John Paserba" userId="77bd6c8a-d0c1-4fea-8705-0169f65d0c0e" providerId="ADAL" clId="{D8D8FA6A-55CF-4107-B041-515EA4BE0821}" dt="2025-10-14T20:41:19.301" v="1214" actId="47"/>
        <pc:sldMkLst>
          <pc:docMk/>
          <pc:sldMk cId="3336411070" sldId="2147471730"/>
        </pc:sldMkLst>
      </pc:sldChg>
      <pc:sldChg chg="modSp del mod">
        <pc:chgData name="John Paserba" userId="77bd6c8a-d0c1-4fea-8705-0169f65d0c0e" providerId="ADAL" clId="{D8D8FA6A-55CF-4107-B041-515EA4BE0821}" dt="2025-10-14T20:45:26.186" v="1234" actId="948"/>
        <pc:sldMkLst>
          <pc:docMk/>
          <pc:sldMk cId="3241020159" sldId="2147471733"/>
        </pc:sldMkLst>
        <pc:spChg chg="mod">
          <ac:chgData name="John Paserba" userId="77bd6c8a-d0c1-4fea-8705-0169f65d0c0e" providerId="ADAL" clId="{D8D8FA6A-55CF-4107-B041-515EA4BE0821}" dt="2025-10-14T20:45:26.186" v="1234" actId="948"/>
          <ac:spMkLst>
            <pc:docMk/>
            <pc:sldMk cId="3241020159" sldId="2147471733"/>
            <ac:spMk id="3" creationId="{D30A53C3-FA98-2C68-7926-30EE45974960}"/>
          </ac:spMkLst>
        </pc:spChg>
      </pc:sldChg>
      <pc:sldChg chg="del">
        <pc:chgData name="John Paserba" userId="77bd6c8a-d0c1-4fea-8705-0169f65d0c0e" providerId="ADAL" clId="{D8D8FA6A-55CF-4107-B041-515EA4BE0821}" dt="2025-10-14T20:41:19.301" v="1214" actId="47"/>
        <pc:sldMkLst>
          <pc:docMk/>
          <pc:sldMk cId="4056670772" sldId="2147471745"/>
        </pc:sldMkLst>
      </pc:sldChg>
      <pc:sldChg chg="del">
        <pc:chgData name="John Paserba" userId="77bd6c8a-d0c1-4fea-8705-0169f65d0c0e" providerId="ADAL" clId="{D8D8FA6A-55CF-4107-B041-515EA4BE0821}" dt="2025-10-14T20:41:19.301" v="1214" actId="47"/>
        <pc:sldMkLst>
          <pc:docMk/>
          <pc:sldMk cId="480462522" sldId="2147471748"/>
        </pc:sldMkLst>
      </pc:sldChg>
      <pc:sldChg chg="del">
        <pc:chgData name="John Paserba" userId="77bd6c8a-d0c1-4fea-8705-0169f65d0c0e" providerId="ADAL" clId="{D8D8FA6A-55CF-4107-B041-515EA4BE0821}" dt="2025-10-14T20:41:19.301" v="1214" actId="47"/>
        <pc:sldMkLst>
          <pc:docMk/>
          <pc:sldMk cId="3970052653" sldId="2147471750"/>
        </pc:sldMkLst>
      </pc:sldChg>
      <pc:sldChg chg="del">
        <pc:chgData name="John Paserba" userId="77bd6c8a-d0c1-4fea-8705-0169f65d0c0e" providerId="ADAL" clId="{D8D8FA6A-55CF-4107-B041-515EA4BE0821}" dt="2025-10-14T20:41:19.301" v="1214" actId="47"/>
        <pc:sldMkLst>
          <pc:docMk/>
          <pc:sldMk cId="64751876" sldId="2147471751"/>
        </pc:sldMkLst>
      </pc:sldChg>
      <pc:sldChg chg="modSp del mod">
        <pc:chgData name="John Paserba" userId="77bd6c8a-d0c1-4fea-8705-0169f65d0c0e" providerId="ADAL" clId="{D8D8FA6A-55CF-4107-B041-515EA4BE0821}" dt="2025-10-14T20:46:09.035" v="1236" actId="948"/>
        <pc:sldMkLst>
          <pc:docMk/>
          <pc:sldMk cId="3331998248" sldId="2147471752"/>
        </pc:sldMkLst>
        <pc:spChg chg="mod">
          <ac:chgData name="John Paserba" userId="77bd6c8a-d0c1-4fea-8705-0169f65d0c0e" providerId="ADAL" clId="{D8D8FA6A-55CF-4107-B041-515EA4BE0821}" dt="2025-10-14T20:46:09.035" v="1236" actId="948"/>
          <ac:spMkLst>
            <pc:docMk/>
            <pc:sldMk cId="3331998248" sldId="2147471752"/>
            <ac:spMk id="3" creationId="{AD7C9BD5-B236-A983-6F50-DE5A2D144A2B}"/>
          </ac:spMkLst>
        </pc:spChg>
      </pc:sldChg>
      <pc:sldChg chg="del">
        <pc:chgData name="John Paserba" userId="77bd6c8a-d0c1-4fea-8705-0169f65d0c0e" providerId="ADAL" clId="{D8D8FA6A-55CF-4107-B041-515EA4BE0821}" dt="2025-10-14T20:16:52.816" v="817" actId="47"/>
        <pc:sldMkLst>
          <pc:docMk/>
          <pc:sldMk cId="3576317580" sldId="2147471753"/>
        </pc:sldMkLst>
      </pc:sldChg>
      <pc:sldChg chg="del">
        <pc:chgData name="John Paserba" userId="77bd6c8a-d0c1-4fea-8705-0169f65d0c0e" providerId="ADAL" clId="{D8D8FA6A-55CF-4107-B041-515EA4BE0821}" dt="2025-10-14T20:41:19.301" v="1214" actId="47"/>
        <pc:sldMkLst>
          <pc:docMk/>
          <pc:sldMk cId="3978472136" sldId="2147471754"/>
        </pc:sldMkLst>
      </pc:sldChg>
      <pc:sldChg chg="del">
        <pc:chgData name="John Paserba" userId="77bd6c8a-d0c1-4fea-8705-0169f65d0c0e" providerId="ADAL" clId="{D8D8FA6A-55CF-4107-B041-515EA4BE0821}" dt="2025-10-14T20:41:19.301" v="1214" actId="47"/>
        <pc:sldMkLst>
          <pc:docMk/>
          <pc:sldMk cId="2473159994" sldId="2147471755"/>
        </pc:sldMkLst>
      </pc:sldChg>
      <pc:sldChg chg="del">
        <pc:chgData name="John Paserba" userId="77bd6c8a-d0c1-4fea-8705-0169f65d0c0e" providerId="ADAL" clId="{D8D8FA6A-55CF-4107-B041-515EA4BE0821}" dt="2025-10-14T20:41:19.301" v="1214" actId="47"/>
        <pc:sldMkLst>
          <pc:docMk/>
          <pc:sldMk cId="616450182" sldId="2147471759"/>
        </pc:sldMkLst>
      </pc:sldChg>
      <pc:sldChg chg="modSp del mod">
        <pc:chgData name="John Paserba" userId="77bd6c8a-d0c1-4fea-8705-0169f65d0c0e" providerId="ADAL" clId="{D8D8FA6A-55CF-4107-B041-515EA4BE0821}" dt="2025-10-14T20:32:23.435" v="925" actId="1038"/>
        <pc:sldMkLst>
          <pc:docMk/>
          <pc:sldMk cId="1605903753" sldId="2147471761"/>
        </pc:sldMkLst>
        <pc:spChg chg="mod">
          <ac:chgData name="John Paserba" userId="77bd6c8a-d0c1-4fea-8705-0169f65d0c0e" providerId="ADAL" clId="{D8D8FA6A-55CF-4107-B041-515EA4BE0821}" dt="2025-10-14T20:32:23.435" v="925" actId="1038"/>
          <ac:spMkLst>
            <pc:docMk/>
            <pc:sldMk cId="1605903753" sldId="2147471761"/>
            <ac:spMk id="20" creationId="{E69A118B-98A6-4479-8C30-F899FA348193}"/>
          </ac:spMkLst>
        </pc:spChg>
        <pc:spChg chg="mod">
          <ac:chgData name="John Paserba" userId="77bd6c8a-d0c1-4fea-8705-0169f65d0c0e" providerId="ADAL" clId="{D8D8FA6A-55CF-4107-B041-515EA4BE0821}" dt="2025-10-14T20:31:54.729" v="888" actId="2711"/>
          <ac:spMkLst>
            <pc:docMk/>
            <pc:sldMk cId="1605903753" sldId="2147471761"/>
            <ac:spMk id="22" creationId="{3BD6801F-CD0F-47EE-9567-334E371ECAD1}"/>
          </ac:spMkLst>
        </pc:spChg>
      </pc:sldChg>
      <pc:sldChg chg="modSp del mod">
        <pc:chgData name="John Paserba" userId="77bd6c8a-d0c1-4fea-8705-0169f65d0c0e" providerId="ADAL" clId="{D8D8FA6A-55CF-4107-B041-515EA4BE0821}" dt="2025-10-14T20:32:32.714" v="937" actId="1038"/>
        <pc:sldMkLst>
          <pc:docMk/>
          <pc:sldMk cId="2366930432" sldId="2147471762"/>
        </pc:sldMkLst>
        <pc:spChg chg="mod">
          <ac:chgData name="John Paserba" userId="77bd6c8a-d0c1-4fea-8705-0169f65d0c0e" providerId="ADAL" clId="{D8D8FA6A-55CF-4107-B041-515EA4BE0821}" dt="2025-10-14T20:31:47.289" v="887" actId="2711"/>
          <ac:spMkLst>
            <pc:docMk/>
            <pc:sldMk cId="2366930432" sldId="2147471762"/>
            <ac:spMk id="7" creationId="{6A603C8B-F6D8-488E-AD3F-987448F635B9}"/>
          </ac:spMkLst>
        </pc:spChg>
        <pc:spChg chg="mod">
          <ac:chgData name="John Paserba" userId="77bd6c8a-d0c1-4fea-8705-0169f65d0c0e" providerId="ADAL" clId="{D8D8FA6A-55CF-4107-B041-515EA4BE0821}" dt="2025-10-14T20:31:19.262" v="885" actId="1076"/>
          <ac:spMkLst>
            <pc:docMk/>
            <pc:sldMk cId="2366930432" sldId="2147471762"/>
            <ac:spMk id="16" creationId="{AF99BA1B-BA35-4339-9F2B-0B96E53F6AFF}"/>
          </ac:spMkLst>
        </pc:spChg>
        <pc:spChg chg="mod">
          <ac:chgData name="John Paserba" userId="77bd6c8a-d0c1-4fea-8705-0169f65d0c0e" providerId="ADAL" clId="{D8D8FA6A-55CF-4107-B041-515EA4BE0821}" dt="2025-10-14T20:32:32.714" v="937" actId="1038"/>
          <ac:spMkLst>
            <pc:docMk/>
            <pc:sldMk cId="2366930432" sldId="2147471762"/>
            <ac:spMk id="20" creationId="{E69A118B-98A6-4479-8C30-F899FA348193}"/>
          </ac:spMkLst>
        </pc:spChg>
        <pc:grpChg chg="mod">
          <ac:chgData name="John Paserba" userId="77bd6c8a-d0c1-4fea-8705-0169f65d0c0e" providerId="ADAL" clId="{D8D8FA6A-55CF-4107-B041-515EA4BE0821}" dt="2025-10-14T20:31:19.262" v="885" actId="1076"/>
          <ac:grpSpMkLst>
            <pc:docMk/>
            <pc:sldMk cId="2366930432" sldId="2147471762"/>
            <ac:grpSpMk id="15" creationId="{86F8FC6D-3276-4342-816D-03A0BD937FCF}"/>
          </ac:grpSpMkLst>
        </pc:grpChg>
        <pc:picChg chg="mod">
          <ac:chgData name="John Paserba" userId="77bd6c8a-d0c1-4fea-8705-0169f65d0c0e" providerId="ADAL" clId="{D8D8FA6A-55CF-4107-B041-515EA4BE0821}" dt="2025-10-14T20:31:19.262" v="885" actId="1076"/>
          <ac:picMkLst>
            <pc:docMk/>
            <pc:sldMk cId="2366930432" sldId="2147471762"/>
            <ac:picMk id="17" creationId="{0600D99D-E0BD-4F5B-8F5C-E6BE98E99663}"/>
          </ac:picMkLst>
        </pc:picChg>
      </pc:sldChg>
      <pc:sldChg chg="modSp mod">
        <pc:chgData name="John Paserba" userId="77bd6c8a-d0c1-4fea-8705-0169f65d0c0e" providerId="ADAL" clId="{D8D8FA6A-55CF-4107-B041-515EA4BE0821}" dt="2025-10-13T16:07:22.081" v="187" actId="6549"/>
        <pc:sldMkLst>
          <pc:docMk/>
          <pc:sldMk cId="1076467741" sldId="2147471763"/>
        </pc:sldMkLst>
        <pc:spChg chg="mod">
          <ac:chgData name="John Paserba" userId="77bd6c8a-d0c1-4fea-8705-0169f65d0c0e" providerId="ADAL" clId="{D8D8FA6A-55CF-4107-B041-515EA4BE0821}" dt="2025-10-13T16:07:22.081" v="187" actId="6549"/>
          <ac:spMkLst>
            <pc:docMk/>
            <pc:sldMk cId="1076467741" sldId="2147471763"/>
            <ac:spMk id="4" creationId="{935F3E8D-84AC-4F81-B4E8-B40C01F0E096}"/>
          </ac:spMkLst>
        </pc:spChg>
      </pc:sldChg>
      <pc:sldChg chg="del">
        <pc:chgData name="John Paserba" userId="77bd6c8a-d0c1-4fea-8705-0169f65d0c0e" providerId="ADAL" clId="{D8D8FA6A-55CF-4107-B041-515EA4BE0821}" dt="2025-10-14T20:41:19.301" v="1214" actId="47"/>
        <pc:sldMkLst>
          <pc:docMk/>
          <pc:sldMk cId="1268152744" sldId="2147471765"/>
        </pc:sldMkLst>
      </pc:sldChg>
      <pc:sldChg chg="del">
        <pc:chgData name="John Paserba" userId="77bd6c8a-d0c1-4fea-8705-0169f65d0c0e" providerId="ADAL" clId="{D8D8FA6A-55CF-4107-B041-515EA4BE0821}" dt="2025-10-14T20:41:19.301" v="1214" actId="47"/>
        <pc:sldMkLst>
          <pc:docMk/>
          <pc:sldMk cId="1401808193" sldId="2147471766"/>
        </pc:sldMkLst>
      </pc:sldChg>
      <pc:sldChg chg="del">
        <pc:chgData name="John Paserba" userId="77bd6c8a-d0c1-4fea-8705-0169f65d0c0e" providerId="ADAL" clId="{D8D8FA6A-55CF-4107-B041-515EA4BE0821}" dt="2025-10-14T20:41:19.301" v="1214" actId="47"/>
        <pc:sldMkLst>
          <pc:docMk/>
          <pc:sldMk cId="2730432412" sldId="2147471767"/>
        </pc:sldMkLst>
      </pc:sldChg>
      <pc:sldChg chg="del">
        <pc:chgData name="John Paserba" userId="77bd6c8a-d0c1-4fea-8705-0169f65d0c0e" providerId="ADAL" clId="{D8D8FA6A-55CF-4107-B041-515EA4BE0821}" dt="2025-10-14T20:16:52.816" v="817" actId="47"/>
        <pc:sldMkLst>
          <pc:docMk/>
          <pc:sldMk cId="519710030" sldId="2147471768"/>
        </pc:sldMkLst>
      </pc:sldChg>
      <pc:sldChg chg="del">
        <pc:chgData name="John Paserba" userId="77bd6c8a-d0c1-4fea-8705-0169f65d0c0e" providerId="ADAL" clId="{D8D8FA6A-55CF-4107-B041-515EA4BE0821}" dt="2025-10-14T20:16:52.816" v="817" actId="47"/>
        <pc:sldMkLst>
          <pc:docMk/>
          <pc:sldMk cId="1363215793" sldId="2147471770"/>
        </pc:sldMkLst>
      </pc:sldChg>
      <pc:sldChg chg="del">
        <pc:chgData name="John Paserba" userId="77bd6c8a-d0c1-4fea-8705-0169f65d0c0e" providerId="ADAL" clId="{D8D8FA6A-55CF-4107-B041-515EA4BE0821}" dt="2025-10-14T20:41:19.301" v="1214" actId="47"/>
        <pc:sldMkLst>
          <pc:docMk/>
          <pc:sldMk cId="2468640254" sldId="2147471773"/>
        </pc:sldMkLst>
      </pc:sldChg>
      <pc:sldChg chg="del">
        <pc:chgData name="John Paserba" userId="77bd6c8a-d0c1-4fea-8705-0169f65d0c0e" providerId="ADAL" clId="{D8D8FA6A-55CF-4107-B041-515EA4BE0821}" dt="2025-10-14T20:16:52.816" v="817" actId="47"/>
        <pc:sldMkLst>
          <pc:docMk/>
          <pc:sldMk cId="706584097" sldId="2147471774"/>
        </pc:sldMkLst>
      </pc:sldChg>
      <pc:sldChg chg="del">
        <pc:chgData name="John Paserba" userId="77bd6c8a-d0c1-4fea-8705-0169f65d0c0e" providerId="ADAL" clId="{D8D8FA6A-55CF-4107-B041-515EA4BE0821}" dt="2025-10-14T20:16:52.816" v="817" actId="47"/>
        <pc:sldMkLst>
          <pc:docMk/>
          <pc:sldMk cId="1947367769" sldId="2147471775"/>
        </pc:sldMkLst>
      </pc:sldChg>
      <pc:sldChg chg="modSp del mod">
        <pc:chgData name="John Paserba" userId="77bd6c8a-d0c1-4fea-8705-0169f65d0c0e" providerId="ADAL" clId="{D8D8FA6A-55CF-4107-B041-515EA4BE0821}" dt="2025-10-14T20:32:59.133" v="973" actId="1038"/>
        <pc:sldMkLst>
          <pc:docMk/>
          <pc:sldMk cId="3818620073" sldId="2147471776"/>
        </pc:sldMkLst>
        <pc:spChg chg="mod">
          <ac:chgData name="John Paserba" userId="77bd6c8a-d0c1-4fea-8705-0169f65d0c0e" providerId="ADAL" clId="{D8D8FA6A-55CF-4107-B041-515EA4BE0821}" dt="2025-10-14T20:32:48.619" v="955" actId="1038"/>
          <ac:spMkLst>
            <pc:docMk/>
            <pc:sldMk cId="3818620073" sldId="2147471776"/>
            <ac:spMk id="19" creationId="{5AC7194F-1259-4D5E-8A01-1B004A3BFA78}"/>
          </ac:spMkLst>
        </pc:spChg>
        <pc:spChg chg="mod">
          <ac:chgData name="John Paserba" userId="77bd6c8a-d0c1-4fea-8705-0169f65d0c0e" providerId="ADAL" clId="{D8D8FA6A-55CF-4107-B041-515EA4BE0821}" dt="2025-10-14T20:32:59.133" v="973" actId="1038"/>
          <ac:spMkLst>
            <pc:docMk/>
            <pc:sldMk cId="3818620073" sldId="2147471776"/>
            <ac:spMk id="20" creationId="{E69A118B-98A6-4479-8C30-F899FA348193}"/>
          </ac:spMkLst>
        </pc:spChg>
      </pc:sldChg>
      <pc:sldChg chg="del">
        <pc:chgData name="John Paserba" userId="77bd6c8a-d0c1-4fea-8705-0169f65d0c0e" providerId="ADAL" clId="{D8D8FA6A-55CF-4107-B041-515EA4BE0821}" dt="2025-10-14T20:41:19.301" v="1214" actId="47"/>
        <pc:sldMkLst>
          <pc:docMk/>
          <pc:sldMk cId="694031996" sldId="2147471777"/>
        </pc:sldMkLst>
      </pc:sldChg>
      <pc:sldChg chg="del">
        <pc:chgData name="John Paserba" userId="77bd6c8a-d0c1-4fea-8705-0169f65d0c0e" providerId="ADAL" clId="{D8D8FA6A-55CF-4107-B041-515EA4BE0821}" dt="2025-10-14T20:41:19.301" v="1214" actId="47"/>
        <pc:sldMkLst>
          <pc:docMk/>
          <pc:sldMk cId="4230604041" sldId="2147471778"/>
        </pc:sldMkLst>
      </pc:sldChg>
      <pc:sldChg chg="del">
        <pc:chgData name="John Paserba" userId="77bd6c8a-d0c1-4fea-8705-0169f65d0c0e" providerId="ADAL" clId="{D8D8FA6A-55CF-4107-B041-515EA4BE0821}" dt="2025-10-14T20:14:53.010" v="804" actId="47"/>
        <pc:sldMkLst>
          <pc:docMk/>
          <pc:sldMk cId="1615138601" sldId="2147471783"/>
        </pc:sldMkLst>
      </pc:sldChg>
      <pc:sldChg chg="del">
        <pc:chgData name="John Paserba" userId="77bd6c8a-d0c1-4fea-8705-0169f65d0c0e" providerId="ADAL" clId="{D8D8FA6A-55CF-4107-B041-515EA4BE0821}" dt="2025-10-14T20:16:52.816" v="817" actId="47"/>
        <pc:sldMkLst>
          <pc:docMk/>
          <pc:sldMk cId="2920915659" sldId="2147471786"/>
        </pc:sldMkLst>
      </pc:sldChg>
      <pc:sldChg chg="del">
        <pc:chgData name="John Paserba" userId="77bd6c8a-d0c1-4fea-8705-0169f65d0c0e" providerId="ADAL" clId="{D8D8FA6A-55CF-4107-B041-515EA4BE0821}" dt="2025-10-14T20:16:52.816" v="817" actId="47"/>
        <pc:sldMkLst>
          <pc:docMk/>
          <pc:sldMk cId="506027128" sldId="2147471787"/>
        </pc:sldMkLst>
      </pc:sldChg>
      <pc:sldChg chg="modSp mod">
        <pc:chgData name="John Paserba" userId="77bd6c8a-d0c1-4fea-8705-0169f65d0c0e" providerId="ADAL" clId="{D8D8FA6A-55CF-4107-B041-515EA4BE0821}" dt="2025-10-13T13:33:10.257" v="37" actId="1076"/>
        <pc:sldMkLst>
          <pc:docMk/>
          <pc:sldMk cId="3524733822" sldId="2147471790"/>
        </pc:sldMkLst>
        <pc:spChg chg="mod">
          <ac:chgData name="John Paserba" userId="77bd6c8a-d0c1-4fea-8705-0169f65d0c0e" providerId="ADAL" clId="{D8D8FA6A-55CF-4107-B041-515EA4BE0821}" dt="2025-10-13T13:33:10.257" v="37" actId="1076"/>
          <ac:spMkLst>
            <pc:docMk/>
            <pc:sldMk cId="3524733822" sldId="2147471790"/>
            <ac:spMk id="3" creationId="{E978D94C-B583-42C5-B27D-B55A8C122BE7}"/>
          </ac:spMkLst>
        </pc:spChg>
      </pc:sldChg>
      <pc:sldChg chg="modSp mod">
        <pc:chgData name="John Paserba" userId="77bd6c8a-d0c1-4fea-8705-0169f65d0c0e" providerId="ADAL" clId="{D8D8FA6A-55CF-4107-B041-515EA4BE0821}" dt="2025-10-13T16:11:00.558" v="287" actId="20577"/>
        <pc:sldMkLst>
          <pc:docMk/>
          <pc:sldMk cId="935460224" sldId="2147471801"/>
        </pc:sldMkLst>
        <pc:spChg chg="mod">
          <ac:chgData name="John Paserba" userId="77bd6c8a-d0c1-4fea-8705-0169f65d0c0e" providerId="ADAL" clId="{D8D8FA6A-55CF-4107-B041-515EA4BE0821}" dt="2025-10-13T16:11:00.558" v="287" actId="20577"/>
          <ac:spMkLst>
            <pc:docMk/>
            <pc:sldMk cId="935460224" sldId="2147471801"/>
            <ac:spMk id="4" creationId="{935F3E8D-84AC-4F81-B4E8-B40C01F0E096}"/>
          </ac:spMkLst>
        </pc:spChg>
      </pc:sldChg>
      <pc:sldChg chg="addSp delSp modSp mod">
        <pc:chgData name="John Paserba" userId="77bd6c8a-d0c1-4fea-8705-0169f65d0c0e" providerId="ADAL" clId="{D8D8FA6A-55CF-4107-B041-515EA4BE0821}" dt="2025-10-14T20:15:09.111" v="805" actId="478"/>
        <pc:sldMkLst>
          <pc:docMk/>
          <pc:sldMk cId="1100047433" sldId="2147471802"/>
        </pc:sldMkLst>
        <pc:spChg chg="add mod">
          <ac:chgData name="John Paserba" userId="77bd6c8a-d0c1-4fea-8705-0169f65d0c0e" providerId="ADAL" clId="{D8D8FA6A-55CF-4107-B041-515EA4BE0821}" dt="2025-10-14T16:58:48.630" v="315" actId="20577"/>
          <ac:spMkLst>
            <pc:docMk/>
            <pc:sldMk cId="1100047433" sldId="2147471802"/>
            <ac:spMk id="3" creationId="{52387DE1-233A-4DA4-90CD-86A87F67B248}"/>
          </ac:spMkLst>
        </pc:spChg>
        <pc:graphicFrameChg chg="modGraphic">
          <ac:chgData name="John Paserba" userId="77bd6c8a-d0c1-4fea-8705-0169f65d0c0e" providerId="ADAL" clId="{D8D8FA6A-55CF-4107-B041-515EA4BE0821}" dt="2025-10-14T16:58:01.101" v="288" actId="20577"/>
          <ac:graphicFrameMkLst>
            <pc:docMk/>
            <pc:sldMk cId="1100047433" sldId="2147471802"/>
            <ac:graphicFrameMk id="2" creationId="{DC5099DB-E32D-4104-BCAA-50D2853A3BC4}"/>
          </ac:graphicFrameMkLst>
        </pc:graphicFrameChg>
        <pc:picChg chg="add del mod">
          <ac:chgData name="John Paserba" userId="77bd6c8a-d0c1-4fea-8705-0169f65d0c0e" providerId="ADAL" clId="{D8D8FA6A-55CF-4107-B041-515EA4BE0821}" dt="2025-10-14T20:15:09.111" v="805" actId="478"/>
          <ac:picMkLst>
            <pc:docMk/>
            <pc:sldMk cId="1100047433" sldId="2147471802"/>
            <ac:picMk id="12" creationId="{D6CDCDE9-7E8B-43A1-B3B8-109CADDFEB18}"/>
          </ac:picMkLst>
        </pc:picChg>
      </pc:sldChg>
      <pc:sldChg chg="modSp mod">
        <pc:chgData name="John Paserba" userId="77bd6c8a-d0c1-4fea-8705-0169f65d0c0e" providerId="ADAL" clId="{D8D8FA6A-55CF-4107-B041-515EA4BE0821}" dt="2025-10-13T13:53:28.224" v="42" actId="6549"/>
        <pc:sldMkLst>
          <pc:docMk/>
          <pc:sldMk cId="761989599" sldId="2147471811"/>
        </pc:sldMkLst>
        <pc:spChg chg="mod">
          <ac:chgData name="John Paserba" userId="77bd6c8a-d0c1-4fea-8705-0169f65d0c0e" providerId="ADAL" clId="{D8D8FA6A-55CF-4107-B041-515EA4BE0821}" dt="2025-10-13T13:53:28.224" v="42" actId="6549"/>
          <ac:spMkLst>
            <pc:docMk/>
            <pc:sldMk cId="761989599" sldId="2147471811"/>
            <ac:spMk id="3" creationId="{E6993746-A424-4F09-867F-B919F4E18ECB}"/>
          </ac:spMkLst>
        </pc:spChg>
      </pc:sldChg>
      <pc:sldChg chg="del">
        <pc:chgData name="John Paserba" userId="77bd6c8a-d0c1-4fea-8705-0169f65d0c0e" providerId="ADAL" clId="{D8D8FA6A-55CF-4107-B041-515EA4BE0821}" dt="2025-10-14T20:16:52.816" v="817" actId="47"/>
        <pc:sldMkLst>
          <pc:docMk/>
          <pc:sldMk cId="2169690140" sldId="2147471813"/>
        </pc:sldMkLst>
      </pc:sldChg>
      <pc:sldChg chg="del">
        <pc:chgData name="John Paserba" userId="77bd6c8a-d0c1-4fea-8705-0169f65d0c0e" providerId="ADAL" clId="{D8D8FA6A-55CF-4107-B041-515EA4BE0821}" dt="2025-10-14T20:16:52.816" v="817" actId="47"/>
        <pc:sldMkLst>
          <pc:docMk/>
          <pc:sldMk cId="3355548159" sldId="2147471814"/>
        </pc:sldMkLst>
      </pc:sldChg>
      <pc:sldChg chg="del">
        <pc:chgData name="John Paserba" userId="77bd6c8a-d0c1-4fea-8705-0169f65d0c0e" providerId="ADAL" clId="{D8D8FA6A-55CF-4107-B041-515EA4BE0821}" dt="2025-10-14T20:16:52.816" v="817" actId="47"/>
        <pc:sldMkLst>
          <pc:docMk/>
          <pc:sldMk cId="1601724199" sldId="2147471815"/>
        </pc:sldMkLst>
      </pc:sldChg>
      <pc:sldChg chg="del">
        <pc:chgData name="John Paserba" userId="77bd6c8a-d0c1-4fea-8705-0169f65d0c0e" providerId="ADAL" clId="{D8D8FA6A-55CF-4107-B041-515EA4BE0821}" dt="2025-10-14T20:16:52.816" v="817" actId="47"/>
        <pc:sldMkLst>
          <pc:docMk/>
          <pc:sldMk cId="2611446155" sldId="2147471816"/>
        </pc:sldMkLst>
      </pc:sldChg>
      <pc:sldChg chg="del">
        <pc:chgData name="John Paserba" userId="77bd6c8a-d0c1-4fea-8705-0169f65d0c0e" providerId="ADAL" clId="{D8D8FA6A-55CF-4107-B041-515EA4BE0821}" dt="2025-10-14T20:16:52.816" v="817" actId="47"/>
        <pc:sldMkLst>
          <pc:docMk/>
          <pc:sldMk cId="1330365994" sldId="2147471817"/>
        </pc:sldMkLst>
      </pc:sldChg>
      <pc:sldChg chg="modSp del mod">
        <pc:chgData name="John Paserba" userId="77bd6c8a-d0c1-4fea-8705-0169f65d0c0e" providerId="ADAL" clId="{D8D8FA6A-55CF-4107-B041-515EA4BE0821}" dt="2025-10-14T20:32:08.709" v="894" actId="1038"/>
        <pc:sldMkLst>
          <pc:docMk/>
          <pc:sldMk cId="2218686594" sldId="2147471818"/>
        </pc:sldMkLst>
        <pc:spChg chg="mod">
          <ac:chgData name="John Paserba" userId="77bd6c8a-d0c1-4fea-8705-0169f65d0c0e" providerId="ADAL" clId="{D8D8FA6A-55CF-4107-B041-515EA4BE0821}" dt="2025-10-14T20:32:08.709" v="894" actId="1038"/>
          <ac:spMkLst>
            <pc:docMk/>
            <pc:sldMk cId="2218686594" sldId="2147471818"/>
            <ac:spMk id="19" creationId="{5AC7194F-1259-4D5E-8A01-1B004A3BFA78}"/>
          </ac:spMkLst>
        </pc:spChg>
      </pc:sldChg>
      <pc:sldChg chg="modSp mod">
        <pc:chgData name="John Paserba" userId="77bd6c8a-d0c1-4fea-8705-0169f65d0c0e" providerId="ADAL" clId="{D8D8FA6A-55CF-4107-B041-515EA4BE0821}" dt="2025-10-14T20:11:59.035" v="787" actId="20577"/>
        <pc:sldMkLst>
          <pc:docMk/>
          <pc:sldMk cId="1848293232" sldId="2147471823"/>
        </pc:sldMkLst>
        <pc:spChg chg="mod">
          <ac:chgData name="John Paserba" userId="77bd6c8a-d0c1-4fea-8705-0169f65d0c0e" providerId="ADAL" clId="{D8D8FA6A-55CF-4107-B041-515EA4BE0821}" dt="2025-10-14T20:11:59.035" v="787" actId="20577"/>
          <ac:spMkLst>
            <pc:docMk/>
            <pc:sldMk cId="1848293232" sldId="2147471823"/>
            <ac:spMk id="3" creationId="{E6993746-A424-4F09-867F-B919F4E18ECB}"/>
          </ac:spMkLst>
        </pc:spChg>
      </pc:sldChg>
      <pc:sldChg chg="del">
        <pc:chgData name="John Paserba" userId="77bd6c8a-d0c1-4fea-8705-0169f65d0c0e" providerId="ADAL" clId="{D8D8FA6A-55CF-4107-B041-515EA4BE0821}" dt="2025-10-13T15:56:56.735" v="50" actId="47"/>
        <pc:sldMkLst>
          <pc:docMk/>
          <pc:sldMk cId="48580802" sldId="2147471839"/>
        </pc:sldMkLst>
      </pc:sldChg>
      <pc:sldChg chg="addSp delSp modSp mod">
        <pc:chgData name="John Paserba" userId="77bd6c8a-d0c1-4fea-8705-0169f65d0c0e" providerId="ADAL" clId="{D8D8FA6A-55CF-4107-B041-515EA4BE0821}" dt="2025-10-13T16:02:35.683" v="183" actId="20577"/>
        <pc:sldMkLst>
          <pc:docMk/>
          <pc:sldMk cId="1960846689" sldId="2147471847"/>
        </pc:sldMkLst>
        <pc:spChg chg="add mod">
          <ac:chgData name="John Paserba" userId="77bd6c8a-d0c1-4fea-8705-0169f65d0c0e" providerId="ADAL" clId="{D8D8FA6A-55CF-4107-B041-515EA4BE0821}" dt="2025-10-13T16:02:35.683" v="183" actId="20577"/>
          <ac:spMkLst>
            <pc:docMk/>
            <pc:sldMk cId="1960846689" sldId="2147471847"/>
            <ac:spMk id="2" creationId="{76B7EBA2-E869-4546-99BE-6852A3DF52C6}"/>
          </ac:spMkLst>
        </pc:spChg>
        <pc:spChg chg="del">
          <ac:chgData name="John Paserba" userId="77bd6c8a-d0c1-4fea-8705-0169f65d0c0e" providerId="ADAL" clId="{D8D8FA6A-55CF-4107-B041-515EA4BE0821}" dt="2025-10-13T15:53:35.803" v="49" actId="478"/>
          <ac:spMkLst>
            <pc:docMk/>
            <pc:sldMk cId="1960846689" sldId="2147471847"/>
            <ac:spMk id="13" creationId="{2F783CFE-EE2C-40F3-A550-25DE5EBF0A43}"/>
          </ac:spMkLst>
        </pc:spChg>
        <pc:spChg chg="mod">
          <ac:chgData name="John Paserba" userId="77bd6c8a-d0c1-4fea-8705-0169f65d0c0e" providerId="ADAL" clId="{D8D8FA6A-55CF-4107-B041-515EA4BE0821}" dt="2025-10-13T15:53:17.602" v="48" actId="20577"/>
          <ac:spMkLst>
            <pc:docMk/>
            <pc:sldMk cId="1960846689" sldId="2147471847"/>
            <ac:spMk id="3328002" creationId="{00000000-0000-0000-0000-000000000000}"/>
          </ac:spMkLst>
        </pc:spChg>
      </pc:sldChg>
      <pc:sldChg chg="modSp mod">
        <pc:chgData name="John Paserba" userId="77bd6c8a-d0c1-4fea-8705-0169f65d0c0e" providerId="ADAL" clId="{D8D8FA6A-55CF-4107-B041-515EA4BE0821}" dt="2025-10-14T18:08:14.609" v="321" actId="1076"/>
        <pc:sldMkLst>
          <pc:docMk/>
          <pc:sldMk cId="3859739026" sldId="2147471848"/>
        </pc:sldMkLst>
        <pc:spChg chg="mod">
          <ac:chgData name="John Paserba" userId="77bd6c8a-d0c1-4fea-8705-0169f65d0c0e" providerId="ADAL" clId="{D8D8FA6A-55CF-4107-B041-515EA4BE0821}" dt="2025-10-14T18:08:14.609" v="321" actId="1076"/>
          <ac:spMkLst>
            <pc:docMk/>
            <pc:sldMk cId="3859739026" sldId="2147471848"/>
            <ac:spMk id="7" creationId="{FF082446-85E9-46C9-B4F2-316BC3643A41}"/>
          </ac:spMkLst>
        </pc:spChg>
      </pc:sldChg>
      <pc:sldChg chg="modSp mod">
        <pc:chgData name="John Paserba" userId="77bd6c8a-d0c1-4fea-8705-0169f65d0c0e" providerId="ADAL" clId="{D8D8FA6A-55CF-4107-B041-515EA4BE0821}" dt="2025-10-14T20:15:14.998" v="806" actId="1076"/>
        <pc:sldMkLst>
          <pc:docMk/>
          <pc:sldMk cId="4085070674" sldId="2147471849"/>
        </pc:sldMkLst>
        <pc:spChg chg="mod">
          <ac:chgData name="John Paserba" userId="77bd6c8a-d0c1-4fea-8705-0169f65d0c0e" providerId="ADAL" clId="{D8D8FA6A-55CF-4107-B041-515EA4BE0821}" dt="2025-10-14T20:15:14.998" v="806" actId="1076"/>
          <ac:spMkLst>
            <pc:docMk/>
            <pc:sldMk cId="4085070674" sldId="2147471849"/>
            <ac:spMk id="7" creationId="{FF082446-85E9-46C9-B4F2-316BC3643A41}"/>
          </ac:spMkLst>
        </pc:spChg>
      </pc:sldChg>
      <pc:sldChg chg="del">
        <pc:chgData name="John Paserba" userId="77bd6c8a-d0c1-4fea-8705-0169f65d0c0e" providerId="ADAL" clId="{D8D8FA6A-55CF-4107-B041-515EA4BE0821}" dt="2025-10-14T20:41:19.301" v="1214" actId="47"/>
        <pc:sldMkLst>
          <pc:docMk/>
          <pc:sldMk cId="2458435600" sldId="2147471855"/>
        </pc:sldMkLst>
      </pc:sldChg>
      <pc:sldChg chg="modSp del mod">
        <pc:chgData name="John Paserba" userId="77bd6c8a-d0c1-4fea-8705-0169f65d0c0e" providerId="ADAL" clId="{D8D8FA6A-55CF-4107-B041-515EA4BE0821}" dt="2025-10-14T20:42:55.530" v="1216" actId="948"/>
        <pc:sldMkLst>
          <pc:docMk/>
          <pc:sldMk cId="1889566764" sldId="2147471856"/>
        </pc:sldMkLst>
        <pc:spChg chg="mod">
          <ac:chgData name="John Paserba" userId="77bd6c8a-d0c1-4fea-8705-0169f65d0c0e" providerId="ADAL" clId="{D8D8FA6A-55CF-4107-B041-515EA4BE0821}" dt="2025-10-14T20:42:55.530" v="1216" actId="948"/>
          <ac:spMkLst>
            <pc:docMk/>
            <pc:sldMk cId="1889566764" sldId="2147471856"/>
            <ac:spMk id="7" creationId="{8A8C02B1-60E9-4D5A-BDDF-269408F5AEE2}"/>
          </ac:spMkLst>
        </pc:spChg>
      </pc:sldChg>
      <pc:sldChg chg="del">
        <pc:chgData name="John Paserba" userId="77bd6c8a-d0c1-4fea-8705-0169f65d0c0e" providerId="ADAL" clId="{D8D8FA6A-55CF-4107-B041-515EA4BE0821}" dt="2025-10-14T20:41:19.301" v="1214" actId="47"/>
        <pc:sldMkLst>
          <pc:docMk/>
          <pc:sldMk cId="3289599524" sldId="2147471857"/>
        </pc:sldMkLst>
      </pc:sldChg>
      <pc:sldChg chg="del">
        <pc:chgData name="John Paserba" userId="77bd6c8a-d0c1-4fea-8705-0169f65d0c0e" providerId="ADAL" clId="{D8D8FA6A-55CF-4107-B041-515EA4BE0821}" dt="2025-10-14T20:41:19.301" v="1214" actId="47"/>
        <pc:sldMkLst>
          <pc:docMk/>
          <pc:sldMk cId="3745932163" sldId="2147471858"/>
        </pc:sldMkLst>
      </pc:sldChg>
      <pc:sldChg chg="del">
        <pc:chgData name="John Paserba" userId="77bd6c8a-d0c1-4fea-8705-0169f65d0c0e" providerId="ADAL" clId="{D8D8FA6A-55CF-4107-B041-515EA4BE0821}" dt="2025-10-14T20:41:19.301" v="1214" actId="47"/>
        <pc:sldMkLst>
          <pc:docMk/>
          <pc:sldMk cId="317147282" sldId="2147471859"/>
        </pc:sldMkLst>
      </pc:sldChg>
      <pc:sldChg chg="delSp del mod">
        <pc:chgData name="John Paserba" userId="77bd6c8a-d0c1-4fea-8705-0169f65d0c0e" providerId="ADAL" clId="{D8D8FA6A-55CF-4107-B041-515EA4BE0821}" dt="2025-10-14T20:43:11.732" v="1217" actId="478"/>
        <pc:sldMkLst>
          <pc:docMk/>
          <pc:sldMk cId="89947543" sldId="2147471860"/>
        </pc:sldMkLst>
        <pc:spChg chg="del">
          <ac:chgData name="John Paserba" userId="77bd6c8a-d0c1-4fea-8705-0169f65d0c0e" providerId="ADAL" clId="{D8D8FA6A-55CF-4107-B041-515EA4BE0821}" dt="2025-10-14T20:43:11.732" v="1217" actId="478"/>
          <ac:spMkLst>
            <pc:docMk/>
            <pc:sldMk cId="89947543" sldId="2147471860"/>
            <ac:spMk id="4" creationId="{978865DC-5307-5017-7106-2AFCDD6D469C}"/>
          </ac:spMkLst>
        </pc:spChg>
      </pc:sldChg>
      <pc:sldChg chg="del">
        <pc:chgData name="John Paserba" userId="77bd6c8a-d0c1-4fea-8705-0169f65d0c0e" providerId="ADAL" clId="{D8D8FA6A-55CF-4107-B041-515EA4BE0821}" dt="2025-10-14T20:41:19.301" v="1214" actId="47"/>
        <pc:sldMkLst>
          <pc:docMk/>
          <pc:sldMk cId="846043046" sldId="2147471861"/>
        </pc:sldMkLst>
      </pc:sldChg>
      <pc:sldChg chg="del">
        <pc:chgData name="John Paserba" userId="77bd6c8a-d0c1-4fea-8705-0169f65d0c0e" providerId="ADAL" clId="{D8D8FA6A-55CF-4107-B041-515EA4BE0821}" dt="2025-10-14T20:41:19.301" v="1214" actId="47"/>
        <pc:sldMkLst>
          <pc:docMk/>
          <pc:sldMk cId="358134025" sldId="2147471862"/>
        </pc:sldMkLst>
      </pc:sldChg>
      <pc:sldChg chg="del">
        <pc:chgData name="John Paserba" userId="77bd6c8a-d0c1-4fea-8705-0169f65d0c0e" providerId="ADAL" clId="{D8D8FA6A-55CF-4107-B041-515EA4BE0821}" dt="2025-10-14T20:41:19.301" v="1214" actId="47"/>
        <pc:sldMkLst>
          <pc:docMk/>
          <pc:sldMk cId="700796200" sldId="2147471863"/>
        </pc:sldMkLst>
      </pc:sldChg>
      <pc:sldChg chg="modSp del mod">
        <pc:chgData name="John Paserba" userId="77bd6c8a-d0c1-4fea-8705-0169f65d0c0e" providerId="ADAL" clId="{D8D8FA6A-55CF-4107-B041-515EA4BE0821}" dt="2025-10-14T20:41:19.301" v="1214" actId="47"/>
        <pc:sldMkLst>
          <pc:docMk/>
          <pc:sldMk cId="2693308933" sldId="2147471864"/>
        </pc:sldMkLst>
        <pc:spChg chg="mod">
          <ac:chgData name="John Paserba" userId="77bd6c8a-d0c1-4fea-8705-0169f65d0c0e" providerId="ADAL" clId="{D8D8FA6A-55CF-4107-B041-515EA4BE0821}" dt="2025-10-14T20:14:17.333" v="802" actId="20577"/>
          <ac:spMkLst>
            <pc:docMk/>
            <pc:sldMk cId="2693308933" sldId="2147471864"/>
            <ac:spMk id="9" creationId="{8E076489-02B8-6FF8-ED72-6ADEBBE3566D}"/>
          </ac:spMkLst>
        </pc:spChg>
      </pc:sldChg>
      <pc:sldChg chg="delSp modSp del mod">
        <pc:chgData name="John Paserba" userId="77bd6c8a-d0c1-4fea-8705-0169f65d0c0e" providerId="ADAL" clId="{D8D8FA6A-55CF-4107-B041-515EA4BE0821}" dt="2025-10-14T20:46:22.284" v="1237" actId="478"/>
        <pc:sldMkLst>
          <pc:docMk/>
          <pc:sldMk cId="1823009741" sldId="2147471865"/>
        </pc:sldMkLst>
        <pc:spChg chg="del">
          <ac:chgData name="John Paserba" userId="77bd6c8a-d0c1-4fea-8705-0169f65d0c0e" providerId="ADAL" clId="{D8D8FA6A-55CF-4107-B041-515EA4BE0821}" dt="2025-10-14T20:46:22.284" v="1237" actId="478"/>
          <ac:spMkLst>
            <pc:docMk/>
            <pc:sldMk cId="1823009741" sldId="2147471865"/>
            <ac:spMk id="3" creationId="{47F1DD8A-3F5E-64D0-4879-95F3D07D0CB8}"/>
          </ac:spMkLst>
        </pc:spChg>
        <pc:spChg chg="mod">
          <ac:chgData name="John Paserba" userId="77bd6c8a-d0c1-4fea-8705-0169f65d0c0e" providerId="ADAL" clId="{D8D8FA6A-55CF-4107-B041-515EA4BE0821}" dt="2025-10-14T20:13:09.428" v="796" actId="313"/>
          <ac:spMkLst>
            <pc:docMk/>
            <pc:sldMk cId="1823009741" sldId="2147471865"/>
            <ac:spMk id="9" creationId="{8E076489-02B8-6FF8-ED72-6ADEBBE3566D}"/>
          </ac:spMkLst>
        </pc:spChg>
      </pc:sldChg>
      <pc:sldChg chg="del">
        <pc:chgData name="John Paserba" userId="77bd6c8a-d0c1-4fea-8705-0169f65d0c0e" providerId="ADAL" clId="{D8D8FA6A-55CF-4107-B041-515EA4BE0821}" dt="2025-10-14T20:14:42.052" v="803" actId="47"/>
        <pc:sldMkLst>
          <pc:docMk/>
          <pc:sldMk cId="884995379" sldId="2147471867"/>
        </pc:sldMkLst>
      </pc:sldChg>
      <pc:sldChg chg="delSp modSp mod">
        <pc:chgData name="John Paserba" userId="77bd6c8a-d0c1-4fea-8705-0169f65d0c0e" providerId="ADAL" clId="{D8D8FA6A-55CF-4107-B041-515EA4BE0821}" dt="2025-10-14T19:53:09.449" v="765" actId="20577"/>
        <pc:sldMkLst>
          <pc:docMk/>
          <pc:sldMk cId="2458740875" sldId="2147471871"/>
        </pc:sldMkLst>
        <pc:spChg chg="mod">
          <ac:chgData name="John Paserba" userId="77bd6c8a-d0c1-4fea-8705-0169f65d0c0e" providerId="ADAL" clId="{D8D8FA6A-55CF-4107-B041-515EA4BE0821}" dt="2025-10-14T19:53:09.449" v="765" actId="20577"/>
          <ac:spMkLst>
            <pc:docMk/>
            <pc:sldMk cId="2458740875" sldId="2147471871"/>
            <ac:spMk id="3" creationId="{E6993746-A424-4F09-867F-B919F4E18ECB}"/>
          </ac:spMkLst>
        </pc:spChg>
        <pc:spChg chg="del">
          <ac:chgData name="John Paserba" userId="77bd6c8a-d0c1-4fea-8705-0169f65d0c0e" providerId="ADAL" clId="{D8D8FA6A-55CF-4107-B041-515EA4BE0821}" dt="2025-10-14T19:25:41.367" v="322" actId="478"/>
          <ac:spMkLst>
            <pc:docMk/>
            <pc:sldMk cId="2458740875" sldId="2147471871"/>
            <ac:spMk id="13" creationId="{B69680F1-4F61-4481-B412-232F7ED71FC0}"/>
          </ac:spMkLst>
        </pc:spChg>
      </pc:sldChg>
      <pc:sldChg chg="modSp mod">
        <pc:chgData name="John Paserba" userId="77bd6c8a-d0c1-4fea-8705-0169f65d0c0e" providerId="ADAL" clId="{D8D8FA6A-55CF-4107-B041-515EA4BE0821}" dt="2025-10-14T20:29:18.900" v="841" actId="20577"/>
        <pc:sldMkLst>
          <pc:docMk/>
          <pc:sldMk cId="3592873902" sldId="2147471872"/>
        </pc:sldMkLst>
        <pc:spChg chg="mod">
          <ac:chgData name="John Paserba" userId="77bd6c8a-d0c1-4fea-8705-0169f65d0c0e" providerId="ADAL" clId="{D8D8FA6A-55CF-4107-B041-515EA4BE0821}" dt="2025-10-14T20:29:18.900" v="841" actId="20577"/>
          <ac:spMkLst>
            <pc:docMk/>
            <pc:sldMk cId="3592873902" sldId="2147471872"/>
            <ac:spMk id="3" creationId="{E6993746-A424-4F09-867F-B919F4E18ECB}"/>
          </ac:spMkLst>
        </pc:spChg>
      </pc:sldChg>
      <pc:sldChg chg="modSp mod">
        <pc:chgData name="John Paserba" userId="77bd6c8a-d0c1-4fea-8705-0169f65d0c0e" providerId="ADAL" clId="{D8D8FA6A-55CF-4107-B041-515EA4BE0821}" dt="2025-10-14T20:30:33.206" v="883" actId="20577"/>
        <pc:sldMkLst>
          <pc:docMk/>
          <pc:sldMk cId="2963790451" sldId="2147471873"/>
        </pc:sldMkLst>
        <pc:graphicFrameChg chg="modGraphic">
          <ac:chgData name="John Paserba" userId="77bd6c8a-d0c1-4fea-8705-0169f65d0c0e" providerId="ADAL" clId="{D8D8FA6A-55CF-4107-B041-515EA4BE0821}" dt="2025-10-14T20:30:33.206" v="883" actId="20577"/>
          <ac:graphicFrameMkLst>
            <pc:docMk/>
            <pc:sldMk cId="2963790451" sldId="2147471873"/>
            <ac:graphicFrameMk id="3" creationId="{59480258-15D5-76B7-5FD5-9DA8FE30BC6C}"/>
          </ac:graphicFrameMkLst>
        </pc:graphicFrameChg>
      </pc:sldChg>
      <pc:sldChg chg="del">
        <pc:chgData name="John Paserba" userId="77bd6c8a-d0c1-4fea-8705-0169f65d0c0e" providerId="ADAL" clId="{D8D8FA6A-55CF-4107-B041-515EA4BE0821}" dt="2025-10-14T20:33:06.959" v="974" actId="47"/>
        <pc:sldMkLst>
          <pc:docMk/>
          <pc:sldMk cId="504093160" sldId="2147471874"/>
        </pc:sldMkLst>
      </pc:sldChg>
      <pc:sldChg chg="addSp delSp modSp mod">
        <pc:chgData name="John Paserba" userId="77bd6c8a-d0c1-4fea-8705-0169f65d0c0e" providerId="ADAL" clId="{D8D8FA6A-55CF-4107-B041-515EA4BE0821}" dt="2025-10-14T20:38:54.865" v="1195" actId="20577"/>
        <pc:sldMkLst>
          <pc:docMk/>
          <pc:sldMk cId="2805556490" sldId="2147471874"/>
        </pc:sldMkLst>
        <pc:spChg chg="add del mod">
          <ac:chgData name="John Paserba" userId="77bd6c8a-d0c1-4fea-8705-0169f65d0c0e" providerId="ADAL" clId="{D8D8FA6A-55CF-4107-B041-515EA4BE0821}" dt="2025-10-14T20:37:02.902" v="1017" actId="478"/>
          <ac:spMkLst>
            <pc:docMk/>
            <pc:sldMk cId="2805556490" sldId="2147471874"/>
            <ac:spMk id="3" creationId="{88937A97-F302-4F72-9F1C-D52E158BF98B}"/>
          </ac:spMkLst>
        </pc:spChg>
        <pc:spChg chg="del mod">
          <ac:chgData name="John Paserba" userId="77bd6c8a-d0c1-4fea-8705-0169f65d0c0e" providerId="ADAL" clId="{D8D8FA6A-55CF-4107-B041-515EA4BE0821}" dt="2025-10-14T20:37:01.082" v="1016" actId="478"/>
          <ac:spMkLst>
            <pc:docMk/>
            <pc:sldMk cId="2805556490" sldId="2147471874"/>
            <ac:spMk id="8" creationId="{37CEEF7E-3CE8-42D1-AEB0-A2514859CE49}"/>
          </ac:spMkLst>
        </pc:spChg>
        <pc:spChg chg="add mod">
          <ac:chgData name="John Paserba" userId="77bd6c8a-d0c1-4fea-8705-0169f65d0c0e" providerId="ADAL" clId="{D8D8FA6A-55CF-4107-B041-515EA4BE0821}" dt="2025-10-14T20:38:54.865" v="1195" actId="20577"/>
          <ac:spMkLst>
            <pc:docMk/>
            <pc:sldMk cId="2805556490" sldId="2147471874"/>
            <ac:spMk id="9" creationId="{A403911F-E33B-4F6F-933A-99D0A2535E13}"/>
          </ac:spMkLst>
        </pc:spChg>
        <pc:spChg chg="mod">
          <ac:chgData name="John Paserba" userId="77bd6c8a-d0c1-4fea-8705-0169f65d0c0e" providerId="ADAL" clId="{D8D8FA6A-55CF-4107-B041-515EA4BE0821}" dt="2025-10-14T20:36:13.736" v="1012" actId="255"/>
          <ac:spMkLst>
            <pc:docMk/>
            <pc:sldMk cId="2805556490" sldId="2147471874"/>
            <ac:spMk id="3328002" creationId="{00000000-0000-0000-0000-000000000000}"/>
          </ac:spMkLst>
        </pc:spChg>
      </pc:sldChg>
      <pc:sldChg chg="modSp mod">
        <pc:chgData name="John Paserba" userId="77bd6c8a-d0c1-4fea-8705-0169f65d0c0e" providerId="ADAL" clId="{D8D8FA6A-55CF-4107-B041-515EA4BE0821}" dt="2025-10-14T20:39:47.671" v="1211" actId="20577"/>
        <pc:sldMkLst>
          <pc:docMk/>
          <pc:sldMk cId="2269281244" sldId="2147471875"/>
        </pc:sldMkLst>
        <pc:spChg chg="mod">
          <ac:chgData name="John Paserba" userId="77bd6c8a-d0c1-4fea-8705-0169f65d0c0e" providerId="ADAL" clId="{D8D8FA6A-55CF-4107-B041-515EA4BE0821}" dt="2025-10-14T20:39:47.671" v="1211" actId="20577"/>
          <ac:spMkLst>
            <pc:docMk/>
            <pc:sldMk cId="2269281244" sldId="2147471875"/>
            <ac:spMk id="9" creationId="{A403911F-E33B-4F6F-933A-99D0A2535E13}"/>
          </ac:spMkLst>
        </pc:spChg>
        <pc:spChg chg="mod">
          <ac:chgData name="John Paserba" userId="77bd6c8a-d0c1-4fea-8705-0169f65d0c0e" providerId="ADAL" clId="{D8D8FA6A-55CF-4107-B041-515EA4BE0821}" dt="2025-10-14T20:39:41.472" v="1203" actId="20577"/>
          <ac:spMkLst>
            <pc:docMk/>
            <pc:sldMk cId="2269281244" sldId="2147471875"/>
            <ac:spMk id="3328002" creationId="{00000000-0000-0000-0000-000000000000}"/>
          </ac:spMkLst>
        </pc:spChg>
      </pc:sldChg>
      <pc:sldChg chg="modSp">
        <pc:chgData name="John Paserba" userId="77bd6c8a-d0c1-4fea-8705-0169f65d0c0e" providerId="ADAL" clId="{D8D8FA6A-55CF-4107-B041-515EA4BE0821}" dt="2025-10-14T20:49:16.691" v="1257"/>
        <pc:sldMkLst>
          <pc:docMk/>
          <pc:sldMk cId="43637399" sldId="2147471876"/>
        </pc:sldMkLst>
        <pc:spChg chg="mod">
          <ac:chgData name="John Paserba" userId="77bd6c8a-d0c1-4fea-8705-0169f65d0c0e" providerId="ADAL" clId="{D8D8FA6A-55CF-4107-B041-515EA4BE0821}" dt="2025-10-14T20:49:16.691" v="1257"/>
          <ac:spMkLst>
            <pc:docMk/>
            <pc:sldMk cId="43637399" sldId="2147471876"/>
            <ac:spMk id="3328002" creationId="{2BB2301A-6EE6-752E-4DB4-915D339D5FA2}"/>
          </ac:spMkLst>
        </pc:spChg>
      </pc:sldChg>
      <pc:sldChg chg="modSp">
        <pc:chgData name="John Paserba" userId="77bd6c8a-d0c1-4fea-8705-0169f65d0c0e" providerId="ADAL" clId="{D8D8FA6A-55CF-4107-B041-515EA4BE0821}" dt="2025-10-14T20:49:23.581" v="1259"/>
        <pc:sldMkLst>
          <pc:docMk/>
          <pc:sldMk cId="2362021607" sldId="2147471877"/>
        </pc:sldMkLst>
        <pc:spChg chg="mod">
          <ac:chgData name="John Paserba" userId="77bd6c8a-d0c1-4fea-8705-0169f65d0c0e" providerId="ADAL" clId="{D8D8FA6A-55CF-4107-B041-515EA4BE0821}" dt="2025-10-14T20:49:23.581" v="1259"/>
          <ac:spMkLst>
            <pc:docMk/>
            <pc:sldMk cId="2362021607" sldId="2147471877"/>
            <ac:spMk id="3328002" creationId="{D8CF9F03-DFBA-ABC4-E82C-A9FC033261B6}"/>
          </ac:spMkLst>
        </pc:spChg>
      </pc:sldChg>
      <pc:sldChg chg="modSp">
        <pc:chgData name="John Paserba" userId="77bd6c8a-d0c1-4fea-8705-0169f65d0c0e" providerId="ADAL" clId="{D8D8FA6A-55CF-4107-B041-515EA4BE0821}" dt="2025-10-14T20:49:27.131" v="1260"/>
        <pc:sldMkLst>
          <pc:docMk/>
          <pc:sldMk cId="2029220160" sldId="2147471878"/>
        </pc:sldMkLst>
        <pc:spChg chg="mod">
          <ac:chgData name="John Paserba" userId="77bd6c8a-d0c1-4fea-8705-0169f65d0c0e" providerId="ADAL" clId="{D8D8FA6A-55CF-4107-B041-515EA4BE0821}" dt="2025-10-14T20:49:27.131" v="1260"/>
          <ac:spMkLst>
            <pc:docMk/>
            <pc:sldMk cId="2029220160" sldId="2147471878"/>
            <ac:spMk id="3328002" creationId="{00000000-0000-0000-0000-000000000000}"/>
          </ac:spMkLst>
        </pc:spChg>
      </pc:sldChg>
      <pc:sldChg chg="modSp">
        <pc:chgData name="John Paserba" userId="77bd6c8a-d0c1-4fea-8705-0169f65d0c0e" providerId="ADAL" clId="{D8D8FA6A-55CF-4107-B041-515EA4BE0821}" dt="2025-10-14T20:49:30.096" v="1261"/>
        <pc:sldMkLst>
          <pc:docMk/>
          <pc:sldMk cId="1958876136" sldId="2147471879"/>
        </pc:sldMkLst>
        <pc:spChg chg="mod">
          <ac:chgData name="John Paserba" userId="77bd6c8a-d0c1-4fea-8705-0169f65d0c0e" providerId="ADAL" clId="{D8D8FA6A-55CF-4107-B041-515EA4BE0821}" dt="2025-10-14T20:49:30.096" v="1261"/>
          <ac:spMkLst>
            <pc:docMk/>
            <pc:sldMk cId="1958876136" sldId="2147471879"/>
            <ac:spMk id="3328002" creationId="{5E24D7C5-6186-B6CD-3F2C-DAB4DF55DB9B}"/>
          </ac:spMkLst>
        </pc:spChg>
      </pc:sldChg>
      <pc:sldChg chg="modSp">
        <pc:chgData name="John Paserba" userId="77bd6c8a-d0c1-4fea-8705-0169f65d0c0e" providerId="ADAL" clId="{D8D8FA6A-55CF-4107-B041-515EA4BE0821}" dt="2025-10-14T20:49:34.140" v="1262"/>
        <pc:sldMkLst>
          <pc:docMk/>
          <pc:sldMk cId="2090766154" sldId="2147471880"/>
        </pc:sldMkLst>
        <pc:spChg chg="mod">
          <ac:chgData name="John Paserba" userId="77bd6c8a-d0c1-4fea-8705-0169f65d0c0e" providerId="ADAL" clId="{D8D8FA6A-55CF-4107-B041-515EA4BE0821}" dt="2025-10-14T20:49:34.140" v="1262"/>
          <ac:spMkLst>
            <pc:docMk/>
            <pc:sldMk cId="2090766154" sldId="2147471880"/>
            <ac:spMk id="3328002" creationId="{00000000-0000-0000-0000-000000000000}"/>
          </ac:spMkLst>
        </pc:spChg>
      </pc:sldChg>
      <pc:sldChg chg="modSp">
        <pc:chgData name="John Paserba" userId="77bd6c8a-d0c1-4fea-8705-0169f65d0c0e" providerId="ADAL" clId="{D8D8FA6A-55CF-4107-B041-515EA4BE0821}" dt="2025-10-14T20:49:37.826" v="1263"/>
        <pc:sldMkLst>
          <pc:docMk/>
          <pc:sldMk cId="2817930747" sldId="2147471881"/>
        </pc:sldMkLst>
        <pc:spChg chg="mod">
          <ac:chgData name="John Paserba" userId="77bd6c8a-d0c1-4fea-8705-0169f65d0c0e" providerId="ADAL" clId="{D8D8FA6A-55CF-4107-B041-515EA4BE0821}" dt="2025-10-14T20:49:37.826" v="1263"/>
          <ac:spMkLst>
            <pc:docMk/>
            <pc:sldMk cId="2817930747" sldId="2147471881"/>
            <ac:spMk id="3328002" creationId="{00000000-0000-0000-0000-000000000000}"/>
          </ac:spMkLst>
        </pc:spChg>
      </pc:sldChg>
      <pc:sldChg chg="addSp delSp modSp add mod">
        <pc:chgData name="John Paserba" userId="77bd6c8a-d0c1-4fea-8705-0169f65d0c0e" providerId="ADAL" clId="{D8D8FA6A-55CF-4107-B041-515EA4BE0821}" dt="2025-10-14T21:06:00.730" v="1336" actId="1076"/>
        <pc:sldMkLst>
          <pc:docMk/>
          <pc:sldMk cId="2212209976" sldId="2147471882"/>
        </pc:sldMkLst>
        <pc:spChg chg="del mod">
          <ac:chgData name="John Paserba" userId="77bd6c8a-d0c1-4fea-8705-0169f65d0c0e" providerId="ADAL" clId="{D8D8FA6A-55CF-4107-B041-515EA4BE0821}" dt="2025-10-14T21:04:38.434" v="1327" actId="478"/>
          <ac:spMkLst>
            <pc:docMk/>
            <pc:sldMk cId="2212209976" sldId="2147471882"/>
            <ac:spMk id="12" creationId="{1700755D-345B-46CD-84C7-0F0FA4384C36}"/>
          </ac:spMkLst>
        </pc:spChg>
        <pc:spChg chg="add mod">
          <ac:chgData name="John Paserba" userId="77bd6c8a-d0c1-4fea-8705-0169f65d0c0e" providerId="ADAL" clId="{D8D8FA6A-55CF-4107-B041-515EA4BE0821}" dt="2025-10-14T21:04:32.272" v="1324" actId="1076"/>
          <ac:spMkLst>
            <pc:docMk/>
            <pc:sldMk cId="2212209976" sldId="2147471882"/>
            <ac:spMk id="14" creationId="{4444EC2D-BC17-423D-834E-E95AD4F83124}"/>
          </ac:spMkLst>
        </pc:spChg>
        <pc:spChg chg="add mod">
          <ac:chgData name="John Paserba" userId="77bd6c8a-d0c1-4fea-8705-0169f65d0c0e" providerId="ADAL" clId="{D8D8FA6A-55CF-4107-B041-515EA4BE0821}" dt="2025-10-14T21:04:32.272" v="1324" actId="1076"/>
          <ac:spMkLst>
            <pc:docMk/>
            <pc:sldMk cId="2212209976" sldId="2147471882"/>
            <ac:spMk id="18" creationId="{C67D365B-48DE-4DE3-8882-288BF46FA615}"/>
          </ac:spMkLst>
        </pc:spChg>
        <pc:spChg chg="del">
          <ac:chgData name="John Paserba" userId="77bd6c8a-d0c1-4fea-8705-0169f65d0c0e" providerId="ADAL" clId="{D8D8FA6A-55CF-4107-B041-515EA4BE0821}" dt="2025-10-14T21:04:47.843" v="1330" actId="478"/>
          <ac:spMkLst>
            <pc:docMk/>
            <pc:sldMk cId="2212209976" sldId="2147471882"/>
            <ac:spMk id="19" creationId="{00000000-0000-0000-0000-000000000000}"/>
          </ac:spMkLst>
        </pc:spChg>
        <pc:spChg chg="add mod">
          <ac:chgData name="John Paserba" userId="77bd6c8a-d0c1-4fea-8705-0169f65d0c0e" providerId="ADAL" clId="{D8D8FA6A-55CF-4107-B041-515EA4BE0821}" dt="2025-10-14T21:04:32.272" v="1324" actId="1076"/>
          <ac:spMkLst>
            <pc:docMk/>
            <pc:sldMk cId="2212209976" sldId="2147471882"/>
            <ac:spMk id="21" creationId="{A6E9BBBE-9A4C-4B24-991F-88C62CF0BDC1}"/>
          </ac:spMkLst>
        </pc:spChg>
        <pc:spChg chg="add mod">
          <ac:chgData name="John Paserba" userId="77bd6c8a-d0c1-4fea-8705-0169f65d0c0e" providerId="ADAL" clId="{D8D8FA6A-55CF-4107-B041-515EA4BE0821}" dt="2025-10-14T21:04:32.272" v="1324" actId="1076"/>
          <ac:spMkLst>
            <pc:docMk/>
            <pc:sldMk cId="2212209976" sldId="2147471882"/>
            <ac:spMk id="22" creationId="{305FC607-5752-4B78-86D0-CB13DA743E1B}"/>
          </ac:spMkLst>
        </pc:spChg>
        <pc:spChg chg="add del mod">
          <ac:chgData name="John Paserba" userId="77bd6c8a-d0c1-4fea-8705-0169f65d0c0e" providerId="ADAL" clId="{D8D8FA6A-55CF-4107-B041-515EA4BE0821}" dt="2025-10-14T21:04:35.486" v="1325" actId="478"/>
          <ac:spMkLst>
            <pc:docMk/>
            <pc:sldMk cId="2212209976" sldId="2147471882"/>
            <ac:spMk id="25" creationId="{611F0035-1581-41B2-90EA-14D585ED81E4}"/>
          </ac:spMkLst>
        </pc:spChg>
        <pc:graphicFrameChg chg="add mod">
          <ac:chgData name="John Paserba" userId="77bd6c8a-d0c1-4fea-8705-0169f65d0c0e" providerId="ADAL" clId="{D8D8FA6A-55CF-4107-B041-515EA4BE0821}" dt="2025-10-14T21:04:32.272" v="1324" actId="1076"/>
          <ac:graphicFrameMkLst>
            <pc:docMk/>
            <pc:sldMk cId="2212209976" sldId="2147471882"/>
            <ac:graphicFrameMk id="13" creationId="{E4EAC122-BC24-4722-A8A3-20B33B30BCAB}"/>
          </ac:graphicFrameMkLst>
        </pc:graphicFrameChg>
        <pc:graphicFrameChg chg="add mod">
          <ac:chgData name="John Paserba" userId="77bd6c8a-d0c1-4fea-8705-0169f65d0c0e" providerId="ADAL" clId="{D8D8FA6A-55CF-4107-B041-515EA4BE0821}" dt="2025-10-14T21:04:32.272" v="1324" actId="1076"/>
          <ac:graphicFrameMkLst>
            <pc:docMk/>
            <pc:sldMk cId="2212209976" sldId="2147471882"/>
            <ac:graphicFrameMk id="16" creationId="{C94C7E2C-C442-4328-8C59-724F50339345}"/>
          </ac:graphicFrameMkLst>
        </pc:graphicFrameChg>
        <pc:graphicFrameChg chg="add mod">
          <ac:chgData name="John Paserba" userId="77bd6c8a-d0c1-4fea-8705-0169f65d0c0e" providerId="ADAL" clId="{D8D8FA6A-55CF-4107-B041-515EA4BE0821}" dt="2025-10-14T21:06:00.730" v="1336" actId="1076"/>
          <ac:graphicFrameMkLst>
            <pc:docMk/>
            <pc:sldMk cId="2212209976" sldId="2147471882"/>
            <ac:graphicFrameMk id="20" creationId="{79482D8B-F574-4B06-A51B-3DD25DB3AE8A}"/>
          </ac:graphicFrameMkLst>
        </pc:graphicFrameChg>
        <pc:graphicFrameChg chg="mod">
          <ac:chgData name="John Paserba" userId="77bd6c8a-d0c1-4fea-8705-0169f65d0c0e" providerId="ADAL" clId="{D8D8FA6A-55CF-4107-B041-515EA4BE0821}" dt="2025-10-14T21:04:50.263" v="1331" actId="6549"/>
          <ac:graphicFrameMkLst>
            <pc:docMk/>
            <pc:sldMk cId="2212209976" sldId="2147471882"/>
            <ac:graphicFrameMk id="24" creationId="{15813888-BDE7-483A-B111-3A6C5F25E35B}"/>
          </ac:graphicFrameMkLst>
        </pc:graphicFrameChg>
      </pc:sldChg>
      <pc:sldMasterChg chg="delSldLayout">
        <pc:chgData name="John Paserba" userId="77bd6c8a-d0c1-4fea-8705-0169f65d0c0e" providerId="ADAL" clId="{D8D8FA6A-55CF-4107-B041-515EA4BE0821}" dt="2025-10-14T20:16:52.816" v="817" actId="47"/>
        <pc:sldMasterMkLst>
          <pc:docMk/>
          <pc:sldMasterMk cId="1001239418" sldId="2147483845"/>
        </pc:sldMasterMkLst>
        <pc:sldLayoutChg chg="del">
          <pc:chgData name="John Paserba" userId="77bd6c8a-d0c1-4fea-8705-0169f65d0c0e" providerId="ADAL" clId="{D8D8FA6A-55CF-4107-B041-515EA4BE0821}" dt="2025-10-14T20:16:52.816" v="817" actId="47"/>
          <pc:sldLayoutMkLst>
            <pc:docMk/>
            <pc:sldMasterMk cId="1001239418" sldId="2147483845"/>
            <pc:sldLayoutMk cId="1497713097" sldId="2147483882"/>
          </pc:sldLayoutMkLst>
        </pc:sldLayoutChg>
      </pc:sldMasterChg>
    </pc:docChg>
  </pc:docChgLst>
  <pc:docChgLst>
    <pc:chgData name="John Paserba" userId="77bd6c8a-d0c1-4fea-8705-0169f65d0c0e" providerId="ADAL" clId="{CBB0A6FA-A57E-49E4-9D31-FEE84FB9E95D}"/>
    <pc:docChg chg="custSel modSld">
      <pc:chgData name="John Paserba" userId="77bd6c8a-d0c1-4fea-8705-0169f65d0c0e" providerId="ADAL" clId="{CBB0A6FA-A57E-49E4-9D31-FEE84FB9E95D}" dt="2025-11-17T16:23:12.515" v="24" actId="12"/>
      <pc:docMkLst>
        <pc:docMk/>
      </pc:docMkLst>
      <pc:sldChg chg="modSp mod">
        <pc:chgData name="John Paserba" userId="77bd6c8a-d0c1-4fea-8705-0169f65d0c0e" providerId="ADAL" clId="{CBB0A6FA-A57E-49E4-9D31-FEE84FB9E95D}" dt="2025-11-17T16:23:12.515" v="24" actId="12"/>
        <pc:sldMkLst>
          <pc:docMk/>
          <pc:sldMk cId="1179040267" sldId="2147471951"/>
        </pc:sldMkLst>
        <pc:spChg chg="mod">
          <ac:chgData name="John Paserba" userId="77bd6c8a-d0c1-4fea-8705-0169f65d0c0e" providerId="ADAL" clId="{CBB0A6FA-A57E-49E4-9D31-FEE84FB9E95D}" dt="2025-11-17T16:23:12.515" v="24" actId="12"/>
          <ac:spMkLst>
            <pc:docMk/>
            <pc:sldMk cId="1179040267" sldId="2147471951"/>
            <ac:spMk id="3" creationId="{E6993746-A424-4F09-867F-B919F4E18ECB}"/>
          </ac:spMkLst>
        </pc:spChg>
      </pc:sldChg>
      <pc:sldChg chg="modSp mod">
        <pc:chgData name="John Paserba" userId="77bd6c8a-d0c1-4fea-8705-0169f65d0c0e" providerId="ADAL" clId="{CBB0A6FA-A57E-49E4-9D31-FEE84FB9E95D}" dt="2025-11-17T16:21:22.010" v="14" actId="207"/>
        <pc:sldMkLst>
          <pc:docMk/>
          <pc:sldMk cId="1217208925" sldId="2147471953"/>
        </pc:sldMkLst>
        <pc:spChg chg="mod">
          <ac:chgData name="John Paserba" userId="77bd6c8a-d0c1-4fea-8705-0169f65d0c0e" providerId="ADAL" clId="{CBB0A6FA-A57E-49E4-9D31-FEE84FB9E95D}" dt="2025-11-17T16:21:22.010" v="14" actId="207"/>
          <ac:spMkLst>
            <pc:docMk/>
            <pc:sldMk cId="1217208925" sldId="2147471953"/>
            <ac:spMk id="3" creationId="{E6993746-A424-4F09-867F-B919F4E18ECB}"/>
          </ac:spMkLst>
        </pc:spChg>
      </pc:sldChg>
    </pc:docChg>
  </pc:docChgLst>
  <pc:docChgLst>
    <pc:chgData name="John Paserba" userId="77bd6c8a-d0c1-4fea-8705-0169f65d0c0e" providerId="ADAL" clId="{C4B84DB1-5F74-421B-920C-12B666C7B94D}"/>
    <pc:docChg chg="custSel delSld modSld delMainMaster">
      <pc:chgData name="John Paserba" userId="77bd6c8a-d0c1-4fea-8705-0169f65d0c0e" providerId="ADAL" clId="{C4B84DB1-5F74-421B-920C-12B666C7B94D}" dt="2025-08-16T21:37:46.453" v="11" actId="47"/>
      <pc:docMkLst>
        <pc:docMk/>
      </pc:docMkLst>
      <pc:sldChg chg="del">
        <pc:chgData name="John Paserba" userId="77bd6c8a-d0c1-4fea-8705-0169f65d0c0e" providerId="ADAL" clId="{C4B84DB1-5F74-421B-920C-12B666C7B94D}" dt="2025-08-16T21:37:28.542" v="7" actId="47"/>
        <pc:sldMkLst>
          <pc:docMk/>
          <pc:sldMk cId="2521621173" sldId="2147471011"/>
        </pc:sldMkLst>
      </pc:sldChg>
      <pc:sldChg chg="del">
        <pc:chgData name="John Paserba" userId="77bd6c8a-d0c1-4fea-8705-0169f65d0c0e" providerId="ADAL" clId="{C4B84DB1-5F74-421B-920C-12B666C7B94D}" dt="2025-08-16T21:37:28.542" v="7" actId="47"/>
        <pc:sldMkLst>
          <pc:docMk/>
          <pc:sldMk cId="3482163997" sldId="2147471283"/>
        </pc:sldMkLst>
      </pc:sldChg>
      <pc:sldChg chg="del">
        <pc:chgData name="John Paserba" userId="77bd6c8a-d0c1-4fea-8705-0169f65d0c0e" providerId="ADAL" clId="{C4B84DB1-5F74-421B-920C-12B666C7B94D}" dt="2025-08-16T21:37:28.542" v="7" actId="47"/>
        <pc:sldMkLst>
          <pc:docMk/>
          <pc:sldMk cId="1789101232" sldId="2147471322"/>
        </pc:sldMkLst>
      </pc:sldChg>
      <pc:sldChg chg="del">
        <pc:chgData name="John Paserba" userId="77bd6c8a-d0c1-4fea-8705-0169f65d0c0e" providerId="ADAL" clId="{C4B84DB1-5F74-421B-920C-12B666C7B94D}" dt="2025-08-16T21:37:28.542" v="7" actId="47"/>
        <pc:sldMkLst>
          <pc:docMk/>
          <pc:sldMk cId="227166264" sldId="2147471327"/>
        </pc:sldMkLst>
      </pc:sldChg>
      <pc:sldChg chg="del">
        <pc:chgData name="John Paserba" userId="77bd6c8a-d0c1-4fea-8705-0169f65d0c0e" providerId="ADAL" clId="{C4B84DB1-5F74-421B-920C-12B666C7B94D}" dt="2025-08-16T21:37:28.542" v="7" actId="47"/>
        <pc:sldMkLst>
          <pc:docMk/>
          <pc:sldMk cId="4270083759" sldId="2147471342"/>
        </pc:sldMkLst>
      </pc:sldChg>
      <pc:sldChg chg="del">
        <pc:chgData name="John Paserba" userId="77bd6c8a-d0c1-4fea-8705-0169f65d0c0e" providerId="ADAL" clId="{C4B84DB1-5F74-421B-920C-12B666C7B94D}" dt="2025-08-16T21:37:28.542" v="7" actId="47"/>
        <pc:sldMkLst>
          <pc:docMk/>
          <pc:sldMk cId="158777242" sldId="2147471343"/>
        </pc:sldMkLst>
      </pc:sldChg>
      <pc:sldChg chg="del">
        <pc:chgData name="John Paserba" userId="77bd6c8a-d0c1-4fea-8705-0169f65d0c0e" providerId="ADAL" clId="{C4B84DB1-5F74-421B-920C-12B666C7B94D}" dt="2025-08-16T21:37:28.542" v="7" actId="47"/>
        <pc:sldMkLst>
          <pc:docMk/>
          <pc:sldMk cId="828907581" sldId="2147471344"/>
        </pc:sldMkLst>
      </pc:sldChg>
      <pc:sldChg chg="del">
        <pc:chgData name="John Paserba" userId="77bd6c8a-d0c1-4fea-8705-0169f65d0c0e" providerId="ADAL" clId="{C4B84DB1-5F74-421B-920C-12B666C7B94D}" dt="2025-08-16T21:37:28.542" v="7" actId="47"/>
        <pc:sldMkLst>
          <pc:docMk/>
          <pc:sldMk cId="195241491" sldId="2147471370"/>
        </pc:sldMkLst>
      </pc:sldChg>
      <pc:sldChg chg="del">
        <pc:chgData name="John Paserba" userId="77bd6c8a-d0c1-4fea-8705-0169f65d0c0e" providerId="ADAL" clId="{C4B84DB1-5F74-421B-920C-12B666C7B94D}" dt="2025-08-16T21:37:28.542" v="7" actId="47"/>
        <pc:sldMkLst>
          <pc:docMk/>
          <pc:sldMk cId="4170103928" sldId="2147471371"/>
        </pc:sldMkLst>
      </pc:sldChg>
      <pc:sldChg chg="del">
        <pc:chgData name="John Paserba" userId="77bd6c8a-d0c1-4fea-8705-0169f65d0c0e" providerId="ADAL" clId="{C4B84DB1-5F74-421B-920C-12B666C7B94D}" dt="2025-08-16T21:37:31.959" v="8" actId="47"/>
        <pc:sldMkLst>
          <pc:docMk/>
          <pc:sldMk cId="2676973762" sldId="2147471372"/>
        </pc:sldMkLst>
      </pc:sldChg>
      <pc:sldChg chg="del">
        <pc:chgData name="John Paserba" userId="77bd6c8a-d0c1-4fea-8705-0169f65d0c0e" providerId="ADAL" clId="{C4B84DB1-5F74-421B-920C-12B666C7B94D}" dt="2025-08-16T21:37:28.542" v="7" actId="47"/>
        <pc:sldMkLst>
          <pc:docMk/>
          <pc:sldMk cId="3498029312" sldId="2147471414"/>
        </pc:sldMkLst>
      </pc:sldChg>
      <pc:sldChg chg="del">
        <pc:chgData name="John Paserba" userId="77bd6c8a-d0c1-4fea-8705-0169f65d0c0e" providerId="ADAL" clId="{C4B84DB1-5F74-421B-920C-12B666C7B94D}" dt="2025-08-16T21:37:28.542" v="7" actId="47"/>
        <pc:sldMkLst>
          <pc:docMk/>
          <pc:sldMk cId="609624571" sldId="2147471423"/>
        </pc:sldMkLst>
      </pc:sldChg>
      <pc:sldChg chg="del">
        <pc:chgData name="John Paserba" userId="77bd6c8a-d0c1-4fea-8705-0169f65d0c0e" providerId="ADAL" clId="{C4B84DB1-5F74-421B-920C-12B666C7B94D}" dt="2025-08-16T21:37:41.949" v="10" actId="47"/>
        <pc:sldMkLst>
          <pc:docMk/>
          <pc:sldMk cId="591490453" sldId="2147471424"/>
        </pc:sldMkLst>
      </pc:sldChg>
      <pc:sldChg chg="del">
        <pc:chgData name="John Paserba" userId="77bd6c8a-d0c1-4fea-8705-0169f65d0c0e" providerId="ADAL" clId="{C4B84DB1-5F74-421B-920C-12B666C7B94D}" dt="2025-08-16T21:36:20.023" v="1" actId="47"/>
        <pc:sldMkLst>
          <pc:docMk/>
          <pc:sldMk cId="4140170611" sldId="2147471425"/>
        </pc:sldMkLst>
      </pc:sldChg>
      <pc:sldChg chg="del">
        <pc:chgData name="John Paserba" userId="77bd6c8a-d0c1-4fea-8705-0169f65d0c0e" providerId="ADAL" clId="{C4B84DB1-5F74-421B-920C-12B666C7B94D}" dt="2025-08-16T21:36:15.511" v="0" actId="47"/>
        <pc:sldMkLst>
          <pc:docMk/>
          <pc:sldMk cId="1427769353" sldId="2147471426"/>
        </pc:sldMkLst>
      </pc:sldChg>
      <pc:sldChg chg="del">
        <pc:chgData name="John Paserba" userId="77bd6c8a-d0c1-4fea-8705-0169f65d0c0e" providerId="ADAL" clId="{C4B84DB1-5F74-421B-920C-12B666C7B94D}" dt="2025-08-16T21:37:28.542" v="7" actId="47"/>
        <pc:sldMkLst>
          <pc:docMk/>
          <pc:sldMk cId="29349428" sldId="2147471427"/>
        </pc:sldMkLst>
      </pc:sldChg>
      <pc:sldChg chg="del">
        <pc:chgData name="John Paserba" userId="77bd6c8a-d0c1-4fea-8705-0169f65d0c0e" providerId="ADAL" clId="{C4B84DB1-5F74-421B-920C-12B666C7B94D}" dt="2025-08-16T21:37:28.542" v="7" actId="47"/>
        <pc:sldMkLst>
          <pc:docMk/>
          <pc:sldMk cId="3658783816" sldId="2147471428"/>
        </pc:sldMkLst>
      </pc:sldChg>
      <pc:sldChg chg="del">
        <pc:chgData name="John Paserba" userId="77bd6c8a-d0c1-4fea-8705-0169f65d0c0e" providerId="ADAL" clId="{C4B84DB1-5F74-421B-920C-12B666C7B94D}" dt="2025-08-16T21:37:28.542" v="7" actId="47"/>
        <pc:sldMkLst>
          <pc:docMk/>
          <pc:sldMk cId="2994458618" sldId="2147471429"/>
        </pc:sldMkLst>
      </pc:sldChg>
      <pc:sldChg chg="del">
        <pc:chgData name="John Paserba" userId="77bd6c8a-d0c1-4fea-8705-0169f65d0c0e" providerId="ADAL" clId="{C4B84DB1-5F74-421B-920C-12B666C7B94D}" dt="2025-08-16T21:37:28.542" v="7" actId="47"/>
        <pc:sldMkLst>
          <pc:docMk/>
          <pc:sldMk cId="1083063218" sldId="2147471430"/>
        </pc:sldMkLst>
      </pc:sldChg>
      <pc:sldChg chg="del">
        <pc:chgData name="John Paserba" userId="77bd6c8a-d0c1-4fea-8705-0169f65d0c0e" providerId="ADAL" clId="{C4B84DB1-5F74-421B-920C-12B666C7B94D}" dt="2025-08-16T21:36:15.511" v="0" actId="47"/>
        <pc:sldMkLst>
          <pc:docMk/>
          <pc:sldMk cId="2682349257" sldId="2147471431"/>
        </pc:sldMkLst>
      </pc:sldChg>
      <pc:sldChg chg="del">
        <pc:chgData name="John Paserba" userId="77bd6c8a-d0c1-4fea-8705-0169f65d0c0e" providerId="ADAL" clId="{C4B84DB1-5F74-421B-920C-12B666C7B94D}" dt="2025-08-16T21:37:39.215" v="9" actId="47"/>
        <pc:sldMkLst>
          <pc:docMk/>
          <pc:sldMk cId="2055567960" sldId="2147471432"/>
        </pc:sldMkLst>
      </pc:sldChg>
      <pc:sldChg chg="del">
        <pc:chgData name="John Paserba" userId="77bd6c8a-d0c1-4fea-8705-0169f65d0c0e" providerId="ADAL" clId="{C4B84DB1-5F74-421B-920C-12B666C7B94D}" dt="2025-08-16T21:37:28.542" v="7" actId="47"/>
        <pc:sldMkLst>
          <pc:docMk/>
          <pc:sldMk cId="3744353635" sldId="2147471433"/>
        </pc:sldMkLst>
      </pc:sldChg>
      <pc:sldChg chg="del">
        <pc:chgData name="John Paserba" userId="77bd6c8a-d0c1-4fea-8705-0169f65d0c0e" providerId="ADAL" clId="{C4B84DB1-5F74-421B-920C-12B666C7B94D}" dt="2025-08-16T21:37:28.542" v="7" actId="47"/>
        <pc:sldMkLst>
          <pc:docMk/>
          <pc:sldMk cId="3520118656" sldId="2147471467"/>
        </pc:sldMkLst>
      </pc:sldChg>
      <pc:sldChg chg="del">
        <pc:chgData name="John Paserba" userId="77bd6c8a-d0c1-4fea-8705-0169f65d0c0e" providerId="ADAL" clId="{C4B84DB1-5F74-421B-920C-12B666C7B94D}" dt="2025-08-16T21:37:28.542" v="7" actId="47"/>
        <pc:sldMkLst>
          <pc:docMk/>
          <pc:sldMk cId="2579604733" sldId="2147471482"/>
        </pc:sldMkLst>
      </pc:sldChg>
      <pc:sldChg chg="del">
        <pc:chgData name="John Paserba" userId="77bd6c8a-d0c1-4fea-8705-0169f65d0c0e" providerId="ADAL" clId="{C4B84DB1-5F74-421B-920C-12B666C7B94D}" dt="2025-08-16T21:37:28.542" v="7" actId="47"/>
        <pc:sldMkLst>
          <pc:docMk/>
          <pc:sldMk cId="738952954" sldId="2147471483"/>
        </pc:sldMkLst>
      </pc:sldChg>
      <pc:sldChg chg="del">
        <pc:chgData name="John Paserba" userId="77bd6c8a-d0c1-4fea-8705-0169f65d0c0e" providerId="ADAL" clId="{C4B84DB1-5F74-421B-920C-12B666C7B94D}" dt="2025-08-16T21:37:28.542" v="7" actId="47"/>
        <pc:sldMkLst>
          <pc:docMk/>
          <pc:sldMk cId="2160944429" sldId="2147471485"/>
        </pc:sldMkLst>
      </pc:sldChg>
      <pc:sldChg chg="del">
        <pc:chgData name="John Paserba" userId="77bd6c8a-d0c1-4fea-8705-0169f65d0c0e" providerId="ADAL" clId="{C4B84DB1-5F74-421B-920C-12B666C7B94D}" dt="2025-08-16T21:37:28.542" v="7" actId="47"/>
        <pc:sldMkLst>
          <pc:docMk/>
          <pc:sldMk cId="1243136271" sldId="2147471486"/>
        </pc:sldMkLst>
      </pc:sldChg>
      <pc:sldChg chg="del">
        <pc:chgData name="John Paserba" userId="77bd6c8a-d0c1-4fea-8705-0169f65d0c0e" providerId="ADAL" clId="{C4B84DB1-5F74-421B-920C-12B666C7B94D}" dt="2025-08-16T21:37:28.542" v="7" actId="47"/>
        <pc:sldMkLst>
          <pc:docMk/>
          <pc:sldMk cId="36691321" sldId="2147471487"/>
        </pc:sldMkLst>
      </pc:sldChg>
      <pc:sldChg chg="del">
        <pc:chgData name="John Paserba" userId="77bd6c8a-d0c1-4fea-8705-0169f65d0c0e" providerId="ADAL" clId="{C4B84DB1-5F74-421B-920C-12B666C7B94D}" dt="2025-08-16T21:37:28.542" v="7" actId="47"/>
        <pc:sldMkLst>
          <pc:docMk/>
          <pc:sldMk cId="777246713" sldId="2147471488"/>
        </pc:sldMkLst>
      </pc:sldChg>
      <pc:sldChg chg="del">
        <pc:chgData name="John Paserba" userId="77bd6c8a-d0c1-4fea-8705-0169f65d0c0e" providerId="ADAL" clId="{C4B84DB1-5F74-421B-920C-12B666C7B94D}" dt="2025-08-16T21:37:28.542" v="7" actId="47"/>
        <pc:sldMkLst>
          <pc:docMk/>
          <pc:sldMk cId="190898153" sldId="2147471496"/>
        </pc:sldMkLst>
      </pc:sldChg>
      <pc:sldChg chg="del">
        <pc:chgData name="John Paserba" userId="77bd6c8a-d0c1-4fea-8705-0169f65d0c0e" providerId="ADAL" clId="{C4B84DB1-5F74-421B-920C-12B666C7B94D}" dt="2025-08-16T21:37:28.542" v="7" actId="47"/>
        <pc:sldMkLst>
          <pc:docMk/>
          <pc:sldMk cId="626359095" sldId="2147471497"/>
        </pc:sldMkLst>
      </pc:sldChg>
      <pc:sldChg chg="del">
        <pc:chgData name="John Paserba" userId="77bd6c8a-d0c1-4fea-8705-0169f65d0c0e" providerId="ADAL" clId="{C4B84DB1-5F74-421B-920C-12B666C7B94D}" dt="2025-08-16T21:37:28.542" v="7" actId="47"/>
        <pc:sldMkLst>
          <pc:docMk/>
          <pc:sldMk cId="1348948237" sldId="2147471498"/>
        </pc:sldMkLst>
      </pc:sldChg>
      <pc:sldChg chg="del">
        <pc:chgData name="John Paserba" userId="77bd6c8a-d0c1-4fea-8705-0169f65d0c0e" providerId="ADAL" clId="{C4B84DB1-5F74-421B-920C-12B666C7B94D}" dt="2025-08-16T21:37:28.542" v="7" actId="47"/>
        <pc:sldMkLst>
          <pc:docMk/>
          <pc:sldMk cId="1509309180" sldId="2147471499"/>
        </pc:sldMkLst>
      </pc:sldChg>
      <pc:sldChg chg="del">
        <pc:chgData name="John Paserba" userId="77bd6c8a-d0c1-4fea-8705-0169f65d0c0e" providerId="ADAL" clId="{C4B84DB1-5F74-421B-920C-12B666C7B94D}" dt="2025-08-16T21:36:56.121" v="4" actId="47"/>
        <pc:sldMkLst>
          <pc:docMk/>
          <pc:sldMk cId="3578346428" sldId="2147471500"/>
        </pc:sldMkLst>
      </pc:sldChg>
      <pc:sldChg chg="del">
        <pc:chgData name="John Paserba" userId="77bd6c8a-d0c1-4fea-8705-0169f65d0c0e" providerId="ADAL" clId="{C4B84DB1-5F74-421B-920C-12B666C7B94D}" dt="2025-08-16T21:37:28.542" v="7" actId="47"/>
        <pc:sldMkLst>
          <pc:docMk/>
          <pc:sldMk cId="17225138" sldId="2147471503"/>
        </pc:sldMkLst>
      </pc:sldChg>
      <pc:sldChg chg="del">
        <pc:chgData name="John Paserba" userId="77bd6c8a-d0c1-4fea-8705-0169f65d0c0e" providerId="ADAL" clId="{C4B84DB1-5F74-421B-920C-12B666C7B94D}" dt="2025-08-16T21:36:56.121" v="4" actId="47"/>
        <pc:sldMkLst>
          <pc:docMk/>
          <pc:sldMk cId="2231163395" sldId="2147471510"/>
        </pc:sldMkLst>
      </pc:sldChg>
      <pc:sldChg chg="del">
        <pc:chgData name="John Paserba" userId="77bd6c8a-d0c1-4fea-8705-0169f65d0c0e" providerId="ADAL" clId="{C4B84DB1-5F74-421B-920C-12B666C7B94D}" dt="2025-08-16T21:37:08.396" v="6" actId="47"/>
        <pc:sldMkLst>
          <pc:docMk/>
          <pc:sldMk cId="3820929825" sldId="2147471516"/>
        </pc:sldMkLst>
      </pc:sldChg>
      <pc:sldChg chg="del">
        <pc:chgData name="John Paserba" userId="77bd6c8a-d0c1-4fea-8705-0169f65d0c0e" providerId="ADAL" clId="{C4B84DB1-5F74-421B-920C-12B666C7B94D}" dt="2025-08-16T21:37:28.542" v="7" actId="47"/>
        <pc:sldMkLst>
          <pc:docMk/>
          <pc:sldMk cId="2101646990" sldId="2147471531"/>
        </pc:sldMkLst>
      </pc:sldChg>
      <pc:sldChg chg="del">
        <pc:chgData name="John Paserba" userId="77bd6c8a-d0c1-4fea-8705-0169f65d0c0e" providerId="ADAL" clId="{C4B84DB1-5F74-421B-920C-12B666C7B94D}" dt="2025-08-16T21:37:28.542" v="7" actId="47"/>
        <pc:sldMkLst>
          <pc:docMk/>
          <pc:sldMk cId="2607821654" sldId="2147471533"/>
        </pc:sldMkLst>
      </pc:sldChg>
      <pc:sldChg chg="del">
        <pc:chgData name="John Paserba" userId="77bd6c8a-d0c1-4fea-8705-0169f65d0c0e" providerId="ADAL" clId="{C4B84DB1-5F74-421B-920C-12B666C7B94D}" dt="2025-08-16T21:37:28.542" v="7" actId="47"/>
        <pc:sldMkLst>
          <pc:docMk/>
          <pc:sldMk cId="2433923164" sldId="2147471541"/>
        </pc:sldMkLst>
      </pc:sldChg>
      <pc:sldChg chg="del">
        <pc:chgData name="John Paserba" userId="77bd6c8a-d0c1-4fea-8705-0169f65d0c0e" providerId="ADAL" clId="{C4B84DB1-5F74-421B-920C-12B666C7B94D}" dt="2025-08-16T21:37:28.542" v="7" actId="47"/>
        <pc:sldMkLst>
          <pc:docMk/>
          <pc:sldMk cId="1528537165" sldId="2147471545"/>
        </pc:sldMkLst>
      </pc:sldChg>
      <pc:sldChg chg="del">
        <pc:chgData name="John Paserba" userId="77bd6c8a-d0c1-4fea-8705-0169f65d0c0e" providerId="ADAL" clId="{C4B84DB1-5F74-421B-920C-12B666C7B94D}" dt="2025-08-16T21:37:28.542" v="7" actId="47"/>
        <pc:sldMkLst>
          <pc:docMk/>
          <pc:sldMk cId="2748499433" sldId="2147471546"/>
        </pc:sldMkLst>
      </pc:sldChg>
      <pc:sldChg chg="del">
        <pc:chgData name="John Paserba" userId="77bd6c8a-d0c1-4fea-8705-0169f65d0c0e" providerId="ADAL" clId="{C4B84DB1-5F74-421B-920C-12B666C7B94D}" dt="2025-08-16T21:37:08.396" v="6" actId="47"/>
        <pc:sldMkLst>
          <pc:docMk/>
          <pc:sldMk cId="3823917263" sldId="2147471561"/>
        </pc:sldMkLst>
      </pc:sldChg>
      <pc:sldChg chg="del">
        <pc:chgData name="John Paserba" userId="77bd6c8a-d0c1-4fea-8705-0169f65d0c0e" providerId="ADAL" clId="{C4B84DB1-5F74-421B-920C-12B666C7B94D}" dt="2025-08-16T21:37:08.396" v="6" actId="47"/>
        <pc:sldMkLst>
          <pc:docMk/>
          <pc:sldMk cId="599989515" sldId="2147471562"/>
        </pc:sldMkLst>
      </pc:sldChg>
      <pc:sldChg chg="del">
        <pc:chgData name="John Paserba" userId="77bd6c8a-d0c1-4fea-8705-0169f65d0c0e" providerId="ADAL" clId="{C4B84DB1-5F74-421B-920C-12B666C7B94D}" dt="2025-08-16T21:37:08.396" v="6" actId="47"/>
        <pc:sldMkLst>
          <pc:docMk/>
          <pc:sldMk cId="1930684240" sldId="2147471563"/>
        </pc:sldMkLst>
      </pc:sldChg>
      <pc:sldChg chg="del">
        <pc:chgData name="John Paserba" userId="77bd6c8a-d0c1-4fea-8705-0169f65d0c0e" providerId="ADAL" clId="{C4B84DB1-5F74-421B-920C-12B666C7B94D}" dt="2025-08-16T21:37:08.396" v="6" actId="47"/>
        <pc:sldMkLst>
          <pc:docMk/>
          <pc:sldMk cId="3848360745" sldId="2147471564"/>
        </pc:sldMkLst>
      </pc:sldChg>
      <pc:sldChg chg="del">
        <pc:chgData name="John Paserba" userId="77bd6c8a-d0c1-4fea-8705-0169f65d0c0e" providerId="ADAL" clId="{C4B84DB1-5F74-421B-920C-12B666C7B94D}" dt="2025-08-16T21:37:28.542" v="7" actId="47"/>
        <pc:sldMkLst>
          <pc:docMk/>
          <pc:sldMk cId="3459218475" sldId="2147471566"/>
        </pc:sldMkLst>
      </pc:sldChg>
      <pc:sldChg chg="del">
        <pc:chgData name="John Paserba" userId="77bd6c8a-d0c1-4fea-8705-0169f65d0c0e" providerId="ADAL" clId="{C4B84DB1-5F74-421B-920C-12B666C7B94D}" dt="2025-08-16T21:37:28.542" v="7" actId="47"/>
        <pc:sldMkLst>
          <pc:docMk/>
          <pc:sldMk cId="3241094630" sldId="2147471567"/>
        </pc:sldMkLst>
      </pc:sldChg>
      <pc:sldChg chg="del">
        <pc:chgData name="John Paserba" userId="77bd6c8a-d0c1-4fea-8705-0169f65d0c0e" providerId="ADAL" clId="{C4B84DB1-5F74-421B-920C-12B666C7B94D}" dt="2025-08-16T21:37:28.542" v="7" actId="47"/>
        <pc:sldMkLst>
          <pc:docMk/>
          <pc:sldMk cId="225414114" sldId="2147471571"/>
        </pc:sldMkLst>
      </pc:sldChg>
      <pc:sldChg chg="del">
        <pc:chgData name="John Paserba" userId="77bd6c8a-d0c1-4fea-8705-0169f65d0c0e" providerId="ADAL" clId="{C4B84DB1-5F74-421B-920C-12B666C7B94D}" dt="2025-08-16T21:37:28.542" v="7" actId="47"/>
        <pc:sldMkLst>
          <pc:docMk/>
          <pc:sldMk cId="1850612918" sldId="2147471573"/>
        </pc:sldMkLst>
      </pc:sldChg>
      <pc:sldChg chg="del">
        <pc:chgData name="John Paserba" userId="77bd6c8a-d0c1-4fea-8705-0169f65d0c0e" providerId="ADAL" clId="{C4B84DB1-5F74-421B-920C-12B666C7B94D}" dt="2025-08-16T21:37:28.542" v="7" actId="47"/>
        <pc:sldMkLst>
          <pc:docMk/>
          <pc:sldMk cId="649508728" sldId="2147471574"/>
        </pc:sldMkLst>
      </pc:sldChg>
      <pc:sldChg chg="del">
        <pc:chgData name="John Paserba" userId="77bd6c8a-d0c1-4fea-8705-0169f65d0c0e" providerId="ADAL" clId="{C4B84DB1-5F74-421B-920C-12B666C7B94D}" dt="2025-08-16T21:37:28.542" v="7" actId="47"/>
        <pc:sldMkLst>
          <pc:docMk/>
          <pc:sldMk cId="2546989764" sldId="2147471575"/>
        </pc:sldMkLst>
      </pc:sldChg>
      <pc:sldChg chg="del">
        <pc:chgData name="John Paserba" userId="77bd6c8a-d0c1-4fea-8705-0169f65d0c0e" providerId="ADAL" clId="{C4B84DB1-5F74-421B-920C-12B666C7B94D}" dt="2025-08-16T21:37:28.542" v="7" actId="47"/>
        <pc:sldMkLst>
          <pc:docMk/>
          <pc:sldMk cId="1338355350" sldId="2147471577"/>
        </pc:sldMkLst>
      </pc:sldChg>
      <pc:sldChg chg="del">
        <pc:chgData name="John Paserba" userId="77bd6c8a-d0c1-4fea-8705-0169f65d0c0e" providerId="ADAL" clId="{C4B84DB1-5F74-421B-920C-12B666C7B94D}" dt="2025-08-16T21:37:28.542" v="7" actId="47"/>
        <pc:sldMkLst>
          <pc:docMk/>
          <pc:sldMk cId="471544151" sldId="2147471579"/>
        </pc:sldMkLst>
      </pc:sldChg>
      <pc:sldChg chg="del">
        <pc:chgData name="John Paserba" userId="77bd6c8a-d0c1-4fea-8705-0169f65d0c0e" providerId="ADAL" clId="{C4B84DB1-5F74-421B-920C-12B666C7B94D}" dt="2025-08-16T21:37:28.542" v="7" actId="47"/>
        <pc:sldMkLst>
          <pc:docMk/>
          <pc:sldMk cId="1394849283" sldId="2147471580"/>
        </pc:sldMkLst>
      </pc:sldChg>
      <pc:sldChg chg="del">
        <pc:chgData name="John Paserba" userId="77bd6c8a-d0c1-4fea-8705-0169f65d0c0e" providerId="ADAL" clId="{C4B84DB1-5F74-421B-920C-12B666C7B94D}" dt="2025-08-16T21:37:28.542" v="7" actId="47"/>
        <pc:sldMkLst>
          <pc:docMk/>
          <pc:sldMk cId="3831343774" sldId="2147471590"/>
        </pc:sldMkLst>
      </pc:sldChg>
      <pc:sldChg chg="del">
        <pc:chgData name="John Paserba" userId="77bd6c8a-d0c1-4fea-8705-0169f65d0c0e" providerId="ADAL" clId="{C4B84DB1-5F74-421B-920C-12B666C7B94D}" dt="2025-08-16T21:37:28.542" v="7" actId="47"/>
        <pc:sldMkLst>
          <pc:docMk/>
          <pc:sldMk cId="3886136744" sldId="2147471591"/>
        </pc:sldMkLst>
      </pc:sldChg>
      <pc:sldChg chg="del">
        <pc:chgData name="John Paserba" userId="77bd6c8a-d0c1-4fea-8705-0169f65d0c0e" providerId="ADAL" clId="{C4B84DB1-5F74-421B-920C-12B666C7B94D}" dt="2025-08-16T21:36:27.189" v="2" actId="47"/>
        <pc:sldMkLst>
          <pc:docMk/>
          <pc:sldMk cId="3635205180" sldId="2147471600"/>
        </pc:sldMkLst>
      </pc:sldChg>
      <pc:sldChg chg="del">
        <pc:chgData name="John Paserba" userId="77bd6c8a-d0c1-4fea-8705-0169f65d0c0e" providerId="ADAL" clId="{C4B84DB1-5F74-421B-920C-12B666C7B94D}" dt="2025-08-16T21:37:28.542" v="7" actId="47"/>
        <pc:sldMkLst>
          <pc:docMk/>
          <pc:sldMk cId="976164263" sldId="2147471608"/>
        </pc:sldMkLst>
      </pc:sldChg>
      <pc:sldChg chg="del">
        <pc:chgData name="John Paserba" userId="77bd6c8a-d0c1-4fea-8705-0169f65d0c0e" providerId="ADAL" clId="{C4B84DB1-5F74-421B-920C-12B666C7B94D}" dt="2025-08-16T21:37:28.542" v="7" actId="47"/>
        <pc:sldMkLst>
          <pc:docMk/>
          <pc:sldMk cId="1709962716" sldId="2147471609"/>
        </pc:sldMkLst>
      </pc:sldChg>
      <pc:sldChg chg="del">
        <pc:chgData name="John Paserba" userId="77bd6c8a-d0c1-4fea-8705-0169f65d0c0e" providerId="ADAL" clId="{C4B84DB1-5F74-421B-920C-12B666C7B94D}" dt="2025-08-16T21:37:28.542" v="7" actId="47"/>
        <pc:sldMkLst>
          <pc:docMk/>
          <pc:sldMk cId="2252215513" sldId="2147471610"/>
        </pc:sldMkLst>
      </pc:sldChg>
      <pc:sldChg chg="del">
        <pc:chgData name="John Paserba" userId="77bd6c8a-d0c1-4fea-8705-0169f65d0c0e" providerId="ADAL" clId="{C4B84DB1-5F74-421B-920C-12B666C7B94D}" dt="2025-08-16T21:37:28.542" v="7" actId="47"/>
        <pc:sldMkLst>
          <pc:docMk/>
          <pc:sldMk cId="3752514244" sldId="2147471613"/>
        </pc:sldMkLst>
      </pc:sldChg>
      <pc:sldChg chg="del">
        <pc:chgData name="John Paserba" userId="77bd6c8a-d0c1-4fea-8705-0169f65d0c0e" providerId="ADAL" clId="{C4B84DB1-5F74-421B-920C-12B666C7B94D}" dt="2025-08-16T21:37:28.542" v="7" actId="47"/>
        <pc:sldMkLst>
          <pc:docMk/>
          <pc:sldMk cId="3681720179" sldId="2147471622"/>
        </pc:sldMkLst>
      </pc:sldChg>
      <pc:sldChg chg="del">
        <pc:chgData name="John Paserba" userId="77bd6c8a-d0c1-4fea-8705-0169f65d0c0e" providerId="ADAL" clId="{C4B84DB1-5F74-421B-920C-12B666C7B94D}" dt="2025-08-16T21:37:28.542" v="7" actId="47"/>
        <pc:sldMkLst>
          <pc:docMk/>
          <pc:sldMk cId="4056519351" sldId="2147471625"/>
        </pc:sldMkLst>
      </pc:sldChg>
      <pc:sldChg chg="del">
        <pc:chgData name="John Paserba" userId="77bd6c8a-d0c1-4fea-8705-0169f65d0c0e" providerId="ADAL" clId="{C4B84DB1-5F74-421B-920C-12B666C7B94D}" dt="2025-08-16T21:37:28.542" v="7" actId="47"/>
        <pc:sldMkLst>
          <pc:docMk/>
          <pc:sldMk cId="2953226290" sldId="2147471629"/>
        </pc:sldMkLst>
      </pc:sldChg>
      <pc:sldChg chg="del">
        <pc:chgData name="John Paserba" userId="77bd6c8a-d0c1-4fea-8705-0169f65d0c0e" providerId="ADAL" clId="{C4B84DB1-5F74-421B-920C-12B666C7B94D}" dt="2025-08-16T21:37:28.542" v="7" actId="47"/>
        <pc:sldMkLst>
          <pc:docMk/>
          <pc:sldMk cId="2472254228" sldId="2147471632"/>
        </pc:sldMkLst>
      </pc:sldChg>
      <pc:sldChg chg="del">
        <pc:chgData name="John Paserba" userId="77bd6c8a-d0c1-4fea-8705-0169f65d0c0e" providerId="ADAL" clId="{C4B84DB1-5F74-421B-920C-12B666C7B94D}" dt="2025-08-16T21:37:28.542" v="7" actId="47"/>
        <pc:sldMkLst>
          <pc:docMk/>
          <pc:sldMk cId="488572414" sldId="2147471639"/>
        </pc:sldMkLst>
      </pc:sldChg>
      <pc:sldChg chg="del">
        <pc:chgData name="John Paserba" userId="77bd6c8a-d0c1-4fea-8705-0169f65d0c0e" providerId="ADAL" clId="{C4B84DB1-5F74-421B-920C-12B666C7B94D}" dt="2025-08-16T21:37:28.542" v="7" actId="47"/>
        <pc:sldMkLst>
          <pc:docMk/>
          <pc:sldMk cId="191411695" sldId="2147471642"/>
        </pc:sldMkLst>
      </pc:sldChg>
      <pc:sldChg chg="del">
        <pc:chgData name="John Paserba" userId="77bd6c8a-d0c1-4fea-8705-0169f65d0c0e" providerId="ADAL" clId="{C4B84DB1-5F74-421B-920C-12B666C7B94D}" dt="2025-08-16T21:37:28.542" v="7" actId="47"/>
        <pc:sldMkLst>
          <pc:docMk/>
          <pc:sldMk cId="2485570784" sldId="2147471643"/>
        </pc:sldMkLst>
      </pc:sldChg>
      <pc:sldChg chg="del">
        <pc:chgData name="John Paserba" userId="77bd6c8a-d0c1-4fea-8705-0169f65d0c0e" providerId="ADAL" clId="{C4B84DB1-5F74-421B-920C-12B666C7B94D}" dt="2025-08-16T21:37:28.542" v="7" actId="47"/>
        <pc:sldMkLst>
          <pc:docMk/>
          <pc:sldMk cId="2163309065" sldId="2147471644"/>
        </pc:sldMkLst>
      </pc:sldChg>
      <pc:sldChg chg="del">
        <pc:chgData name="John Paserba" userId="77bd6c8a-d0c1-4fea-8705-0169f65d0c0e" providerId="ADAL" clId="{C4B84DB1-5F74-421B-920C-12B666C7B94D}" dt="2025-08-16T21:37:28.542" v="7" actId="47"/>
        <pc:sldMkLst>
          <pc:docMk/>
          <pc:sldMk cId="2283321829" sldId="2147471649"/>
        </pc:sldMkLst>
      </pc:sldChg>
      <pc:sldChg chg="del">
        <pc:chgData name="John Paserba" userId="77bd6c8a-d0c1-4fea-8705-0169f65d0c0e" providerId="ADAL" clId="{C4B84DB1-5F74-421B-920C-12B666C7B94D}" dt="2025-08-16T21:37:28.542" v="7" actId="47"/>
        <pc:sldMkLst>
          <pc:docMk/>
          <pc:sldMk cId="4216810556" sldId="2147471650"/>
        </pc:sldMkLst>
      </pc:sldChg>
      <pc:sldChg chg="del">
        <pc:chgData name="John Paserba" userId="77bd6c8a-d0c1-4fea-8705-0169f65d0c0e" providerId="ADAL" clId="{C4B84DB1-5F74-421B-920C-12B666C7B94D}" dt="2025-08-16T21:37:28.542" v="7" actId="47"/>
        <pc:sldMkLst>
          <pc:docMk/>
          <pc:sldMk cId="889899731" sldId="2147471651"/>
        </pc:sldMkLst>
      </pc:sldChg>
      <pc:sldChg chg="del">
        <pc:chgData name="John Paserba" userId="77bd6c8a-d0c1-4fea-8705-0169f65d0c0e" providerId="ADAL" clId="{C4B84DB1-5F74-421B-920C-12B666C7B94D}" dt="2025-08-16T21:37:28.542" v="7" actId="47"/>
        <pc:sldMkLst>
          <pc:docMk/>
          <pc:sldMk cId="1426578598" sldId="2147471653"/>
        </pc:sldMkLst>
      </pc:sldChg>
      <pc:sldChg chg="del">
        <pc:chgData name="John Paserba" userId="77bd6c8a-d0c1-4fea-8705-0169f65d0c0e" providerId="ADAL" clId="{C4B84DB1-5F74-421B-920C-12B666C7B94D}" dt="2025-08-16T21:37:28.542" v="7" actId="47"/>
        <pc:sldMkLst>
          <pc:docMk/>
          <pc:sldMk cId="3935530728" sldId="2147471654"/>
        </pc:sldMkLst>
      </pc:sldChg>
      <pc:sldChg chg="del">
        <pc:chgData name="John Paserba" userId="77bd6c8a-d0c1-4fea-8705-0169f65d0c0e" providerId="ADAL" clId="{C4B84DB1-5F74-421B-920C-12B666C7B94D}" dt="2025-08-16T21:37:28.542" v="7" actId="47"/>
        <pc:sldMkLst>
          <pc:docMk/>
          <pc:sldMk cId="1316239094" sldId="2147471655"/>
        </pc:sldMkLst>
      </pc:sldChg>
      <pc:sldChg chg="del">
        <pc:chgData name="John Paserba" userId="77bd6c8a-d0c1-4fea-8705-0169f65d0c0e" providerId="ADAL" clId="{C4B84DB1-5F74-421B-920C-12B666C7B94D}" dt="2025-08-16T21:37:28.542" v="7" actId="47"/>
        <pc:sldMkLst>
          <pc:docMk/>
          <pc:sldMk cId="2303667209" sldId="2147471657"/>
        </pc:sldMkLst>
      </pc:sldChg>
      <pc:sldChg chg="del">
        <pc:chgData name="John Paserba" userId="77bd6c8a-d0c1-4fea-8705-0169f65d0c0e" providerId="ADAL" clId="{C4B84DB1-5F74-421B-920C-12B666C7B94D}" dt="2025-08-16T21:36:56.121" v="4" actId="47"/>
        <pc:sldMkLst>
          <pc:docMk/>
          <pc:sldMk cId="438874774" sldId="2147471662"/>
        </pc:sldMkLst>
      </pc:sldChg>
      <pc:sldChg chg="del">
        <pc:chgData name="John Paserba" userId="77bd6c8a-d0c1-4fea-8705-0169f65d0c0e" providerId="ADAL" clId="{C4B84DB1-5F74-421B-920C-12B666C7B94D}" dt="2025-08-16T21:36:56.121" v="4" actId="47"/>
        <pc:sldMkLst>
          <pc:docMk/>
          <pc:sldMk cId="2068436623" sldId="2147471665"/>
        </pc:sldMkLst>
      </pc:sldChg>
      <pc:sldChg chg="del">
        <pc:chgData name="John Paserba" userId="77bd6c8a-d0c1-4fea-8705-0169f65d0c0e" providerId="ADAL" clId="{C4B84DB1-5F74-421B-920C-12B666C7B94D}" dt="2025-08-16T21:37:28.542" v="7" actId="47"/>
        <pc:sldMkLst>
          <pc:docMk/>
          <pc:sldMk cId="2660546268" sldId="2147471669"/>
        </pc:sldMkLst>
      </pc:sldChg>
      <pc:sldChg chg="del">
        <pc:chgData name="John Paserba" userId="77bd6c8a-d0c1-4fea-8705-0169f65d0c0e" providerId="ADAL" clId="{C4B84DB1-5F74-421B-920C-12B666C7B94D}" dt="2025-08-16T21:37:28.542" v="7" actId="47"/>
        <pc:sldMkLst>
          <pc:docMk/>
          <pc:sldMk cId="1790755209" sldId="2147471672"/>
        </pc:sldMkLst>
      </pc:sldChg>
      <pc:sldChg chg="del">
        <pc:chgData name="John Paserba" userId="77bd6c8a-d0c1-4fea-8705-0169f65d0c0e" providerId="ADAL" clId="{C4B84DB1-5F74-421B-920C-12B666C7B94D}" dt="2025-08-16T21:37:28.542" v="7" actId="47"/>
        <pc:sldMkLst>
          <pc:docMk/>
          <pc:sldMk cId="3892713205" sldId="2147471673"/>
        </pc:sldMkLst>
      </pc:sldChg>
      <pc:sldChg chg="del">
        <pc:chgData name="John Paserba" userId="77bd6c8a-d0c1-4fea-8705-0169f65d0c0e" providerId="ADAL" clId="{C4B84DB1-5F74-421B-920C-12B666C7B94D}" dt="2025-08-16T21:37:46.453" v="11" actId="47"/>
        <pc:sldMkLst>
          <pc:docMk/>
          <pc:sldMk cId="1433889411" sldId="2147471674"/>
        </pc:sldMkLst>
      </pc:sldChg>
      <pc:sldChg chg="delSp mod">
        <pc:chgData name="John Paserba" userId="77bd6c8a-d0c1-4fea-8705-0169f65d0c0e" providerId="ADAL" clId="{C4B84DB1-5F74-421B-920C-12B666C7B94D}" dt="2025-08-16T21:37:01.263" v="5" actId="478"/>
        <pc:sldMkLst>
          <pc:docMk/>
          <pc:sldMk cId="3651935271" sldId="2147471682"/>
        </pc:sldMkLst>
        <pc:picChg chg="del">
          <ac:chgData name="John Paserba" userId="77bd6c8a-d0c1-4fea-8705-0169f65d0c0e" providerId="ADAL" clId="{C4B84DB1-5F74-421B-920C-12B666C7B94D}" dt="2025-08-16T21:37:01.263" v="5" actId="478"/>
          <ac:picMkLst>
            <pc:docMk/>
            <pc:sldMk cId="3651935271" sldId="2147471682"/>
            <ac:picMk id="5" creationId="{372DA169-17CF-4AB1-A27A-9313F9DED763}"/>
          </ac:picMkLst>
        </pc:picChg>
      </pc:sldChg>
      <pc:sldChg chg="del">
        <pc:chgData name="John Paserba" userId="77bd6c8a-d0c1-4fea-8705-0169f65d0c0e" providerId="ADAL" clId="{C4B84DB1-5F74-421B-920C-12B666C7B94D}" dt="2025-08-16T21:36:56.121" v="4" actId="47"/>
        <pc:sldMkLst>
          <pc:docMk/>
          <pc:sldMk cId="3727219174" sldId="2147471683"/>
        </pc:sldMkLst>
      </pc:sldChg>
      <pc:sldChg chg="del">
        <pc:chgData name="John Paserba" userId="77bd6c8a-d0c1-4fea-8705-0169f65d0c0e" providerId="ADAL" clId="{C4B84DB1-5F74-421B-920C-12B666C7B94D}" dt="2025-08-16T21:36:56.121" v="4" actId="47"/>
        <pc:sldMkLst>
          <pc:docMk/>
          <pc:sldMk cId="333539668" sldId="2147471684"/>
        </pc:sldMkLst>
      </pc:sldChg>
      <pc:sldChg chg="del">
        <pc:chgData name="John Paserba" userId="77bd6c8a-d0c1-4fea-8705-0169f65d0c0e" providerId="ADAL" clId="{C4B84DB1-5F74-421B-920C-12B666C7B94D}" dt="2025-08-16T21:36:56.121" v="4" actId="47"/>
        <pc:sldMkLst>
          <pc:docMk/>
          <pc:sldMk cId="1741024592" sldId="2147471685"/>
        </pc:sldMkLst>
      </pc:sldChg>
      <pc:sldChg chg="del">
        <pc:chgData name="John Paserba" userId="77bd6c8a-d0c1-4fea-8705-0169f65d0c0e" providerId="ADAL" clId="{C4B84DB1-5F74-421B-920C-12B666C7B94D}" dt="2025-08-16T21:37:28.542" v="7" actId="47"/>
        <pc:sldMkLst>
          <pc:docMk/>
          <pc:sldMk cId="3394760255" sldId="2147471697"/>
        </pc:sldMkLst>
      </pc:sldChg>
      <pc:sldChg chg="del">
        <pc:chgData name="John Paserba" userId="77bd6c8a-d0c1-4fea-8705-0169f65d0c0e" providerId="ADAL" clId="{C4B84DB1-5F74-421B-920C-12B666C7B94D}" dt="2025-08-16T21:37:28.542" v="7" actId="47"/>
        <pc:sldMkLst>
          <pc:docMk/>
          <pc:sldMk cId="2090766154" sldId="2147471698"/>
        </pc:sldMkLst>
      </pc:sldChg>
      <pc:sldChg chg="del">
        <pc:chgData name="John Paserba" userId="77bd6c8a-d0c1-4fea-8705-0169f65d0c0e" providerId="ADAL" clId="{C4B84DB1-5F74-421B-920C-12B666C7B94D}" dt="2025-08-16T21:37:08.396" v="6" actId="47"/>
        <pc:sldMkLst>
          <pc:docMk/>
          <pc:sldMk cId="776265444" sldId="2147471702"/>
        </pc:sldMkLst>
      </pc:sldChg>
      <pc:sldChg chg="del">
        <pc:chgData name="John Paserba" userId="77bd6c8a-d0c1-4fea-8705-0169f65d0c0e" providerId="ADAL" clId="{C4B84DB1-5F74-421B-920C-12B666C7B94D}" dt="2025-08-16T21:37:28.542" v="7" actId="47"/>
        <pc:sldMkLst>
          <pc:docMk/>
          <pc:sldMk cId="73387506" sldId="2147471703"/>
        </pc:sldMkLst>
      </pc:sldChg>
      <pc:sldChg chg="del">
        <pc:chgData name="John Paserba" userId="77bd6c8a-d0c1-4fea-8705-0169f65d0c0e" providerId="ADAL" clId="{C4B84DB1-5F74-421B-920C-12B666C7B94D}" dt="2025-08-16T21:37:28.542" v="7" actId="47"/>
        <pc:sldMkLst>
          <pc:docMk/>
          <pc:sldMk cId="1812772885" sldId="2147471704"/>
        </pc:sldMkLst>
      </pc:sldChg>
      <pc:sldChg chg="del">
        <pc:chgData name="John Paserba" userId="77bd6c8a-d0c1-4fea-8705-0169f65d0c0e" providerId="ADAL" clId="{C4B84DB1-5F74-421B-920C-12B666C7B94D}" dt="2025-08-16T21:37:08.396" v="6" actId="47"/>
        <pc:sldMkLst>
          <pc:docMk/>
          <pc:sldMk cId="4071523654" sldId="2147471705"/>
        </pc:sldMkLst>
      </pc:sldChg>
      <pc:sldChg chg="del">
        <pc:chgData name="John Paserba" userId="77bd6c8a-d0c1-4fea-8705-0169f65d0c0e" providerId="ADAL" clId="{C4B84DB1-5F74-421B-920C-12B666C7B94D}" dt="2025-08-16T21:37:28.542" v="7" actId="47"/>
        <pc:sldMkLst>
          <pc:docMk/>
          <pc:sldMk cId="1227424827" sldId="2147471706"/>
        </pc:sldMkLst>
      </pc:sldChg>
      <pc:sldChg chg="del">
        <pc:chgData name="John Paserba" userId="77bd6c8a-d0c1-4fea-8705-0169f65d0c0e" providerId="ADAL" clId="{C4B84DB1-5F74-421B-920C-12B666C7B94D}" dt="2025-08-16T21:37:28.542" v="7" actId="47"/>
        <pc:sldMkLst>
          <pc:docMk/>
          <pc:sldMk cId="4183405689" sldId="2147471707"/>
        </pc:sldMkLst>
      </pc:sldChg>
      <pc:sldChg chg="del">
        <pc:chgData name="John Paserba" userId="77bd6c8a-d0c1-4fea-8705-0169f65d0c0e" providerId="ADAL" clId="{C4B84DB1-5F74-421B-920C-12B666C7B94D}" dt="2025-08-16T21:37:28.542" v="7" actId="47"/>
        <pc:sldMkLst>
          <pc:docMk/>
          <pc:sldMk cId="4225029992" sldId="2147471708"/>
        </pc:sldMkLst>
      </pc:sldChg>
      <pc:sldChg chg="del">
        <pc:chgData name="John Paserba" userId="77bd6c8a-d0c1-4fea-8705-0169f65d0c0e" providerId="ADAL" clId="{C4B84DB1-5F74-421B-920C-12B666C7B94D}" dt="2025-08-16T21:37:28.542" v="7" actId="47"/>
        <pc:sldMkLst>
          <pc:docMk/>
          <pc:sldMk cId="2459541753" sldId="2147471709"/>
        </pc:sldMkLst>
      </pc:sldChg>
      <pc:sldChg chg="del">
        <pc:chgData name="John Paserba" userId="77bd6c8a-d0c1-4fea-8705-0169f65d0c0e" providerId="ADAL" clId="{C4B84DB1-5F74-421B-920C-12B666C7B94D}" dt="2025-08-16T21:37:28.542" v="7" actId="47"/>
        <pc:sldMkLst>
          <pc:docMk/>
          <pc:sldMk cId="1811450976" sldId="2147471710"/>
        </pc:sldMkLst>
      </pc:sldChg>
      <pc:sldChg chg="del">
        <pc:chgData name="John Paserba" userId="77bd6c8a-d0c1-4fea-8705-0169f65d0c0e" providerId="ADAL" clId="{C4B84DB1-5F74-421B-920C-12B666C7B94D}" dt="2025-08-16T21:37:28.542" v="7" actId="47"/>
        <pc:sldMkLst>
          <pc:docMk/>
          <pc:sldMk cId="1820092979" sldId="2147471711"/>
        </pc:sldMkLst>
      </pc:sldChg>
      <pc:sldChg chg="del">
        <pc:chgData name="John Paserba" userId="77bd6c8a-d0c1-4fea-8705-0169f65d0c0e" providerId="ADAL" clId="{C4B84DB1-5F74-421B-920C-12B666C7B94D}" dt="2025-08-16T21:36:34.965" v="3" actId="47"/>
        <pc:sldMkLst>
          <pc:docMk/>
          <pc:sldMk cId="48043056" sldId="2147471716"/>
        </pc:sldMkLst>
      </pc:sldChg>
      <pc:sldChg chg="del">
        <pc:chgData name="John Paserba" userId="77bd6c8a-d0c1-4fea-8705-0169f65d0c0e" providerId="ADAL" clId="{C4B84DB1-5F74-421B-920C-12B666C7B94D}" dt="2025-08-16T21:37:28.542" v="7" actId="47"/>
        <pc:sldMkLst>
          <pc:docMk/>
          <pc:sldMk cId="3241406327" sldId="2147471723"/>
        </pc:sldMkLst>
      </pc:sldChg>
      <pc:sldChg chg="del">
        <pc:chgData name="John Paserba" userId="77bd6c8a-d0c1-4fea-8705-0169f65d0c0e" providerId="ADAL" clId="{C4B84DB1-5F74-421B-920C-12B666C7B94D}" dt="2025-08-16T21:37:28.542" v="7" actId="47"/>
        <pc:sldMkLst>
          <pc:docMk/>
          <pc:sldMk cId="1189292215" sldId="2147471725"/>
        </pc:sldMkLst>
      </pc:sldChg>
      <pc:sldChg chg="del">
        <pc:chgData name="John Paserba" userId="77bd6c8a-d0c1-4fea-8705-0169f65d0c0e" providerId="ADAL" clId="{C4B84DB1-5F74-421B-920C-12B666C7B94D}" dt="2025-08-16T21:37:28.542" v="7" actId="47"/>
        <pc:sldMkLst>
          <pc:docMk/>
          <pc:sldMk cId="3935368681" sldId="2147471726"/>
        </pc:sldMkLst>
      </pc:sldChg>
      <pc:sldChg chg="del">
        <pc:chgData name="John Paserba" userId="77bd6c8a-d0c1-4fea-8705-0169f65d0c0e" providerId="ADAL" clId="{C4B84DB1-5F74-421B-920C-12B666C7B94D}" dt="2025-08-16T21:37:28.542" v="7" actId="47"/>
        <pc:sldMkLst>
          <pc:docMk/>
          <pc:sldMk cId="2441728225" sldId="2147471727"/>
        </pc:sldMkLst>
      </pc:sldChg>
      <pc:sldChg chg="del">
        <pc:chgData name="John Paserba" userId="77bd6c8a-d0c1-4fea-8705-0169f65d0c0e" providerId="ADAL" clId="{C4B84DB1-5F74-421B-920C-12B666C7B94D}" dt="2025-08-16T21:37:28.542" v="7" actId="47"/>
        <pc:sldMkLst>
          <pc:docMk/>
          <pc:sldMk cId="2829787811" sldId="2147471728"/>
        </pc:sldMkLst>
      </pc:sldChg>
      <pc:sldChg chg="del">
        <pc:chgData name="John Paserba" userId="77bd6c8a-d0c1-4fea-8705-0169f65d0c0e" providerId="ADAL" clId="{C4B84DB1-5F74-421B-920C-12B666C7B94D}" dt="2025-08-16T21:37:28.542" v="7" actId="47"/>
        <pc:sldMkLst>
          <pc:docMk/>
          <pc:sldMk cId="3516601115" sldId="2147471751"/>
        </pc:sldMkLst>
      </pc:sldChg>
      <pc:sldChg chg="del">
        <pc:chgData name="John Paserba" userId="77bd6c8a-d0c1-4fea-8705-0169f65d0c0e" providerId="ADAL" clId="{C4B84DB1-5F74-421B-920C-12B666C7B94D}" dt="2025-08-16T21:37:28.542" v="7" actId="47"/>
        <pc:sldMkLst>
          <pc:docMk/>
          <pc:sldMk cId="2442186582" sldId="2147471752"/>
        </pc:sldMkLst>
      </pc:sldChg>
      <pc:sldChg chg="del">
        <pc:chgData name="John Paserba" userId="77bd6c8a-d0c1-4fea-8705-0169f65d0c0e" providerId="ADAL" clId="{C4B84DB1-5F74-421B-920C-12B666C7B94D}" dt="2025-08-16T21:37:28.542" v="7" actId="47"/>
        <pc:sldMkLst>
          <pc:docMk/>
          <pc:sldMk cId="3289688329" sldId="2147471753"/>
        </pc:sldMkLst>
      </pc:sldChg>
      <pc:sldChg chg="del">
        <pc:chgData name="John Paserba" userId="77bd6c8a-d0c1-4fea-8705-0169f65d0c0e" providerId="ADAL" clId="{C4B84DB1-5F74-421B-920C-12B666C7B94D}" dt="2025-08-16T21:37:28.542" v="7" actId="47"/>
        <pc:sldMkLst>
          <pc:docMk/>
          <pc:sldMk cId="2489516657" sldId="2147471754"/>
        </pc:sldMkLst>
      </pc:sldChg>
      <pc:sldChg chg="del">
        <pc:chgData name="John Paserba" userId="77bd6c8a-d0c1-4fea-8705-0169f65d0c0e" providerId="ADAL" clId="{C4B84DB1-5F74-421B-920C-12B666C7B94D}" dt="2025-08-16T21:37:28.542" v="7" actId="47"/>
        <pc:sldMkLst>
          <pc:docMk/>
          <pc:sldMk cId="3576317580" sldId="2147471755"/>
        </pc:sldMkLst>
      </pc:sldChg>
      <pc:sldChg chg="del">
        <pc:chgData name="John Paserba" userId="77bd6c8a-d0c1-4fea-8705-0169f65d0c0e" providerId="ADAL" clId="{C4B84DB1-5F74-421B-920C-12B666C7B94D}" dt="2025-08-16T21:37:28.542" v="7" actId="47"/>
        <pc:sldMkLst>
          <pc:docMk/>
          <pc:sldMk cId="1564990776" sldId="2147471756"/>
        </pc:sldMkLst>
      </pc:sldChg>
      <pc:sldChg chg="del">
        <pc:chgData name="John Paserba" userId="77bd6c8a-d0c1-4fea-8705-0169f65d0c0e" providerId="ADAL" clId="{C4B84DB1-5F74-421B-920C-12B666C7B94D}" dt="2025-08-16T21:37:28.542" v="7" actId="47"/>
        <pc:sldMkLst>
          <pc:docMk/>
          <pc:sldMk cId="3082573837" sldId="2147471757"/>
        </pc:sldMkLst>
      </pc:sldChg>
      <pc:sldChg chg="del">
        <pc:chgData name="John Paserba" userId="77bd6c8a-d0c1-4fea-8705-0169f65d0c0e" providerId="ADAL" clId="{C4B84DB1-5F74-421B-920C-12B666C7B94D}" dt="2025-08-16T21:37:28.542" v="7" actId="47"/>
        <pc:sldMkLst>
          <pc:docMk/>
          <pc:sldMk cId="3375477870" sldId="2147471758"/>
        </pc:sldMkLst>
      </pc:sldChg>
      <pc:sldChg chg="del">
        <pc:chgData name="John Paserba" userId="77bd6c8a-d0c1-4fea-8705-0169f65d0c0e" providerId="ADAL" clId="{C4B84DB1-5F74-421B-920C-12B666C7B94D}" dt="2025-08-16T21:37:28.542" v="7" actId="47"/>
        <pc:sldMkLst>
          <pc:docMk/>
          <pc:sldMk cId="2478508329" sldId="2147471759"/>
        </pc:sldMkLst>
      </pc:sldChg>
      <pc:sldChg chg="del">
        <pc:chgData name="John Paserba" userId="77bd6c8a-d0c1-4fea-8705-0169f65d0c0e" providerId="ADAL" clId="{C4B84DB1-5F74-421B-920C-12B666C7B94D}" dt="2025-08-16T21:37:28.542" v="7" actId="47"/>
        <pc:sldMkLst>
          <pc:docMk/>
          <pc:sldMk cId="3146776872" sldId="2147471760"/>
        </pc:sldMkLst>
      </pc:sldChg>
      <pc:sldChg chg="del">
        <pc:chgData name="John Paserba" userId="77bd6c8a-d0c1-4fea-8705-0169f65d0c0e" providerId="ADAL" clId="{C4B84DB1-5F74-421B-920C-12B666C7B94D}" dt="2025-08-16T21:37:28.542" v="7" actId="47"/>
        <pc:sldMkLst>
          <pc:docMk/>
          <pc:sldMk cId="1605903753" sldId="2147471761"/>
        </pc:sldMkLst>
      </pc:sldChg>
      <pc:sldChg chg="del">
        <pc:chgData name="John Paserba" userId="77bd6c8a-d0c1-4fea-8705-0169f65d0c0e" providerId="ADAL" clId="{C4B84DB1-5F74-421B-920C-12B666C7B94D}" dt="2025-08-16T21:37:28.542" v="7" actId="47"/>
        <pc:sldMkLst>
          <pc:docMk/>
          <pc:sldMk cId="2029220160" sldId="2147471762"/>
        </pc:sldMkLst>
      </pc:sldChg>
      <pc:sldChg chg="del">
        <pc:chgData name="John Paserba" userId="77bd6c8a-d0c1-4fea-8705-0169f65d0c0e" providerId="ADAL" clId="{C4B84DB1-5F74-421B-920C-12B666C7B94D}" dt="2025-08-16T21:37:28.542" v="7" actId="47"/>
        <pc:sldMkLst>
          <pc:docMk/>
          <pc:sldMk cId="2388534960" sldId="2147471763"/>
        </pc:sldMkLst>
      </pc:sldChg>
      <pc:sldChg chg="del">
        <pc:chgData name="John Paserba" userId="77bd6c8a-d0c1-4fea-8705-0169f65d0c0e" providerId="ADAL" clId="{C4B84DB1-5F74-421B-920C-12B666C7B94D}" dt="2025-08-16T21:37:28.542" v="7" actId="47"/>
        <pc:sldMkLst>
          <pc:docMk/>
          <pc:sldMk cId="1231416302" sldId="2147471764"/>
        </pc:sldMkLst>
      </pc:sldChg>
      <pc:sldChg chg="del">
        <pc:chgData name="John Paserba" userId="77bd6c8a-d0c1-4fea-8705-0169f65d0c0e" providerId="ADAL" clId="{C4B84DB1-5F74-421B-920C-12B666C7B94D}" dt="2025-08-16T21:37:28.542" v="7" actId="47"/>
        <pc:sldMkLst>
          <pc:docMk/>
          <pc:sldMk cId="3736893981" sldId="2147471765"/>
        </pc:sldMkLst>
      </pc:sldChg>
      <pc:sldChg chg="del">
        <pc:chgData name="John Paserba" userId="77bd6c8a-d0c1-4fea-8705-0169f65d0c0e" providerId="ADAL" clId="{C4B84DB1-5F74-421B-920C-12B666C7B94D}" dt="2025-08-16T21:37:28.542" v="7" actId="47"/>
        <pc:sldMkLst>
          <pc:docMk/>
          <pc:sldMk cId="1684752052" sldId="2147471766"/>
        </pc:sldMkLst>
      </pc:sldChg>
      <pc:sldChg chg="del">
        <pc:chgData name="John Paserba" userId="77bd6c8a-d0c1-4fea-8705-0169f65d0c0e" providerId="ADAL" clId="{C4B84DB1-5F74-421B-920C-12B666C7B94D}" dt="2025-08-16T21:37:28.542" v="7" actId="47"/>
        <pc:sldMkLst>
          <pc:docMk/>
          <pc:sldMk cId="3859739026" sldId="2147471767"/>
        </pc:sldMkLst>
      </pc:sldChg>
      <pc:sldChg chg="del">
        <pc:chgData name="John Paserba" userId="77bd6c8a-d0c1-4fea-8705-0169f65d0c0e" providerId="ADAL" clId="{C4B84DB1-5F74-421B-920C-12B666C7B94D}" dt="2025-08-16T21:37:28.542" v="7" actId="47"/>
        <pc:sldMkLst>
          <pc:docMk/>
          <pc:sldMk cId="3348747332" sldId="2147471768"/>
        </pc:sldMkLst>
      </pc:sldChg>
      <pc:sldChg chg="del">
        <pc:chgData name="John Paserba" userId="77bd6c8a-d0c1-4fea-8705-0169f65d0c0e" providerId="ADAL" clId="{C4B84DB1-5F74-421B-920C-12B666C7B94D}" dt="2025-08-16T21:37:28.542" v="7" actId="47"/>
        <pc:sldMkLst>
          <pc:docMk/>
          <pc:sldMk cId="1230948448" sldId="2147471769"/>
        </pc:sldMkLst>
      </pc:sldChg>
      <pc:sldChg chg="del">
        <pc:chgData name="John Paserba" userId="77bd6c8a-d0c1-4fea-8705-0169f65d0c0e" providerId="ADAL" clId="{C4B84DB1-5F74-421B-920C-12B666C7B94D}" dt="2025-08-16T21:37:28.542" v="7" actId="47"/>
        <pc:sldMkLst>
          <pc:docMk/>
          <pc:sldMk cId="2366930432" sldId="2147471770"/>
        </pc:sldMkLst>
      </pc:sldChg>
      <pc:sldChg chg="del">
        <pc:chgData name="John Paserba" userId="77bd6c8a-d0c1-4fea-8705-0169f65d0c0e" providerId="ADAL" clId="{C4B84DB1-5F74-421B-920C-12B666C7B94D}" dt="2025-08-16T21:37:28.542" v="7" actId="47"/>
        <pc:sldMkLst>
          <pc:docMk/>
          <pc:sldMk cId="2503832311" sldId="2147471771"/>
        </pc:sldMkLst>
      </pc:sldChg>
      <pc:sldChg chg="del">
        <pc:chgData name="John Paserba" userId="77bd6c8a-d0c1-4fea-8705-0169f65d0c0e" providerId="ADAL" clId="{C4B84DB1-5F74-421B-920C-12B666C7B94D}" dt="2025-08-16T21:37:28.542" v="7" actId="47"/>
        <pc:sldMkLst>
          <pc:docMk/>
          <pc:sldMk cId="93880916" sldId="2147471773"/>
        </pc:sldMkLst>
      </pc:sldChg>
      <pc:sldChg chg="del">
        <pc:chgData name="John Paserba" userId="77bd6c8a-d0c1-4fea-8705-0169f65d0c0e" providerId="ADAL" clId="{C4B84DB1-5F74-421B-920C-12B666C7B94D}" dt="2025-08-16T21:37:28.542" v="7" actId="47"/>
        <pc:sldMkLst>
          <pc:docMk/>
          <pc:sldMk cId="2346600380" sldId="2147471774"/>
        </pc:sldMkLst>
      </pc:sldChg>
      <pc:sldChg chg="del">
        <pc:chgData name="John Paserba" userId="77bd6c8a-d0c1-4fea-8705-0169f65d0c0e" providerId="ADAL" clId="{C4B84DB1-5F74-421B-920C-12B666C7B94D}" dt="2025-08-16T21:37:08.396" v="6" actId="47"/>
        <pc:sldMkLst>
          <pc:docMk/>
          <pc:sldMk cId="2461146040" sldId="2147471776"/>
        </pc:sldMkLst>
      </pc:sldChg>
      <pc:sldChg chg="del">
        <pc:chgData name="John Paserba" userId="77bd6c8a-d0c1-4fea-8705-0169f65d0c0e" providerId="ADAL" clId="{C4B84DB1-5F74-421B-920C-12B666C7B94D}" dt="2025-08-16T21:37:08.396" v="6" actId="47"/>
        <pc:sldMkLst>
          <pc:docMk/>
          <pc:sldMk cId="4015560649" sldId="2147471777"/>
        </pc:sldMkLst>
      </pc:sldChg>
      <pc:sldChg chg="del">
        <pc:chgData name="John Paserba" userId="77bd6c8a-d0c1-4fea-8705-0169f65d0c0e" providerId="ADAL" clId="{C4B84DB1-5F74-421B-920C-12B666C7B94D}" dt="2025-08-16T21:37:08.396" v="6" actId="47"/>
        <pc:sldMkLst>
          <pc:docMk/>
          <pc:sldMk cId="4155268325" sldId="2147471778"/>
        </pc:sldMkLst>
      </pc:sldChg>
      <pc:sldChg chg="del">
        <pc:chgData name="John Paserba" userId="77bd6c8a-d0c1-4fea-8705-0169f65d0c0e" providerId="ADAL" clId="{C4B84DB1-5F74-421B-920C-12B666C7B94D}" dt="2025-08-16T21:37:28.542" v="7" actId="47"/>
        <pc:sldMkLst>
          <pc:docMk/>
          <pc:sldMk cId="2646028243" sldId="2147471780"/>
        </pc:sldMkLst>
      </pc:sldChg>
      <pc:sldChg chg="del">
        <pc:chgData name="John Paserba" userId="77bd6c8a-d0c1-4fea-8705-0169f65d0c0e" providerId="ADAL" clId="{C4B84DB1-5F74-421B-920C-12B666C7B94D}" dt="2025-08-16T21:37:28.542" v="7" actId="47"/>
        <pc:sldMkLst>
          <pc:docMk/>
          <pc:sldMk cId="2035439506" sldId="2147471781"/>
        </pc:sldMkLst>
      </pc:sldChg>
      <pc:sldChg chg="del">
        <pc:chgData name="John Paserba" userId="77bd6c8a-d0c1-4fea-8705-0169f65d0c0e" providerId="ADAL" clId="{C4B84DB1-5F74-421B-920C-12B666C7B94D}" dt="2025-08-16T21:37:28.542" v="7" actId="47"/>
        <pc:sldMkLst>
          <pc:docMk/>
          <pc:sldMk cId="2655036657" sldId="2147471782"/>
        </pc:sldMkLst>
      </pc:sldChg>
      <pc:sldChg chg="del">
        <pc:chgData name="John Paserba" userId="77bd6c8a-d0c1-4fea-8705-0169f65d0c0e" providerId="ADAL" clId="{C4B84DB1-5F74-421B-920C-12B666C7B94D}" dt="2025-08-16T21:37:28.542" v="7" actId="47"/>
        <pc:sldMkLst>
          <pc:docMk/>
          <pc:sldMk cId="2714485979" sldId="2147471783"/>
        </pc:sldMkLst>
      </pc:sldChg>
      <pc:sldChg chg="del">
        <pc:chgData name="John Paserba" userId="77bd6c8a-d0c1-4fea-8705-0169f65d0c0e" providerId="ADAL" clId="{C4B84DB1-5F74-421B-920C-12B666C7B94D}" dt="2025-08-16T21:37:28.542" v="7" actId="47"/>
        <pc:sldMkLst>
          <pc:docMk/>
          <pc:sldMk cId="516964238" sldId="2147471784"/>
        </pc:sldMkLst>
      </pc:sldChg>
      <pc:sldChg chg="del">
        <pc:chgData name="John Paserba" userId="77bd6c8a-d0c1-4fea-8705-0169f65d0c0e" providerId="ADAL" clId="{C4B84DB1-5F74-421B-920C-12B666C7B94D}" dt="2025-08-16T21:37:28.542" v="7" actId="47"/>
        <pc:sldMkLst>
          <pc:docMk/>
          <pc:sldMk cId="519710030" sldId="2147471785"/>
        </pc:sldMkLst>
      </pc:sldChg>
      <pc:sldChg chg="del">
        <pc:chgData name="John Paserba" userId="77bd6c8a-d0c1-4fea-8705-0169f65d0c0e" providerId="ADAL" clId="{C4B84DB1-5F74-421B-920C-12B666C7B94D}" dt="2025-08-16T21:37:28.542" v="7" actId="47"/>
        <pc:sldMkLst>
          <pc:docMk/>
          <pc:sldMk cId="545361035" sldId="2147471786"/>
        </pc:sldMkLst>
      </pc:sldChg>
      <pc:sldMasterChg chg="delSldLayout">
        <pc:chgData name="John Paserba" userId="77bd6c8a-d0c1-4fea-8705-0169f65d0c0e" providerId="ADAL" clId="{C4B84DB1-5F74-421B-920C-12B666C7B94D}" dt="2025-08-16T21:37:28.542" v="7" actId="47"/>
        <pc:sldMasterMkLst>
          <pc:docMk/>
          <pc:sldMasterMk cId="1284389399" sldId="2147483648"/>
        </pc:sldMasterMkLst>
        <pc:sldLayoutChg chg="del">
          <pc:chgData name="John Paserba" userId="77bd6c8a-d0c1-4fea-8705-0169f65d0c0e" providerId="ADAL" clId="{C4B84DB1-5F74-421B-920C-12B666C7B94D}" dt="2025-08-16T21:37:28.542" v="7" actId="47"/>
          <pc:sldLayoutMkLst>
            <pc:docMk/>
            <pc:sldMasterMk cId="1284389399" sldId="2147483648"/>
            <pc:sldLayoutMk cId="2385222456" sldId="2147483770"/>
          </pc:sldLayoutMkLst>
        </pc:sldLayoutChg>
      </pc:sldMasterChg>
      <pc:sldMasterChg chg="del delSldLayout">
        <pc:chgData name="John Paserba" userId="77bd6c8a-d0c1-4fea-8705-0169f65d0c0e" providerId="ADAL" clId="{C4B84DB1-5F74-421B-920C-12B666C7B94D}" dt="2025-08-16T21:37:28.542" v="7" actId="47"/>
        <pc:sldMasterMkLst>
          <pc:docMk/>
          <pc:sldMasterMk cId="1887632388" sldId="2147483754"/>
        </pc:sldMasterMkLst>
        <pc:sldLayoutChg chg="del">
          <pc:chgData name="John Paserba" userId="77bd6c8a-d0c1-4fea-8705-0169f65d0c0e" providerId="ADAL" clId="{C4B84DB1-5F74-421B-920C-12B666C7B94D}" dt="2025-08-16T21:37:28.542" v="7" actId="47"/>
          <pc:sldLayoutMkLst>
            <pc:docMk/>
            <pc:sldMasterMk cId="1887632388" sldId="2147483754"/>
            <pc:sldLayoutMk cId="1303279764" sldId="2147483755"/>
          </pc:sldLayoutMkLst>
        </pc:sldLayoutChg>
        <pc:sldLayoutChg chg="del">
          <pc:chgData name="John Paserba" userId="77bd6c8a-d0c1-4fea-8705-0169f65d0c0e" providerId="ADAL" clId="{C4B84DB1-5F74-421B-920C-12B666C7B94D}" dt="2025-08-16T21:37:28.542" v="7" actId="47"/>
          <pc:sldLayoutMkLst>
            <pc:docMk/>
            <pc:sldMasterMk cId="1887632388" sldId="2147483754"/>
            <pc:sldLayoutMk cId="1761654418" sldId="2147483756"/>
          </pc:sldLayoutMkLst>
        </pc:sldLayoutChg>
        <pc:sldLayoutChg chg="del">
          <pc:chgData name="John Paserba" userId="77bd6c8a-d0c1-4fea-8705-0169f65d0c0e" providerId="ADAL" clId="{C4B84DB1-5F74-421B-920C-12B666C7B94D}" dt="2025-08-16T21:37:28.542" v="7" actId="47"/>
          <pc:sldLayoutMkLst>
            <pc:docMk/>
            <pc:sldMasterMk cId="1887632388" sldId="2147483754"/>
            <pc:sldLayoutMk cId="2514517137" sldId="2147483757"/>
          </pc:sldLayoutMkLst>
        </pc:sldLayoutChg>
        <pc:sldLayoutChg chg="del">
          <pc:chgData name="John Paserba" userId="77bd6c8a-d0c1-4fea-8705-0169f65d0c0e" providerId="ADAL" clId="{C4B84DB1-5F74-421B-920C-12B666C7B94D}" dt="2025-08-16T21:37:28.542" v="7" actId="47"/>
          <pc:sldLayoutMkLst>
            <pc:docMk/>
            <pc:sldMasterMk cId="1887632388" sldId="2147483754"/>
            <pc:sldLayoutMk cId="2780918320" sldId="2147483758"/>
          </pc:sldLayoutMkLst>
        </pc:sldLayoutChg>
        <pc:sldLayoutChg chg="del">
          <pc:chgData name="John Paserba" userId="77bd6c8a-d0c1-4fea-8705-0169f65d0c0e" providerId="ADAL" clId="{C4B84DB1-5F74-421B-920C-12B666C7B94D}" dt="2025-08-16T21:37:28.542" v="7" actId="47"/>
          <pc:sldLayoutMkLst>
            <pc:docMk/>
            <pc:sldMasterMk cId="1887632388" sldId="2147483754"/>
            <pc:sldLayoutMk cId="317465154" sldId="2147483759"/>
          </pc:sldLayoutMkLst>
        </pc:sldLayoutChg>
        <pc:sldLayoutChg chg="del">
          <pc:chgData name="John Paserba" userId="77bd6c8a-d0c1-4fea-8705-0169f65d0c0e" providerId="ADAL" clId="{C4B84DB1-5F74-421B-920C-12B666C7B94D}" dt="2025-08-16T21:37:28.542" v="7" actId="47"/>
          <pc:sldLayoutMkLst>
            <pc:docMk/>
            <pc:sldMasterMk cId="1887632388" sldId="2147483754"/>
            <pc:sldLayoutMk cId="504862697" sldId="2147483760"/>
          </pc:sldLayoutMkLst>
        </pc:sldLayoutChg>
        <pc:sldLayoutChg chg="del">
          <pc:chgData name="John Paserba" userId="77bd6c8a-d0c1-4fea-8705-0169f65d0c0e" providerId="ADAL" clId="{C4B84DB1-5F74-421B-920C-12B666C7B94D}" dt="2025-08-16T21:37:28.542" v="7" actId="47"/>
          <pc:sldLayoutMkLst>
            <pc:docMk/>
            <pc:sldMasterMk cId="1887632388" sldId="2147483754"/>
            <pc:sldLayoutMk cId="1763840676" sldId="2147483761"/>
          </pc:sldLayoutMkLst>
        </pc:sldLayoutChg>
        <pc:sldLayoutChg chg="del">
          <pc:chgData name="John Paserba" userId="77bd6c8a-d0c1-4fea-8705-0169f65d0c0e" providerId="ADAL" clId="{C4B84DB1-5F74-421B-920C-12B666C7B94D}" dt="2025-08-16T21:37:28.542" v="7" actId="47"/>
          <pc:sldLayoutMkLst>
            <pc:docMk/>
            <pc:sldMasterMk cId="1887632388" sldId="2147483754"/>
            <pc:sldLayoutMk cId="3949625824" sldId="2147483762"/>
          </pc:sldLayoutMkLst>
        </pc:sldLayoutChg>
        <pc:sldLayoutChg chg="del">
          <pc:chgData name="John Paserba" userId="77bd6c8a-d0c1-4fea-8705-0169f65d0c0e" providerId="ADAL" clId="{C4B84DB1-5F74-421B-920C-12B666C7B94D}" dt="2025-08-16T21:37:28.542" v="7" actId="47"/>
          <pc:sldLayoutMkLst>
            <pc:docMk/>
            <pc:sldMasterMk cId="1887632388" sldId="2147483754"/>
            <pc:sldLayoutMk cId="2843232485" sldId="2147483763"/>
          </pc:sldLayoutMkLst>
        </pc:sldLayoutChg>
        <pc:sldLayoutChg chg="del">
          <pc:chgData name="John Paserba" userId="77bd6c8a-d0c1-4fea-8705-0169f65d0c0e" providerId="ADAL" clId="{C4B84DB1-5F74-421B-920C-12B666C7B94D}" dt="2025-08-16T21:37:28.542" v="7" actId="47"/>
          <pc:sldLayoutMkLst>
            <pc:docMk/>
            <pc:sldMasterMk cId="1887632388" sldId="2147483754"/>
            <pc:sldLayoutMk cId="229562893" sldId="2147483764"/>
          </pc:sldLayoutMkLst>
        </pc:sldLayoutChg>
        <pc:sldLayoutChg chg="del">
          <pc:chgData name="John Paserba" userId="77bd6c8a-d0c1-4fea-8705-0169f65d0c0e" providerId="ADAL" clId="{C4B84DB1-5F74-421B-920C-12B666C7B94D}" dt="2025-08-16T21:37:28.542" v="7" actId="47"/>
          <pc:sldLayoutMkLst>
            <pc:docMk/>
            <pc:sldMasterMk cId="1887632388" sldId="2147483754"/>
            <pc:sldLayoutMk cId="3692369183" sldId="2147483765"/>
          </pc:sldLayoutMkLst>
        </pc:sldLayoutChg>
        <pc:sldLayoutChg chg="del">
          <pc:chgData name="John Paserba" userId="77bd6c8a-d0c1-4fea-8705-0169f65d0c0e" providerId="ADAL" clId="{C4B84DB1-5F74-421B-920C-12B666C7B94D}" dt="2025-08-16T21:37:28.542" v="7" actId="47"/>
          <pc:sldLayoutMkLst>
            <pc:docMk/>
            <pc:sldMasterMk cId="1887632388" sldId="2147483754"/>
            <pc:sldLayoutMk cId="3240062407" sldId="2147483766"/>
          </pc:sldLayoutMkLst>
        </pc:sldLayoutChg>
      </pc:sldMasterChg>
      <pc:sldMasterChg chg="del delSldLayout">
        <pc:chgData name="John Paserba" userId="77bd6c8a-d0c1-4fea-8705-0169f65d0c0e" providerId="ADAL" clId="{C4B84DB1-5F74-421B-920C-12B666C7B94D}" dt="2025-08-16T21:37:28.542" v="7" actId="47"/>
        <pc:sldMasterMkLst>
          <pc:docMk/>
          <pc:sldMasterMk cId="2069327877" sldId="2147483871"/>
        </pc:sldMasterMkLst>
        <pc:sldLayoutChg chg="del">
          <pc:chgData name="John Paserba" userId="77bd6c8a-d0c1-4fea-8705-0169f65d0c0e" providerId="ADAL" clId="{C4B84DB1-5F74-421B-920C-12B666C7B94D}" dt="2025-08-16T21:37:28.542" v="7" actId="47"/>
          <pc:sldLayoutMkLst>
            <pc:docMk/>
            <pc:sldMasterMk cId="2069327877" sldId="2147483871"/>
            <pc:sldLayoutMk cId="3464859866" sldId="2147483872"/>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1632770899" sldId="2147483873"/>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2048175460" sldId="2147483874"/>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2050769369" sldId="2147483875"/>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3520517957" sldId="2147483876"/>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1577953408" sldId="2147483877"/>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3679776428" sldId="2147483878"/>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3287178069" sldId="2147483879"/>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1284373739" sldId="2147483880"/>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2172076986" sldId="2147483881"/>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262300777" sldId="2147483882"/>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1300832725" sldId="2147483883"/>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4177887592" sldId="2147483884"/>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2939384147" sldId="2147483885"/>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2483399139" sldId="2147483886"/>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2274066903" sldId="2147483887"/>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3602575374" sldId="2147483888"/>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4101512479" sldId="2147483889"/>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474953941" sldId="2147483890"/>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3402939355" sldId="2147483891"/>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2039666616" sldId="2147483892"/>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2910648042" sldId="2147483893"/>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2878066344" sldId="2147483894"/>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113807762" sldId="2147483895"/>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3561291486" sldId="2147483896"/>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605305856" sldId="2147483897"/>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3733583836" sldId="2147483898"/>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4132736544" sldId="2147483899"/>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3278206276" sldId="2147483900"/>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1370883482" sldId="2147483901"/>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2482965081" sldId="2147483902"/>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4187461039" sldId="2147483903"/>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202640841" sldId="2147483904"/>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3940052605" sldId="2147483905"/>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1678513294" sldId="2147483906"/>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3348212592" sldId="2147483907"/>
          </pc:sldLayoutMkLst>
        </pc:sldLayoutChg>
        <pc:sldLayoutChg chg="del">
          <pc:chgData name="John Paserba" userId="77bd6c8a-d0c1-4fea-8705-0169f65d0c0e" providerId="ADAL" clId="{C4B84DB1-5F74-421B-920C-12B666C7B94D}" dt="2025-08-16T21:37:28.542" v="7" actId="47"/>
          <pc:sldLayoutMkLst>
            <pc:docMk/>
            <pc:sldMasterMk cId="2069327877" sldId="2147483871"/>
            <pc:sldLayoutMk cId="380144546" sldId="2147483909"/>
          </pc:sldLayoutMkLst>
        </pc:sldLayoutChg>
      </pc:sldMasterChg>
      <pc:sldMasterChg chg="del delSldLayout">
        <pc:chgData name="John Paserba" userId="77bd6c8a-d0c1-4fea-8705-0169f65d0c0e" providerId="ADAL" clId="{C4B84DB1-5F74-421B-920C-12B666C7B94D}" dt="2025-08-16T21:37:28.542" v="7" actId="47"/>
        <pc:sldMasterMkLst>
          <pc:docMk/>
          <pc:sldMasterMk cId="3152738557" sldId="2147483910"/>
        </pc:sldMasterMkLst>
        <pc:sldLayoutChg chg="del">
          <pc:chgData name="John Paserba" userId="77bd6c8a-d0c1-4fea-8705-0169f65d0c0e" providerId="ADAL" clId="{C4B84DB1-5F74-421B-920C-12B666C7B94D}" dt="2025-08-16T21:37:28.542" v="7" actId="47"/>
          <pc:sldLayoutMkLst>
            <pc:docMk/>
            <pc:sldMasterMk cId="3152738557" sldId="2147483910"/>
            <pc:sldLayoutMk cId="4146471224" sldId="2147483911"/>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1926806808" sldId="2147483912"/>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741783236" sldId="2147483913"/>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1633327222" sldId="2147483914"/>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1112215661" sldId="2147483915"/>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3531354131" sldId="2147483916"/>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1833041881" sldId="2147483917"/>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3106590579" sldId="2147483918"/>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23533703" sldId="2147483919"/>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373865773" sldId="2147483920"/>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3286036328" sldId="2147483921"/>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2191856704" sldId="2147483922"/>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4156271191" sldId="2147483923"/>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551833149" sldId="2147483924"/>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3377596378" sldId="2147483925"/>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238394266" sldId="2147483926"/>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2941752592" sldId="2147483927"/>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3142241318" sldId="2147483928"/>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2766682147" sldId="2147483929"/>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1391539023" sldId="2147483930"/>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2441828291" sldId="2147483931"/>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127550055" sldId="2147483932"/>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1810502208" sldId="2147483933"/>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1170880491" sldId="2147483934"/>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3175563210" sldId="2147483935"/>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818169901" sldId="2147483936"/>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823290266" sldId="2147483937"/>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1082332317" sldId="2147483938"/>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909703052" sldId="2147483939"/>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1086416273" sldId="2147483940"/>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1976563900" sldId="2147483941"/>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3980880522" sldId="2147483942"/>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4149652426" sldId="2147483943"/>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1309757392" sldId="2147483944"/>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2399625118" sldId="2147483945"/>
          </pc:sldLayoutMkLst>
        </pc:sldLayoutChg>
        <pc:sldLayoutChg chg="del">
          <pc:chgData name="John Paserba" userId="77bd6c8a-d0c1-4fea-8705-0169f65d0c0e" providerId="ADAL" clId="{C4B84DB1-5F74-421B-920C-12B666C7B94D}" dt="2025-08-16T21:37:28.542" v="7" actId="47"/>
          <pc:sldLayoutMkLst>
            <pc:docMk/>
            <pc:sldMasterMk cId="3152738557" sldId="2147483910"/>
            <pc:sldLayoutMk cId="3279502027" sldId="2147483946"/>
          </pc:sldLayoutMkLst>
        </pc:sldLayoutChg>
      </pc:sldMasterChg>
      <pc:sldMasterChg chg="del delSldLayout">
        <pc:chgData name="John Paserba" userId="77bd6c8a-d0c1-4fea-8705-0169f65d0c0e" providerId="ADAL" clId="{C4B84DB1-5F74-421B-920C-12B666C7B94D}" dt="2025-08-16T21:37:28.542" v="7" actId="47"/>
        <pc:sldMasterMkLst>
          <pc:docMk/>
          <pc:sldMasterMk cId="1583575706" sldId="2147483947"/>
        </pc:sldMasterMkLst>
        <pc:sldLayoutChg chg="del">
          <pc:chgData name="John Paserba" userId="77bd6c8a-d0c1-4fea-8705-0169f65d0c0e" providerId="ADAL" clId="{C4B84DB1-5F74-421B-920C-12B666C7B94D}" dt="2025-08-16T21:37:28.542" v="7" actId="47"/>
          <pc:sldLayoutMkLst>
            <pc:docMk/>
            <pc:sldMasterMk cId="1583575706" sldId="2147483947"/>
            <pc:sldLayoutMk cId="2136788074" sldId="2147483948"/>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32321839" sldId="2147483949"/>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3947694453" sldId="2147483950"/>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4178130923" sldId="2147483951"/>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4126350881" sldId="2147483952"/>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3761977291" sldId="2147483953"/>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707308968" sldId="2147483954"/>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1704811677" sldId="2147483955"/>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2528171653" sldId="2147483956"/>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1073973254" sldId="2147483957"/>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2703645393" sldId="2147483958"/>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1252267997" sldId="2147483959"/>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2713339687" sldId="2147483960"/>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491845914" sldId="2147483961"/>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3009979736" sldId="2147483962"/>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1522977595" sldId="2147483963"/>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3087884685" sldId="2147483964"/>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3059924613" sldId="2147483965"/>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2322887733" sldId="2147483966"/>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3578971308" sldId="2147483967"/>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2155412327" sldId="2147483968"/>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411243621" sldId="2147483969"/>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2310745876" sldId="2147483970"/>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3770049699" sldId="2147483971"/>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2054879066" sldId="2147483972"/>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1371858874" sldId="2147483973"/>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4092475939" sldId="2147483974"/>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2374873302" sldId="2147483975"/>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148516999" sldId="2147483976"/>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406836384" sldId="2147483977"/>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486191073" sldId="2147483978"/>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1286959585" sldId="2147483979"/>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2708191523" sldId="2147483980"/>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3265966398" sldId="2147483981"/>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505197609" sldId="2147483982"/>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3189464323" sldId="2147483983"/>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2469004378" sldId="2147483984"/>
          </pc:sldLayoutMkLst>
        </pc:sldLayoutChg>
        <pc:sldLayoutChg chg="del">
          <pc:chgData name="John Paserba" userId="77bd6c8a-d0c1-4fea-8705-0169f65d0c0e" providerId="ADAL" clId="{C4B84DB1-5F74-421B-920C-12B666C7B94D}" dt="2025-08-16T21:37:28.542" v="7" actId="47"/>
          <pc:sldLayoutMkLst>
            <pc:docMk/>
            <pc:sldMasterMk cId="1583575706" sldId="2147483947"/>
            <pc:sldLayoutMk cId="953880263" sldId="2147483985"/>
          </pc:sldLayoutMkLst>
        </pc:sldLayoutChg>
      </pc:sldMasterChg>
      <pc:sldMasterChg chg="del delSldLayout">
        <pc:chgData name="John Paserba" userId="77bd6c8a-d0c1-4fea-8705-0169f65d0c0e" providerId="ADAL" clId="{C4B84DB1-5F74-421B-920C-12B666C7B94D}" dt="2025-08-16T21:37:28.542" v="7" actId="47"/>
        <pc:sldMasterMkLst>
          <pc:docMk/>
          <pc:sldMasterMk cId="1059898253" sldId="2147483986"/>
        </pc:sldMasterMkLst>
        <pc:sldLayoutChg chg="del">
          <pc:chgData name="John Paserba" userId="77bd6c8a-d0c1-4fea-8705-0169f65d0c0e" providerId="ADAL" clId="{C4B84DB1-5F74-421B-920C-12B666C7B94D}" dt="2025-08-16T21:37:28.542" v="7" actId="47"/>
          <pc:sldLayoutMkLst>
            <pc:docMk/>
            <pc:sldMasterMk cId="1059898253" sldId="2147483986"/>
            <pc:sldLayoutMk cId="3909992579" sldId="2147483987"/>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3199899864" sldId="2147483988"/>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995289497" sldId="2147483989"/>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1230504223" sldId="2147483990"/>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3804007402" sldId="2147483991"/>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2266839511" sldId="2147483992"/>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2297591052" sldId="2147483993"/>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1849180392" sldId="2147483994"/>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1949927336" sldId="2147483995"/>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3800164314" sldId="2147483996"/>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1889962478" sldId="2147483997"/>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3851220932" sldId="2147483998"/>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617272419" sldId="2147483999"/>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1700651772" sldId="2147484000"/>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760339678" sldId="2147484001"/>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2533558656" sldId="2147484002"/>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2931815821" sldId="2147484003"/>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295671892" sldId="2147484004"/>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3129647132" sldId="2147484005"/>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1436694240" sldId="2147484006"/>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4073814545" sldId="2147484007"/>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1938878362" sldId="2147484008"/>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1342927535" sldId="2147484009"/>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3238741435" sldId="2147484010"/>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1295811909" sldId="2147484011"/>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679994415" sldId="2147484012"/>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693003745" sldId="2147484013"/>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2202425636" sldId="2147484014"/>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4228195322" sldId="2147484015"/>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2085314412" sldId="2147484016"/>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1666282428" sldId="2147484017"/>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1840812245" sldId="2147484018"/>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2070183085" sldId="2147484019"/>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3824551477" sldId="2147484020"/>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255542512" sldId="2147484021"/>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157367113" sldId="2147484022"/>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1794270932" sldId="2147484023"/>
          </pc:sldLayoutMkLst>
        </pc:sldLayoutChg>
        <pc:sldLayoutChg chg="del">
          <pc:chgData name="John Paserba" userId="77bd6c8a-d0c1-4fea-8705-0169f65d0c0e" providerId="ADAL" clId="{C4B84DB1-5F74-421B-920C-12B666C7B94D}" dt="2025-08-16T21:37:28.542" v="7" actId="47"/>
          <pc:sldLayoutMkLst>
            <pc:docMk/>
            <pc:sldMasterMk cId="1059898253" sldId="2147483986"/>
            <pc:sldLayoutMk cId="19078508" sldId="2147484024"/>
          </pc:sldLayoutMkLst>
        </pc:sldLayoutChg>
      </pc:sldMasterChg>
      <pc:sldMasterChg chg="del delSldLayout">
        <pc:chgData name="John Paserba" userId="77bd6c8a-d0c1-4fea-8705-0169f65d0c0e" providerId="ADAL" clId="{C4B84DB1-5F74-421B-920C-12B666C7B94D}" dt="2025-08-16T21:37:28.542" v="7" actId="47"/>
        <pc:sldMasterMkLst>
          <pc:docMk/>
          <pc:sldMasterMk cId="3262351078" sldId="2147484025"/>
        </pc:sldMasterMkLst>
        <pc:sldLayoutChg chg="del">
          <pc:chgData name="John Paserba" userId="77bd6c8a-d0c1-4fea-8705-0169f65d0c0e" providerId="ADAL" clId="{C4B84DB1-5F74-421B-920C-12B666C7B94D}" dt="2025-08-16T21:37:28.542" v="7" actId="47"/>
          <pc:sldLayoutMkLst>
            <pc:docMk/>
            <pc:sldMasterMk cId="3262351078" sldId="2147484025"/>
            <pc:sldLayoutMk cId="2558626724" sldId="2147484026"/>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984434581" sldId="2147484027"/>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1046376167" sldId="2147484028"/>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1994620463" sldId="2147484029"/>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2233316533" sldId="2147484030"/>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703453160" sldId="2147484031"/>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3445200981" sldId="2147484032"/>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920215093" sldId="2147484033"/>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1854032394" sldId="2147484034"/>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3270782203" sldId="2147484035"/>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416767390" sldId="2147484036"/>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3699901311" sldId="2147484037"/>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3980957020" sldId="2147484038"/>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2669887723" sldId="2147484039"/>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825871622" sldId="2147484040"/>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2460856038" sldId="2147484041"/>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199261302" sldId="2147484042"/>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139381904" sldId="2147484043"/>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4037914419" sldId="2147484044"/>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3732894743" sldId="2147484045"/>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289150904" sldId="2147484046"/>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922271413" sldId="2147484047"/>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2624565002" sldId="2147484048"/>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2021500648" sldId="2147484049"/>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1748451334" sldId="2147484050"/>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3051335575" sldId="2147484051"/>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4092725945" sldId="2147484052"/>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2267339663" sldId="2147484053"/>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2372207635" sldId="2147484054"/>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1835615778" sldId="2147484055"/>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2746596919" sldId="2147484056"/>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2117009116" sldId="2147484057"/>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1223024017" sldId="2147484058"/>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1531025285" sldId="2147484059"/>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2238481273" sldId="2147484060"/>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3800701643" sldId="2147484061"/>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1486730000" sldId="2147484062"/>
          </pc:sldLayoutMkLst>
        </pc:sldLayoutChg>
        <pc:sldLayoutChg chg="del">
          <pc:chgData name="John Paserba" userId="77bd6c8a-d0c1-4fea-8705-0169f65d0c0e" providerId="ADAL" clId="{C4B84DB1-5F74-421B-920C-12B666C7B94D}" dt="2025-08-16T21:37:28.542" v="7" actId="47"/>
          <pc:sldLayoutMkLst>
            <pc:docMk/>
            <pc:sldMasterMk cId="3262351078" sldId="2147484025"/>
            <pc:sldLayoutMk cId="4011222455" sldId="2147484063"/>
          </pc:sldLayoutMkLst>
        </pc:sldLayoutChg>
      </pc:sldMasterChg>
    </pc:docChg>
  </pc:docChgLst>
  <pc:docChgLst>
    <pc:chgData name="John Paserba" userId="77bd6c8a-d0c1-4fea-8705-0169f65d0c0e" providerId="ADAL" clId="{2EA9FB0B-4549-4E13-B047-43E9F3BB54AC}"/>
    <pc:docChg chg="modSld">
      <pc:chgData name="John Paserba" userId="77bd6c8a-d0c1-4fea-8705-0169f65d0c0e" providerId="ADAL" clId="{2EA9FB0B-4549-4E13-B047-43E9F3BB54AC}" dt="2025-07-28T18:25:03.297" v="97" actId="20577"/>
      <pc:docMkLst>
        <pc:docMk/>
      </pc:docMkLst>
      <pc:sldChg chg="modSp mod">
        <pc:chgData name="John Paserba" userId="77bd6c8a-d0c1-4fea-8705-0169f65d0c0e" providerId="ADAL" clId="{2EA9FB0B-4549-4E13-B047-43E9F3BB54AC}" dt="2025-07-28T18:25:03.297" v="97" actId="20577"/>
        <pc:sldMkLst>
          <pc:docMk/>
          <pc:sldMk cId="3260108025" sldId="2147471143"/>
        </pc:sldMkLst>
        <pc:spChg chg="mod">
          <ac:chgData name="John Paserba" userId="77bd6c8a-d0c1-4fea-8705-0169f65d0c0e" providerId="ADAL" clId="{2EA9FB0B-4549-4E13-B047-43E9F3BB54AC}" dt="2025-07-28T18:25:03.297" v="97" actId="20577"/>
          <ac:spMkLst>
            <pc:docMk/>
            <pc:sldMk cId="3260108025" sldId="2147471143"/>
            <ac:spMk id="12" creationId="{F45E667D-D9ED-4BE1-999E-2A4766484A8F}"/>
          </ac:spMkLst>
        </pc:spChg>
      </pc:sldChg>
      <pc:sldChg chg="modSp mod">
        <pc:chgData name="John Paserba" userId="77bd6c8a-d0c1-4fea-8705-0169f65d0c0e" providerId="ADAL" clId="{2EA9FB0B-4549-4E13-B047-43E9F3BB54AC}" dt="2025-07-28T18:09:11.115" v="82" actId="20577"/>
        <pc:sldMkLst>
          <pc:docMk/>
          <pc:sldMk cId="2485570784" sldId="2147471643"/>
        </pc:sldMkLst>
        <pc:spChg chg="mod">
          <ac:chgData name="John Paserba" userId="77bd6c8a-d0c1-4fea-8705-0169f65d0c0e" providerId="ADAL" clId="{2EA9FB0B-4549-4E13-B047-43E9F3BB54AC}" dt="2025-07-28T18:09:11.115" v="82" actId="20577"/>
          <ac:spMkLst>
            <pc:docMk/>
            <pc:sldMk cId="2485570784" sldId="2147471643"/>
            <ac:spMk id="14" creationId="{00000000-0000-0000-0000-000000000000}"/>
          </ac:spMkLst>
        </pc:spChg>
      </pc:sldChg>
      <pc:sldChg chg="modSp mod">
        <pc:chgData name="John Paserba" userId="77bd6c8a-d0c1-4fea-8705-0169f65d0c0e" providerId="ADAL" clId="{2EA9FB0B-4549-4E13-B047-43E9F3BB54AC}" dt="2025-07-28T18:07:27.102" v="78" actId="20577"/>
        <pc:sldMkLst>
          <pc:docMk/>
          <pc:sldMk cId="2283321829" sldId="2147471649"/>
        </pc:sldMkLst>
        <pc:spChg chg="mod">
          <ac:chgData name="John Paserba" userId="77bd6c8a-d0c1-4fea-8705-0169f65d0c0e" providerId="ADAL" clId="{2EA9FB0B-4549-4E13-B047-43E9F3BB54AC}" dt="2025-07-28T18:07:27.102" v="78" actId="20577"/>
          <ac:spMkLst>
            <pc:docMk/>
            <pc:sldMk cId="2283321829" sldId="2147471649"/>
            <ac:spMk id="3" creationId="{E6993746-A424-4F09-867F-B919F4E18ECB}"/>
          </ac:spMkLst>
        </pc:spChg>
      </pc:sldChg>
      <pc:sldChg chg="modSp mod">
        <pc:chgData name="John Paserba" userId="77bd6c8a-d0c1-4fea-8705-0169f65d0c0e" providerId="ADAL" clId="{2EA9FB0B-4549-4E13-B047-43E9F3BB54AC}" dt="2025-07-28T18:24:29.912" v="87" actId="20577"/>
        <pc:sldMkLst>
          <pc:docMk/>
          <pc:sldMk cId="4225029992" sldId="2147471708"/>
        </pc:sldMkLst>
        <pc:spChg chg="mod">
          <ac:chgData name="John Paserba" userId="77bd6c8a-d0c1-4fea-8705-0169f65d0c0e" providerId="ADAL" clId="{2EA9FB0B-4549-4E13-B047-43E9F3BB54AC}" dt="2025-07-28T18:24:29.912" v="87" actId="20577"/>
          <ac:spMkLst>
            <pc:docMk/>
            <pc:sldMk cId="4225029992" sldId="2147471708"/>
            <ac:spMk id="27" creationId="{756418B6-D77C-49FB-82D0-449E1514005D}"/>
          </ac:spMkLst>
        </pc:spChg>
      </pc:sldChg>
      <pc:sldChg chg="modSp mod">
        <pc:chgData name="John Paserba" userId="77bd6c8a-d0c1-4fea-8705-0169f65d0c0e" providerId="ADAL" clId="{2EA9FB0B-4549-4E13-B047-43E9F3BB54AC}" dt="2025-07-28T18:06:19.761" v="63" actId="20577"/>
        <pc:sldMkLst>
          <pc:docMk/>
          <pc:sldMk cId="2478508329" sldId="2147471759"/>
        </pc:sldMkLst>
        <pc:spChg chg="mod">
          <ac:chgData name="John Paserba" userId="77bd6c8a-d0c1-4fea-8705-0169f65d0c0e" providerId="ADAL" clId="{2EA9FB0B-4549-4E13-B047-43E9F3BB54AC}" dt="2025-07-28T18:06:19.761" v="63" actId="20577"/>
          <ac:spMkLst>
            <pc:docMk/>
            <pc:sldMk cId="2478508329" sldId="2147471759"/>
            <ac:spMk id="9" creationId="{BAAF9788-3882-7FD4-A043-13E164D06B60}"/>
          </ac:spMkLst>
        </pc:spChg>
      </pc:sldChg>
      <pc:sldChg chg="modSp mod">
        <pc:chgData name="John Paserba" userId="77bd6c8a-d0c1-4fea-8705-0169f65d0c0e" providerId="ADAL" clId="{2EA9FB0B-4549-4E13-B047-43E9F3BB54AC}" dt="2025-07-28T18:04:45.612" v="5" actId="20577"/>
        <pc:sldMkLst>
          <pc:docMk/>
          <pc:sldMk cId="3980057186" sldId="2147471772"/>
        </pc:sldMkLst>
        <pc:spChg chg="mod">
          <ac:chgData name="John Paserba" userId="77bd6c8a-d0c1-4fea-8705-0169f65d0c0e" providerId="ADAL" clId="{2EA9FB0B-4549-4E13-B047-43E9F3BB54AC}" dt="2025-07-28T18:04:45.612" v="5" actId="20577"/>
          <ac:spMkLst>
            <pc:docMk/>
            <pc:sldMk cId="3980057186" sldId="2147471772"/>
            <ac:spMk id="3" creationId="{E6993746-A424-4F09-867F-B919F4E18ECB}"/>
          </ac:spMkLst>
        </pc:spChg>
      </pc:sldChg>
    </pc:docChg>
  </pc:docChgLst>
  <pc:docChgLst>
    <pc:chgData name="John Paserba" userId="77bd6c8a-d0c1-4fea-8705-0169f65d0c0e" providerId="ADAL" clId="{A1C772D9-4FDD-4D7D-B3B4-103EC4264E41}"/>
    <pc:docChg chg="undo redo custSel addSld delSld modSld">
      <pc:chgData name="John Paserba" userId="77bd6c8a-d0c1-4fea-8705-0169f65d0c0e" providerId="ADAL" clId="{A1C772D9-4FDD-4D7D-B3B4-103EC4264E41}" dt="2025-07-20T23:48:52.183" v="3432" actId="255"/>
      <pc:docMkLst>
        <pc:docMk/>
      </pc:docMkLst>
      <pc:sldChg chg="delSp mod">
        <pc:chgData name="John Paserba" userId="77bd6c8a-d0c1-4fea-8705-0169f65d0c0e" providerId="ADAL" clId="{A1C772D9-4FDD-4D7D-B3B4-103EC4264E41}" dt="2025-07-20T22:57:43.897" v="3132" actId="478"/>
        <pc:sldMkLst>
          <pc:docMk/>
          <pc:sldMk cId="2521621173" sldId="2147471011"/>
        </pc:sldMkLst>
        <pc:spChg chg="del">
          <ac:chgData name="John Paserba" userId="77bd6c8a-d0c1-4fea-8705-0169f65d0c0e" providerId="ADAL" clId="{A1C772D9-4FDD-4D7D-B3B4-103EC4264E41}" dt="2025-07-20T22:57:43.897" v="3132" actId="478"/>
          <ac:spMkLst>
            <pc:docMk/>
            <pc:sldMk cId="2521621173" sldId="2147471011"/>
            <ac:spMk id="17" creationId="{89027ADE-30CB-4907-8B5B-AAF6E6A2A610}"/>
          </ac:spMkLst>
        </pc:spChg>
      </pc:sldChg>
      <pc:sldChg chg="modSp mod">
        <pc:chgData name="John Paserba" userId="77bd6c8a-d0c1-4fea-8705-0169f65d0c0e" providerId="ADAL" clId="{A1C772D9-4FDD-4D7D-B3B4-103EC4264E41}" dt="2025-07-20T23:36:13.912" v="3362" actId="1036"/>
        <pc:sldMkLst>
          <pc:docMk/>
          <pc:sldMk cId="3260108025" sldId="2147471143"/>
        </pc:sldMkLst>
        <pc:spChg chg="mod">
          <ac:chgData name="John Paserba" userId="77bd6c8a-d0c1-4fea-8705-0169f65d0c0e" providerId="ADAL" clId="{A1C772D9-4FDD-4D7D-B3B4-103EC4264E41}" dt="2025-07-20T23:36:13.912" v="3362" actId="1036"/>
          <ac:spMkLst>
            <pc:docMk/>
            <pc:sldMk cId="3260108025" sldId="2147471143"/>
            <ac:spMk id="43" creationId="{ED1898D7-B64C-C5FA-7660-FD1B62F07C3E}"/>
          </ac:spMkLst>
        </pc:spChg>
      </pc:sldChg>
      <pc:sldChg chg="del">
        <pc:chgData name="John Paserba" userId="77bd6c8a-d0c1-4fea-8705-0169f65d0c0e" providerId="ADAL" clId="{A1C772D9-4FDD-4D7D-B3B4-103EC4264E41}" dt="2025-07-20T22:58:07.155" v="3134" actId="47"/>
        <pc:sldMkLst>
          <pc:docMk/>
          <pc:sldMk cId="1798689786" sldId="2147471316"/>
        </pc:sldMkLst>
      </pc:sldChg>
      <pc:sldChg chg="add del">
        <pc:chgData name="John Paserba" userId="77bd6c8a-d0c1-4fea-8705-0169f65d0c0e" providerId="ADAL" clId="{A1C772D9-4FDD-4D7D-B3B4-103EC4264E41}" dt="2025-07-20T22:39:47.422" v="2973" actId="47"/>
        <pc:sldMkLst>
          <pc:docMk/>
          <pc:sldMk cId="1789101232" sldId="2147471322"/>
        </pc:sldMkLst>
      </pc:sldChg>
      <pc:sldChg chg="del">
        <pc:chgData name="John Paserba" userId="77bd6c8a-d0c1-4fea-8705-0169f65d0c0e" providerId="ADAL" clId="{A1C772D9-4FDD-4D7D-B3B4-103EC4264E41}" dt="2025-07-20T22:58:24.835" v="3135" actId="47"/>
        <pc:sldMkLst>
          <pc:docMk/>
          <pc:sldMk cId="4018940102" sldId="2147471332"/>
        </pc:sldMkLst>
      </pc:sldChg>
      <pc:sldChg chg="del">
        <pc:chgData name="John Paserba" userId="77bd6c8a-d0c1-4fea-8705-0169f65d0c0e" providerId="ADAL" clId="{A1C772D9-4FDD-4D7D-B3B4-103EC4264E41}" dt="2025-07-20T23:41:19.080" v="3364" actId="47"/>
        <pc:sldMkLst>
          <pc:docMk/>
          <pc:sldMk cId="3051881803" sldId="2147471368"/>
        </pc:sldMkLst>
      </pc:sldChg>
      <pc:sldChg chg="addSp modSp mod">
        <pc:chgData name="John Paserba" userId="77bd6c8a-d0c1-4fea-8705-0169f65d0c0e" providerId="ADAL" clId="{A1C772D9-4FDD-4D7D-B3B4-103EC4264E41}" dt="2025-07-20T23:42:13.312" v="3425" actId="688"/>
        <pc:sldMkLst>
          <pc:docMk/>
          <pc:sldMk cId="195241491" sldId="2147471370"/>
        </pc:sldMkLst>
        <pc:spChg chg="add mod">
          <ac:chgData name="John Paserba" userId="77bd6c8a-d0c1-4fea-8705-0169f65d0c0e" providerId="ADAL" clId="{A1C772D9-4FDD-4D7D-B3B4-103EC4264E41}" dt="2025-07-20T23:42:13.312" v="3425" actId="688"/>
          <ac:spMkLst>
            <pc:docMk/>
            <pc:sldMk cId="195241491" sldId="2147471370"/>
            <ac:spMk id="6" creationId="{C538B55C-48D5-436B-B0FB-8946B087EF5A}"/>
          </ac:spMkLst>
        </pc:spChg>
      </pc:sldChg>
      <pc:sldChg chg="addSp modSp mod">
        <pc:chgData name="John Paserba" userId="77bd6c8a-d0c1-4fea-8705-0169f65d0c0e" providerId="ADAL" clId="{A1C772D9-4FDD-4D7D-B3B4-103EC4264E41}" dt="2025-07-20T23:46:19.409" v="3429" actId="27636"/>
        <pc:sldMkLst>
          <pc:docMk/>
          <pc:sldMk cId="4170103928" sldId="2147471371"/>
        </pc:sldMkLst>
        <pc:spChg chg="mod">
          <ac:chgData name="John Paserba" userId="77bd6c8a-d0c1-4fea-8705-0169f65d0c0e" providerId="ADAL" clId="{A1C772D9-4FDD-4D7D-B3B4-103EC4264E41}" dt="2025-07-20T23:46:19.409" v="3429" actId="27636"/>
          <ac:spMkLst>
            <pc:docMk/>
            <pc:sldMk cId="4170103928" sldId="2147471371"/>
            <ac:spMk id="3" creationId="{E6993746-A424-4F09-867F-B919F4E18ECB}"/>
          </ac:spMkLst>
        </pc:spChg>
        <pc:spChg chg="add mod">
          <ac:chgData name="John Paserba" userId="77bd6c8a-d0c1-4fea-8705-0169f65d0c0e" providerId="ADAL" clId="{A1C772D9-4FDD-4D7D-B3B4-103EC4264E41}" dt="2025-07-20T23:42:16.277" v="3426"/>
          <ac:spMkLst>
            <pc:docMk/>
            <pc:sldMk cId="4170103928" sldId="2147471371"/>
            <ac:spMk id="6" creationId="{0AC6383F-07E7-4D32-8D81-E811FEEC71C6}"/>
          </ac:spMkLst>
        </pc:spChg>
      </pc:sldChg>
      <pc:sldChg chg="addSp modSp mod">
        <pc:chgData name="John Paserba" userId="77bd6c8a-d0c1-4fea-8705-0169f65d0c0e" providerId="ADAL" clId="{A1C772D9-4FDD-4D7D-B3B4-103EC4264E41}" dt="2025-07-20T23:46:26.511" v="3430" actId="113"/>
        <pc:sldMkLst>
          <pc:docMk/>
          <pc:sldMk cId="2676973762" sldId="2147471372"/>
        </pc:sldMkLst>
        <pc:spChg chg="mod">
          <ac:chgData name="John Paserba" userId="77bd6c8a-d0c1-4fea-8705-0169f65d0c0e" providerId="ADAL" clId="{A1C772D9-4FDD-4D7D-B3B4-103EC4264E41}" dt="2025-07-20T23:46:26.511" v="3430" actId="113"/>
          <ac:spMkLst>
            <pc:docMk/>
            <pc:sldMk cId="2676973762" sldId="2147471372"/>
            <ac:spMk id="3" creationId="{E6993746-A424-4F09-867F-B919F4E18ECB}"/>
          </ac:spMkLst>
        </pc:spChg>
        <pc:spChg chg="add mod">
          <ac:chgData name="John Paserba" userId="77bd6c8a-d0c1-4fea-8705-0169f65d0c0e" providerId="ADAL" clId="{A1C772D9-4FDD-4D7D-B3B4-103EC4264E41}" dt="2025-07-20T23:42:17.898" v="3427"/>
          <ac:spMkLst>
            <pc:docMk/>
            <pc:sldMk cId="2676973762" sldId="2147471372"/>
            <ac:spMk id="6" creationId="{32903A06-4CB1-48B1-B462-49597A88CDA7}"/>
          </ac:spMkLst>
        </pc:spChg>
      </pc:sldChg>
      <pc:sldChg chg="delSp modSp mod">
        <pc:chgData name="John Paserba" userId="77bd6c8a-d0c1-4fea-8705-0169f65d0c0e" providerId="ADAL" clId="{A1C772D9-4FDD-4D7D-B3B4-103EC4264E41}" dt="2025-07-20T23:16:20.234" v="3357" actId="478"/>
        <pc:sldMkLst>
          <pc:docMk/>
          <pc:sldMk cId="4140170611" sldId="2147471425"/>
        </pc:sldMkLst>
        <pc:spChg chg="mod">
          <ac:chgData name="John Paserba" userId="77bd6c8a-d0c1-4fea-8705-0169f65d0c0e" providerId="ADAL" clId="{A1C772D9-4FDD-4D7D-B3B4-103EC4264E41}" dt="2025-07-20T20:58:15.286" v="1213" actId="20578"/>
          <ac:spMkLst>
            <pc:docMk/>
            <pc:sldMk cId="4140170611" sldId="2147471425"/>
            <ac:spMk id="3" creationId="{E6993746-A424-4F09-867F-B919F4E18ECB}"/>
          </ac:spMkLst>
        </pc:spChg>
        <pc:spChg chg="del mod">
          <ac:chgData name="John Paserba" userId="77bd6c8a-d0c1-4fea-8705-0169f65d0c0e" providerId="ADAL" clId="{A1C772D9-4FDD-4D7D-B3B4-103EC4264E41}" dt="2025-07-20T23:16:20.234" v="3357" actId="478"/>
          <ac:spMkLst>
            <pc:docMk/>
            <pc:sldMk cId="4140170611" sldId="2147471425"/>
            <ac:spMk id="6" creationId="{15F65942-0B2E-441A-8324-CEC18488751A}"/>
          </ac:spMkLst>
        </pc:spChg>
      </pc:sldChg>
      <pc:sldChg chg="delSp add del mod">
        <pc:chgData name="John Paserba" userId="77bd6c8a-d0c1-4fea-8705-0169f65d0c0e" providerId="ADAL" clId="{A1C772D9-4FDD-4D7D-B3B4-103EC4264E41}" dt="2025-07-20T22:55:38.911" v="3118" actId="478"/>
        <pc:sldMkLst>
          <pc:docMk/>
          <pc:sldMk cId="3658783816" sldId="2147471428"/>
        </pc:sldMkLst>
        <pc:spChg chg="del">
          <ac:chgData name="John Paserba" userId="77bd6c8a-d0c1-4fea-8705-0169f65d0c0e" providerId="ADAL" clId="{A1C772D9-4FDD-4D7D-B3B4-103EC4264E41}" dt="2025-07-20T22:55:38.911" v="3118" actId="478"/>
          <ac:spMkLst>
            <pc:docMk/>
            <pc:sldMk cId="3658783816" sldId="2147471428"/>
            <ac:spMk id="12" creationId="{4297ECAE-672C-49A2-ACBF-4E35F28F78FD}"/>
          </ac:spMkLst>
        </pc:spChg>
      </pc:sldChg>
      <pc:sldChg chg="modSp mod">
        <pc:chgData name="John Paserba" userId="77bd6c8a-d0c1-4fea-8705-0169f65d0c0e" providerId="ADAL" clId="{A1C772D9-4FDD-4D7D-B3B4-103EC4264E41}" dt="2025-07-20T22:40:55.966" v="2998" actId="20577"/>
        <pc:sldMkLst>
          <pc:docMk/>
          <pc:sldMk cId="1648446080" sldId="2147471473"/>
        </pc:sldMkLst>
        <pc:spChg chg="mod">
          <ac:chgData name="John Paserba" userId="77bd6c8a-d0c1-4fea-8705-0169f65d0c0e" providerId="ADAL" clId="{A1C772D9-4FDD-4D7D-B3B4-103EC4264E41}" dt="2025-07-20T22:40:55.966" v="2998" actId="20577"/>
          <ac:spMkLst>
            <pc:docMk/>
            <pc:sldMk cId="1648446080" sldId="2147471473"/>
            <ac:spMk id="10" creationId="{047D79FF-B20E-4E11-9646-843D3BE5EA65}"/>
          </ac:spMkLst>
        </pc:spChg>
      </pc:sldChg>
      <pc:sldChg chg="modSp mod">
        <pc:chgData name="John Paserba" userId="77bd6c8a-d0c1-4fea-8705-0169f65d0c0e" providerId="ADAL" clId="{A1C772D9-4FDD-4D7D-B3B4-103EC4264E41}" dt="2025-07-20T22:41:00.353" v="3004" actId="20577"/>
        <pc:sldMkLst>
          <pc:docMk/>
          <pc:sldMk cId="907444897" sldId="2147471474"/>
        </pc:sldMkLst>
        <pc:spChg chg="mod">
          <ac:chgData name="John Paserba" userId="77bd6c8a-d0c1-4fea-8705-0169f65d0c0e" providerId="ADAL" clId="{A1C772D9-4FDD-4D7D-B3B4-103EC4264E41}" dt="2025-07-20T22:41:00.353" v="3004" actId="20577"/>
          <ac:spMkLst>
            <pc:docMk/>
            <pc:sldMk cId="907444897" sldId="2147471474"/>
            <ac:spMk id="9" creationId="{84239C69-7139-44BB-9A00-6265539D0D54}"/>
          </ac:spMkLst>
        </pc:spChg>
      </pc:sldChg>
      <pc:sldChg chg="modSp mod">
        <pc:chgData name="John Paserba" userId="77bd6c8a-d0c1-4fea-8705-0169f65d0c0e" providerId="ADAL" clId="{A1C772D9-4FDD-4D7D-B3B4-103EC4264E41}" dt="2025-07-20T22:41:04.162" v="3010" actId="20577"/>
        <pc:sldMkLst>
          <pc:docMk/>
          <pc:sldMk cId="4171080166" sldId="2147471475"/>
        </pc:sldMkLst>
        <pc:spChg chg="mod">
          <ac:chgData name="John Paserba" userId="77bd6c8a-d0c1-4fea-8705-0169f65d0c0e" providerId="ADAL" clId="{A1C772D9-4FDD-4D7D-B3B4-103EC4264E41}" dt="2025-07-20T22:41:04.162" v="3010" actId="20577"/>
          <ac:spMkLst>
            <pc:docMk/>
            <pc:sldMk cId="4171080166" sldId="2147471475"/>
            <ac:spMk id="17" creationId="{88E435DA-C75C-4651-B400-89F2E3F79060}"/>
          </ac:spMkLst>
        </pc:spChg>
      </pc:sldChg>
      <pc:sldChg chg="addSp delSp mod">
        <pc:chgData name="John Paserba" userId="77bd6c8a-d0c1-4fea-8705-0169f65d0c0e" providerId="ADAL" clId="{A1C772D9-4FDD-4D7D-B3B4-103EC4264E41}" dt="2025-07-20T22:57:39.187" v="3130" actId="478"/>
        <pc:sldMkLst>
          <pc:docMk/>
          <pc:sldMk cId="1243136271" sldId="2147471486"/>
        </pc:sldMkLst>
        <pc:spChg chg="add del">
          <ac:chgData name="John Paserba" userId="77bd6c8a-d0c1-4fea-8705-0169f65d0c0e" providerId="ADAL" clId="{A1C772D9-4FDD-4D7D-B3B4-103EC4264E41}" dt="2025-07-20T22:57:39.187" v="3130" actId="478"/>
          <ac:spMkLst>
            <pc:docMk/>
            <pc:sldMk cId="1243136271" sldId="2147471486"/>
            <ac:spMk id="8" creationId="{AD52B5A8-7FCF-42B4-BA69-D46D5F502043}"/>
          </ac:spMkLst>
        </pc:spChg>
      </pc:sldChg>
      <pc:sldChg chg="delSp mod">
        <pc:chgData name="John Paserba" userId="77bd6c8a-d0c1-4fea-8705-0169f65d0c0e" providerId="ADAL" clId="{A1C772D9-4FDD-4D7D-B3B4-103EC4264E41}" dt="2025-07-20T22:19:07.064" v="2656" actId="478"/>
        <pc:sldMkLst>
          <pc:docMk/>
          <pc:sldMk cId="190898153" sldId="2147471496"/>
        </pc:sldMkLst>
        <pc:spChg chg="del">
          <ac:chgData name="John Paserba" userId="77bd6c8a-d0c1-4fea-8705-0169f65d0c0e" providerId="ADAL" clId="{A1C772D9-4FDD-4D7D-B3B4-103EC4264E41}" dt="2025-07-20T22:19:07.064" v="2656" actId="478"/>
          <ac:spMkLst>
            <pc:docMk/>
            <pc:sldMk cId="190898153" sldId="2147471496"/>
            <ac:spMk id="3" creationId="{0D0A170B-9A94-4047-BB70-AC9B20A4B61D}"/>
          </ac:spMkLst>
        </pc:spChg>
      </pc:sldChg>
      <pc:sldChg chg="del">
        <pc:chgData name="John Paserba" userId="77bd6c8a-d0c1-4fea-8705-0169f65d0c0e" providerId="ADAL" clId="{A1C772D9-4FDD-4D7D-B3B4-103EC4264E41}" dt="2025-07-20T22:32:02.459" v="2864" actId="47"/>
        <pc:sldMkLst>
          <pc:docMk/>
          <pc:sldMk cId="1348948237" sldId="2147471498"/>
        </pc:sldMkLst>
      </pc:sldChg>
      <pc:sldChg chg="del">
        <pc:chgData name="John Paserba" userId="77bd6c8a-d0c1-4fea-8705-0169f65d0c0e" providerId="ADAL" clId="{A1C772D9-4FDD-4D7D-B3B4-103EC4264E41}" dt="2025-07-20T22:32:05.129" v="2865" actId="47"/>
        <pc:sldMkLst>
          <pc:docMk/>
          <pc:sldMk cId="1509309180" sldId="2147471499"/>
        </pc:sldMkLst>
      </pc:sldChg>
      <pc:sldChg chg="delSp mod">
        <pc:chgData name="John Paserba" userId="77bd6c8a-d0c1-4fea-8705-0169f65d0c0e" providerId="ADAL" clId="{A1C772D9-4FDD-4D7D-B3B4-103EC4264E41}" dt="2025-07-20T22:57:41.889" v="3131" actId="478"/>
        <pc:sldMkLst>
          <pc:docMk/>
          <pc:sldMk cId="17225138" sldId="2147471503"/>
        </pc:sldMkLst>
        <pc:spChg chg="del">
          <ac:chgData name="John Paserba" userId="77bd6c8a-d0c1-4fea-8705-0169f65d0c0e" providerId="ADAL" clId="{A1C772D9-4FDD-4D7D-B3B4-103EC4264E41}" dt="2025-07-20T22:57:41.889" v="3131" actId="478"/>
          <ac:spMkLst>
            <pc:docMk/>
            <pc:sldMk cId="17225138" sldId="2147471503"/>
            <ac:spMk id="14" creationId="{B6D1AECA-42B0-4026-9B91-FCC18D24D559}"/>
          </ac:spMkLst>
        </pc:spChg>
      </pc:sldChg>
      <pc:sldChg chg="modSp">
        <pc:chgData name="John Paserba" userId="77bd6c8a-d0c1-4fea-8705-0169f65d0c0e" providerId="ADAL" clId="{A1C772D9-4FDD-4D7D-B3B4-103EC4264E41}" dt="2025-07-20T23:37:27.369" v="3363"/>
        <pc:sldMkLst>
          <pc:docMk/>
          <pc:sldMk cId="1134693933" sldId="2147471517"/>
        </pc:sldMkLst>
        <pc:spChg chg="mod">
          <ac:chgData name="John Paserba" userId="77bd6c8a-d0c1-4fea-8705-0169f65d0c0e" providerId="ADAL" clId="{A1C772D9-4FDD-4D7D-B3B4-103EC4264E41}" dt="2025-07-20T23:37:27.369" v="3363"/>
          <ac:spMkLst>
            <pc:docMk/>
            <pc:sldMk cId="1134693933" sldId="2147471517"/>
            <ac:spMk id="3328002" creationId="{00000000-0000-0000-0000-000000000000}"/>
          </ac:spMkLst>
        </pc:spChg>
      </pc:sldChg>
      <pc:sldChg chg="del">
        <pc:chgData name="John Paserba" userId="77bd6c8a-d0c1-4fea-8705-0169f65d0c0e" providerId="ADAL" clId="{A1C772D9-4FDD-4D7D-B3B4-103EC4264E41}" dt="2025-07-20T22:19:31.288" v="2657" actId="47"/>
        <pc:sldMkLst>
          <pc:docMk/>
          <pc:sldMk cId="3877088907" sldId="2147471542"/>
        </pc:sldMkLst>
      </pc:sldChg>
      <pc:sldChg chg="modSp del mod">
        <pc:chgData name="John Paserba" userId="77bd6c8a-d0c1-4fea-8705-0169f65d0c0e" providerId="ADAL" clId="{A1C772D9-4FDD-4D7D-B3B4-103EC4264E41}" dt="2025-07-20T22:30:29.233" v="2859" actId="255"/>
        <pc:sldMkLst>
          <pc:docMk/>
          <pc:sldMk cId="1528537165" sldId="2147471545"/>
        </pc:sldMkLst>
        <pc:spChg chg="mod">
          <ac:chgData name="John Paserba" userId="77bd6c8a-d0c1-4fea-8705-0169f65d0c0e" providerId="ADAL" clId="{A1C772D9-4FDD-4D7D-B3B4-103EC4264E41}" dt="2025-07-20T22:30:29.233" v="2859" actId="255"/>
          <ac:spMkLst>
            <pc:docMk/>
            <pc:sldMk cId="1528537165" sldId="2147471545"/>
            <ac:spMk id="12" creationId="{7637F54C-2D4B-44A5-B3F7-1642BB564316}"/>
          </ac:spMkLst>
        </pc:spChg>
      </pc:sldChg>
      <pc:sldChg chg="delSp mod">
        <pc:chgData name="John Paserba" userId="77bd6c8a-d0c1-4fea-8705-0169f65d0c0e" providerId="ADAL" clId="{A1C772D9-4FDD-4D7D-B3B4-103EC4264E41}" dt="2025-07-20T23:17:12.652" v="3358" actId="478"/>
        <pc:sldMkLst>
          <pc:docMk/>
          <pc:sldMk cId="1095522058" sldId="2147471576"/>
        </pc:sldMkLst>
        <pc:spChg chg="del">
          <ac:chgData name="John Paserba" userId="77bd6c8a-d0c1-4fea-8705-0169f65d0c0e" providerId="ADAL" clId="{A1C772D9-4FDD-4D7D-B3B4-103EC4264E41}" dt="2025-07-20T23:17:12.652" v="3358" actId="478"/>
          <ac:spMkLst>
            <pc:docMk/>
            <pc:sldMk cId="1095522058" sldId="2147471576"/>
            <ac:spMk id="8" creationId="{7AF590DC-BD17-49C4-9D29-A4CA1B7E38DF}"/>
          </ac:spMkLst>
        </pc:spChg>
      </pc:sldChg>
      <pc:sldChg chg="delSp add del mod">
        <pc:chgData name="John Paserba" userId="77bd6c8a-d0c1-4fea-8705-0169f65d0c0e" providerId="ADAL" clId="{A1C772D9-4FDD-4D7D-B3B4-103EC4264E41}" dt="2025-07-20T22:40:34.884" v="2992" actId="478"/>
        <pc:sldMkLst>
          <pc:docMk/>
          <pc:sldMk cId="1709962716" sldId="2147471609"/>
        </pc:sldMkLst>
        <pc:spChg chg="del">
          <ac:chgData name="John Paserba" userId="77bd6c8a-d0c1-4fea-8705-0169f65d0c0e" providerId="ADAL" clId="{A1C772D9-4FDD-4D7D-B3B4-103EC4264E41}" dt="2025-07-20T22:40:34.884" v="2992" actId="478"/>
          <ac:spMkLst>
            <pc:docMk/>
            <pc:sldMk cId="1709962716" sldId="2147471609"/>
            <ac:spMk id="12" creationId="{18D650DC-E6A0-4B09-A945-375BB5EA7A4A}"/>
          </ac:spMkLst>
        </pc:spChg>
      </pc:sldChg>
      <pc:sldChg chg="delSp modSp add del mod">
        <pc:chgData name="John Paserba" userId="77bd6c8a-d0c1-4fea-8705-0169f65d0c0e" providerId="ADAL" clId="{A1C772D9-4FDD-4D7D-B3B4-103EC4264E41}" dt="2025-07-20T22:36:26.502" v="2909" actId="20577"/>
        <pc:sldMkLst>
          <pc:docMk/>
          <pc:sldMk cId="2953226290" sldId="2147471629"/>
        </pc:sldMkLst>
        <pc:spChg chg="mod">
          <ac:chgData name="John Paserba" userId="77bd6c8a-d0c1-4fea-8705-0169f65d0c0e" providerId="ADAL" clId="{A1C772D9-4FDD-4D7D-B3B4-103EC4264E41}" dt="2025-07-20T22:36:26.502" v="2909" actId="20577"/>
          <ac:spMkLst>
            <pc:docMk/>
            <pc:sldMk cId="2953226290" sldId="2147471629"/>
            <ac:spMk id="14" creationId="{00000000-0000-0000-0000-000000000000}"/>
          </ac:spMkLst>
        </pc:spChg>
        <pc:spChg chg="del">
          <ac:chgData name="John Paserba" userId="77bd6c8a-d0c1-4fea-8705-0169f65d0c0e" providerId="ADAL" clId="{A1C772D9-4FDD-4D7D-B3B4-103EC4264E41}" dt="2025-07-20T22:35:00.592" v="2872" actId="478"/>
          <ac:spMkLst>
            <pc:docMk/>
            <pc:sldMk cId="2953226290" sldId="2147471629"/>
            <ac:spMk id="18" creationId="{001272C2-B318-4867-AD72-6500F99E6076}"/>
          </ac:spMkLst>
        </pc:spChg>
        <pc:spChg chg="del">
          <ac:chgData name="John Paserba" userId="77bd6c8a-d0c1-4fea-8705-0169f65d0c0e" providerId="ADAL" clId="{A1C772D9-4FDD-4D7D-B3B4-103EC4264E41}" dt="2025-07-20T22:35:13.978" v="2874" actId="478"/>
          <ac:spMkLst>
            <pc:docMk/>
            <pc:sldMk cId="2953226290" sldId="2147471629"/>
            <ac:spMk id="19" creationId="{C2312912-4861-495C-A9DA-EC9B1FE7DD0A}"/>
          </ac:spMkLst>
        </pc:spChg>
        <pc:spChg chg="del">
          <ac:chgData name="John Paserba" userId="77bd6c8a-d0c1-4fea-8705-0169f65d0c0e" providerId="ADAL" clId="{A1C772D9-4FDD-4D7D-B3B4-103EC4264E41}" dt="2025-07-20T22:35:07.038" v="2873" actId="478"/>
          <ac:spMkLst>
            <pc:docMk/>
            <pc:sldMk cId="2953226290" sldId="2147471629"/>
            <ac:spMk id="20" creationId="{189A933F-61D4-4676-978E-61E2EE1C4EA8}"/>
          </ac:spMkLst>
        </pc:spChg>
      </pc:sldChg>
      <pc:sldChg chg="delSp modSp add del mod">
        <pc:chgData name="John Paserba" userId="77bd6c8a-d0c1-4fea-8705-0169f65d0c0e" providerId="ADAL" clId="{A1C772D9-4FDD-4D7D-B3B4-103EC4264E41}" dt="2025-07-20T22:57:11.716" v="3127" actId="179"/>
        <pc:sldMkLst>
          <pc:docMk/>
          <pc:sldMk cId="191411695" sldId="2147471642"/>
        </pc:sldMkLst>
        <pc:spChg chg="mod">
          <ac:chgData name="John Paserba" userId="77bd6c8a-d0c1-4fea-8705-0169f65d0c0e" providerId="ADAL" clId="{A1C772D9-4FDD-4D7D-B3B4-103EC4264E41}" dt="2025-07-20T22:57:11.716" v="3127" actId="179"/>
          <ac:spMkLst>
            <pc:docMk/>
            <pc:sldMk cId="191411695" sldId="2147471642"/>
            <ac:spMk id="9" creationId="{33E1701B-7F94-6789-3C6A-A428042FCAA4}"/>
          </ac:spMkLst>
        </pc:spChg>
        <pc:spChg chg="del">
          <ac:chgData name="John Paserba" userId="77bd6c8a-d0c1-4fea-8705-0169f65d0c0e" providerId="ADAL" clId="{A1C772D9-4FDD-4D7D-B3B4-103EC4264E41}" dt="2025-07-20T22:56:00.526" v="3119" actId="478"/>
          <ac:spMkLst>
            <pc:docMk/>
            <pc:sldMk cId="191411695" sldId="2147471642"/>
            <ac:spMk id="13" creationId="{28F2EB60-0571-4CE9-AEBE-AED78A110FB8}"/>
          </ac:spMkLst>
        </pc:spChg>
      </pc:sldChg>
      <pc:sldChg chg="delSp modSp add del mod">
        <pc:chgData name="John Paserba" userId="77bd6c8a-d0c1-4fea-8705-0169f65d0c0e" providerId="ADAL" clId="{A1C772D9-4FDD-4D7D-B3B4-103EC4264E41}" dt="2025-07-20T22:48:08.794" v="3036" actId="20577"/>
        <pc:sldMkLst>
          <pc:docMk/>
          <pc:sldMk cId="2485570784" sldId="2147471643"/>
        </pc:sldMkLst>
        <pc:spChg chg="mod">
          <ac:chgData name="John Paserba" userId="77bd6c8a-d0c1-4fea-8705-0169f65d0c0e" providerId="ADAL" clId="{A1C772D9-4FDD-4D7D-B3B4-103EC4264E41}" dt="2025-07-20T22:48:08.794" v="3036" actId="20577"/>
          <ac:spMkLst>
            <pc:docMk/>
            <pc:sldMk cId="2485570784" sldId="2147471643"/>
            <ac:spMk id="14" creationId="{00000000-0000-0000-0000-000000000000}"/>
          </ac:spMkLst>
        </pc:spChg>
        <pc:spChg chg="del mod">
          <ac:chgData name="John Paserba" userId="77bd6c8a-d0c1-4fea-8705-0169f65d0c0e" providerId="ADAL" clId="{A1C772D9-4FDD-4D7D-B3B4-103EC4264E41}" dt="2025-07-20T22:47:12.248" v="3024" actId="478"/>
          <ac:spMkLst>
            <pc:docMk/>
            <pc:sldMk cId="2485570784" sldId="2147471643"/>
            <ac:spMk id="21" creationId="{162F52AD-3BF8-4DA7-9699-1FBCA3F31B22}"/>
          </ac:spMkLst>
        </pc:spChg>
        <pc:spChg chg="del mod">
          <ac:chgData name="John Paserba" userId="77bd6c8a-d0c1-4fea-8705-0169f65d0c0e" providerId="ADAL" clId="{A1C772D9-4FDD-4D7D-B3B4-103EC4264E41}" dt="2025-07-20T22:47:29.918" v="3026" actId="478"/>
          <ac:spMkLst>
            <pc:docMk/>
            <pc:sldMk cId="2485570784" sldId="2147471643"/>
            <ac:spMk id="23" creationId="{36C9D736-9B8A-4960-AC53-BCBEC35C34CF}"/>
          </ac:spMkLst>
        </pc:spChg>
        <pc:spChg chg="del mod">
          <ac:chgData name="John Paserba" userId="77bd6c8a-d0c1-4fea-8705-0169f65d0c0e" providerId="ADAL" clId="{A1C772D9-4FDD-4D7D-B3B4-103EC4264E41}" dt="2025-07-20T22:47:39.512" v="3028" actId="478"/>
          <ac:spMkLst>
            <pc:docMk/>
            <pc:sldMk cId="2485570784" sldId="2147471643"/>
            <ac:spMk id="24" creationId="{1BCF1C1F-C40F-4164-8EC2-3A73E733FA19}"/>
          </ac:spMkLst>
        </pc:spChg>
      </pc:sldChg>
      <pc:sldChg chg="delSp modSp add del mod">
        <pc:chgData name="John Paserba" userId="77bd6c8a-d0c1-4fea-8705-0169f65d0c0e" providerId="ADAL" clId="{A1C772D9-4FDD-4D7D-B3B4-103EC4264E41}" dt="2025-07-20T22:56:29.317" v="3122" actId="179"/>
        <pc:sldMkLst>
          <pc:docMk/>
          <pc:sldMk cId="2163309065" sldId="2147471644"/>
        </pc:sldMkLst>
        <pc:spChg chg="mod">
          <ac:chgData name="John Paserba" userId="77bd6c8a-d0c1-4fea-8705-0169f65d0c0e" providerId="ADAL" clId="{A1C772D9-4FDD-4D7D-B3B4-103EC4264E41}" dt="2025-07-20T22:56:29.317" v="3122" actId="179"/>
          <ac:spMkLst>
            <pc:docMk/>
            <pc:sldMk cId="2163309065" sldId="2147471644"/>
            <ac:spMk id="3" creationId="{E6993746-A424-4F09-867F-B919F4E18ECB}"/>
          </ac:spMkLst>
        </pc:spChg>
        <pc:spChg chg="del">
          <ac:chgData name="John Paserba" userId="77bd6c8a-d0c1-4fea-8705-0169f65d0c0e" providerId="ADAL" clId="{A1C772D9-4FDD-4D7D-B3B4-103EC4264E41}" dt="2025-07-20T22:53:45.187" v="3108" actId="478"/>
          <ac:spMkLst>
            <pc:docMk/>
            <pc:sldMk cId="2163309065" sldId="2147471644"/>
            <ac:spMk id="7" creationId="{B25E2F5E-3873-48F5-883C-C22B59C4FE3A}"/>
          </ac:spMkLst>
        </pc:spChg>
        <pc:spChg chg="mod">
          <ac:chgData name="John Paserba" userId="77bd6c8a-d0c1-4fea-8705-0169f65d0c0e" providerId="ADAL" clId="{A1C772D9-4FDD-4D7D-B3B4-103EC4264E41}" dt="2025-07-20T22:55:27.192" v="3117" actId="20577"/>
          <ac:spMkLst>
            <pc:docMk/>
            <pc:sldMk cId="2163309065" sldId="2147471644"/>
            <ac:spMk id="12" creationId="{6052F144-7250-49E5-B832-4F896371D59A}"/>
          </ac:spMkLst>
        </pc:spChg>
      </pc:sldChg>
      <pc:sldChg chg="delSp modSp add del mod">
        <pc:chgData name="John Paserba" userId="77bd6c8a-d0c1-4fea-8705-0169f65d0c0e" providerId="ADAL" clId="{A1C772D9-4FDD-4D7D-B3B4-103EC4264E41}" dt="2025-07-20T22:38:02.352" v="2935" actId="948"/>
        <pc:sldMkLst>
          <pc:docMk/>
          <pc:sldMk cId="2283321829" sldId="2147471649"/>
        </pc:sldMkLst>
        <pc:spChg chg="mod">
          <ac:chgData name="John Paserba" userId="77bd6c8a-d0c1-4fea-8705-0169f65d0c0e" providerId="ADAL" clId="{A1C772D9-4FDD-4D7D-B3B4-103EC4264E41}" dt="2025-07-20T22:38:02.352" v="2935" actId="948"/>
          <ac:spMkLst>
            <pc:docMk/>
            <pc:sldMk cId="2283321829" sldId="2147471649"/>
            <ac:spMk id="3" creationId="{E6993746-A424-4F09-867F-B919F4E18ECB}"/>
          </ac:spMkLst>
        </pc:spChg>
        <pc:spChg chg="del">
          <ac:chgData name="John Paserba" userId="77bd6c8a-d0c1-4fea-8705-0169f65d0c0e" providerId="ADAL" clId="{A1C772D9-4FDD-4D7D-B3B4-103EC4264E41}" dt="2025-07-20T22:36:37.744" v="2910" actId="478"/>
          <ac:spMkLst>
            <pc:docMk/>
            <pc:sldMk cId="2283321829" sldId="2147471649"/>
            <ac:spMk id="6" creationId="{7EEBDDF9-60B0-4FFF-9754-EA7DF086357E}"/>
          </ac:spMkLst>
        </pc:spChg>
      </pc:sldChg>
      <pc:sldChg chg="delSp modSp add del mod">
        <pc:chgData name="John Paserba" userId="77bd6c8a-d0c1-4fea-8705-0169f65d0c0e" providerId="ADAL" clId="{A1C772D9-4FDD-4D7D-B3B4-103EC4264E41}" dt="2025-07-20T22:40:06.697" v="2991" actId="20577"/>
        <pc:sldMkLst>
          <pc:docMk/>
          <pc:sldMk cId="4216810556" sldId="2147471650"/>
        </pc:sldMkLst>
        <pc:spChg chg="mod">
          <ac:chgData name="John Paserba" userId="77bd6c8a-d0c1-4fea-8705-0169f65d0c0e" providerId="ADAL" clId="{A1C772D9-4FDD-4D7D-B3B4-103EC4264E41}" dt="2025-07-20T22:40:06.697" v="2991" actId="20577"/>
          <ac:spMkLst>
            <pc:docMk/>
            <pc:sldMk cId="4216810556" sldId="2147471650"/>
            <ac:spMk id="3" creationId="{E6993746-A424-4F09-867F-B919F4E18ECB}"/>
          </ac:spMkLst>
        </pc:spChg>
        <pc:spChg chg="del">
          <ac:chgData name="John Paserba" userId="77bd6c8a-d0c1-4fea-8705-0169f65d0c0e" providerId="ADAL" clId="{A1C772D9-4FDD-4D7D-B3B4-103EC4264E41}" dt="2025-07-20T22:39:50.835" v="2974" actId="478"/>
          <ac:spMkLst>
            <pc:docMk/>
            <pc:sldMk cId="4216810556" sldId="2147471650"/>
            <ac:spMk id="7" creationId="{4F7748AE-36C5-4A5A-9EE1-386C1BABCFFD}"/>
          </ac:spMkLst>
        </pc:spChg>
      </pc:sldChg>
      <pc:sldChg chg="del">
        <pc:chgData name="John Paserba" userId="77bd6c8a-d0c1-4fea-8705-0169f65d0c0e" providerId="ADAL" clId="{A1C772D9-4FDD-4D7D-B3B4-103EC4264E41}" dt="2025-07-20T23:03:55.605" v="3331" actId="47"/>
        <pc:sldMkLst>
          <pc:docMk/>
          <pc:sldMk cId="3581618067" sldId="2147471656"/>
        </pc:sldMkLst>
      </pc:sldChg>
      <pc:sldChg chg="modSp del mod">
        <pc:chgData name="John Paserba" userId="77bd6c8a-d0c1-4fea-8705-0169f65d0c0e" providerId="ADAL" clId="{A1C772D9-4FDD-4D7D-B3B4-103EC4264E41}" dt="2025-07-20T23:20:07.592" v="3361" actId="1076"/>
        <pc:sldMkLst>
          <pc:docMk/>
          <pc:sldMk cId="2660546268" sldId="2147471669"/>
        </pc:sldMkLst>
        <pc:spChg chg="mod">
          <ac:chgData name="John Paserba" userId="77bd6c8a-d0c1-4fea-8705-0169f65d0c0e" providerId="ADAL" clId="{A1C772D9-4FDD-4D7D-B3B4-103EC4264E41}" dt="2025-07-20T22:31:03.713" v="2863" actId="12"/>
          <ac:spMkLst>
            <pc:docMk/>
            <pc:sldMk cId="2660546268" sldId="2147471669"/>
            <ac:spMk id="8" creationId="{37CEEF7E-3CE8-42D1-AEB0-A2514859CE49}"/>
          </ac:spMkLst>
        </pc:spChg>
        <pc:spChg chg="mod">
          <ac:chgData name="John Paserba" userId="77bd6c8a-d0c1-4fea-8705-0169f65d0c0e" providerId="ADAL" clId="{A1C772D9-4FDD-4D7D-B3B4-103EC4264E41}" dt="2025-07-20T23:20:07.592" v="3361" actId="1076"/>
          <ac:spMkLst>
            <pc:docMk/>
            <pc:sldMk cId="2660546268" sldId="2147471669"/>
            <ac:spMk id="3328002" creationId="{00000000-0000-0000-0000-000000000000}"/>
          </ac:spMkLst>
        </pc:spChg>
      </pc:sldChg>
      <pc:sldChg chg="del">
        <pc:chgData name="John Paserba" userId="77bd6c8a-d0c1-4fea-8705-0169f65d0c0e" providerId="ADAL" clId="{A1C772D9-4FDD-4D7D-B3B4-103EC4264E41}" dt="2025-07-20T22:19:31.288" v="2657" actId="47"/>
        <pc:sldMkLst>
          <pc:docMk/>
          <pc:sldMk cId="3071957236" sldId="2147471671"/>
        </pc:sldMkLst>
      </pc:sldChg>
      <pc:sldChg chg="addSp modSp mod">
        <pc:chgData name="John Paserba" userId="77bd6c8a-d0c1-4fea-8705-0169f65d0c0e" providerId="ADAL" clId="{A1C772D9-4FDD-4D7D-B3B4-103EC4264E41}" dt="2025-07-20T23:03:45.362" v="3330" actId="1076"/>
        <pc:sldMkLst>
          <pc:docMk/>
          <pc:sldMk cId="1433889411" sldId="2147471674"/>
        </pc:sldMkLst>
        <pc:spChg chg="add mod">
          <ac:chgData name="John Paserba" userId="77bd6c8a-d0c1-4fea-8705-0169f65d0c0e" providerId="ADAL" clId="{A1C772D9-4FDD-4D7D-B3B4-103EC4264E41}" dt="2025-07-20T23:03:45.362" v="3330" actId="1076"/>
          <ac:spMkLst>
            <pc:docMk/>
            <pc:sldMk cId="1433889411" sldId="2147471674"/>
            <ac:spMk id="16" creationId="{8CC8F3D1-F36E-4263-8CB6-B67E20B20D44}"/>
          </ac:spMkLst>
        </pc:spChg>
        <pc:picChg chg="mod">
          <ac:chgData name="John Paserba" userId="77bd6c8a-d0c1-4fea-8705-0169f65d0c0e" providerId="ADAL" clId="{A1C772D9-4FDD-4D7D-B3B4-103EC4264E41}" dt="2025-07-20T23:03:40.970" v="3328" actId="1076"/>
          <ac:picMkLst>
            <pc:docMk/>
            <pc:sldMk cId="1433889411" sldId="2147471674"/>
            <ac:picMk id="6" creationId="{D5DE712B-926E-4724-B25C-92147B8ACD81}"/>
          </ac:picMkLst>
        </pc:picChg>
      </pc:sldChg>
      <pc:sldChg chg="addSp delSp mod">
        <pc:chgData name="John Paserba" userId="77bd6c8a-d0c1-4fea-8705-0169f65d0c0e" providerId="ADAL" clId="{A1C772D9-4FDD-4D7D-B3B4-103EC4264E41}" dt="2025-07-20T22:13:22.539" v="2652"/>
        <pc:sldMkLst>
          <pc:docMk/>
          <pc:sldMk cId="3651935271" sldId="2147471682"/>
        </pc:sldMkLst>
        <pc:spChg chg="del">
          <ac:chgData name="John Paserba" userId="77bd6c8a-d0c1-4fea-8705-0169f65d0c0e" providerId="ADAL" clId="{A1C772D9-4FDD-4D7D-B3B4-103EC4264E41}" dt="2025-07-20T22:12:56.447" v="2644" actId="478"/>
          <ac:spMkLst>
            <pc:docMk/>
            <pc:sldMk cId="3651935271" sldId="2147471682"/>
            <ac:spMk id="3" creationId="{1B443256-94D0-4D91-B682-A16C358FFF43}"/>
          </ac:spMkLst>
        </pc:spChg>
        <pc:picChg chg="del">
          <ac:chgData name="John Paserba" userId="77bd6c8a-d0c1-4fea-8705-0169f65d0c0e" providerId="ADAL" clId="{A1C772D9-4FDD-4D7D-B3B4-103EC4264E41}" dt="2025-07-20T22:12:54.773" v="2643" actId="478"/>
          <ac:picMkLst>
            <pc:docMk/>
            <pc:sldMk cId="3651935271" sldId="2147471682"/>
            <ac:picMk id="2" creationId="{794A9690-AA2E-4EB7-A16F-83732D7B92DF}"/>
          </ac:picMkLst>
        </pc:picChg>
        <pc:picChg chg="add">
          <ac:chgData name="John Paserba" userId="77bd6c8a-d0c1-4fea-8705-0169f65d0c0e" providerId="ADAL" clId="{A1C772D9-4FDD-4D7D-B3B4-103EC4264E41}" dt="2025-07-20T22:13:22.539" v="2652"/>
          <ac:picMkLst>
            <pc:docMk/>
            <pc:sldMk cId="3651935271" sldId="2147471682"/>
            <ac:picMk id="4" creationId="{C9A313FE-C33D-483E-A356-032E00B8B4C2}"/>
          </ac:picMkLst>
        </pc:picChg>
      </pc:sldChg>
      <pc:sldChg chg="addSp delSp mod">
        <pc:chgData name="John Paserba" userId="77bd6c8a-d0c1-4fea-8705-0169f65d0c0e" providerId="ADAL" clId="{A1C772D9-4FDD-4D7D-B3B4-103EC4264E41}" dt="2025-07-20T22:13:36.238" v="2653"/>
        <pc:sldMkLst>
          <pc:docMk/>
          <pc:sldMk cId="3727219174" sldId="2147471683"/>
        </pc:sldMkLst>
        <pc:spChg chg="del">
          <ac:chgData name="John Paserba" userId="77bd6c8a-d0c1-4fea-8705-0169f65d0c0e" providerId="ADAL" clId="{A1C772D9-4FDD-4D7D-B3B4-103EC4264E41}" dt="2025-07-20T22:12:58.556" v="2646" actId="478"/>
          <ac:spMkLst>
            <pc:docMk/>
            <pc:sldMk cId="3727219174" sldId="2147471683"/>
            <ac:spMk id="4" creationId="{D60ACCC4-70D7-4215-A0FB-D09E2A03B879}"/>
          </ac:spMkLst>
        </pc:spChg>
        <pc:picChg chg="add">
          <ac:chgData name="John Paserba" userId="77bd6c8a-d0c1-4fea-8705-0169f65d0c0e" providerId="ADAL" clId="{A1C772D9-4FDD-4D7D-B3B4-103EC4264E41}" dt="2025-07-20T22:13:36.238" v="2653"/>
          <ac:picMkLst>
            <pc:docMk/>
            <pc:sldMk cId="3727219174" sldId="2147471683"/>
            <ac:picMk id="2" creationId="{B73ADE82-ADF4-45D4-BE49-97D499CD4681}"/>
          </ac:picMkLst>
        </pc:picChg>
        <pc:picChg chg="del">
          <ac:chgData name="John Paserba" userId="77bd6c8a-d0c1-4fea-8705-0169f65d0c0e" providerId="ADAL" clId="{A1C772D9-4FDD-4D7D-B3B4-103EC4264E41}" dt="2025-07-20T22:12:57.669" v="2645" actId="478"/>
          <ac:picMkLst>
            <pc:docMk/>
            <pc:sldMk cId="3727219174" sldId="2147471683"/>
            <ac:picMk id="3" creationId="{9A13EFF7-7139-4A89-90C1-9A700F1D82FF}"/>
          </ac:picMkLst>
        </pc:picChg>
      </pc:sldChg>
      <pc:sldChg chg="addSp delSp mod">
        <pc:chgData name="John Paserba" userId="77bd6c8a-d0c1-4fea-8705-0169f65d0c0e" providerId="ADAL" clId="{A1C772D9-4FDD-4D7D-B3B4-103EC4264E41}" dt="2025-07-20T22:13:55.565" v="2654"/>
        <pc:sldMkLst>
          <pc:docMk/>
          <pc:sldMk cId="333539668" sldId="2147471684"/>
        </pc:sldMkLst>
        <pc:spChg chg="del">
          <ac:chgData name="John Paserba" userId="77bd6c8a-d0c1-4fea-8705-0169f65d0c0e" providerId="ADAL" clId="{A1C772D9-4FDD-4D7D-B3B4-103EC4264E41}" dt="2025-07-20T22:13:01.651" v="2648" actId="478"/>
          <ac:spMkLst>
            <pc:docMk/>
            <pc:sldMk cId="333539668" sldId="2147471684"/>
            <ac:spMk id="3" creationId="{1193A7BF-4DC9-4703-B43D-FA6B96CBCB03}"/>
          </ac:spMkLst>
        </pc:spChg>
        <pc:picChg chg="del">
          <ac:chgData name="John Paserba" userId="77bd6c8a-d0c1-4fea-8705-0169f65d0c0e" providerId="ADAL" clId="{A1C772D9-4FDD-4D7D-B3B4-103EC4264E41}" dt="2025-07-20T22:12:59.918" v="2647" actId="478"/>
          <ac:picMkLst>
            <pc:docMk/>
            <pc:sldMk cId="333539668" sldId="2147471684"/>
            <ac:picMk id="2" creationId="{C17E0537-47E1-43C1-88AE-8FF01D18C7A9}"/>
          </ac:picMkLst>
        </pc:picChg>
        <pc:picChg chg="add">
          <ac:chgData name="John Paserba" userId="77bd6c8a-d0c1-4fea-8705-0169f65d0c0e" providerId="ADAL" clId="{A1C772D9-4FDD-4D7D-B3B4-103EC4264E41}" dt="2025-07-20T22:13:55.565" v="2654"/>
          <ac:picMkLst>
            <pc:docMk/>
            <pc:sldMk cId="333539668" sldId="2147471684"/>
            <ac:picMk id="4" creationId="{A9A3EDB1-A8FE-4E54-B017-F5434BC4D38C}"/>
          </ac:picMkLst>
        </pc:picChg>
      </pc:sldChg>
      <pc:sldChg chg="addSp delSp modSp mod">
        <pc:chgData name="John Paserba" userId="77bd6c8a-d0c1-4fea-8705-0169f65d0c0e" providerId="ADAL" clId="{A1C772D9-4FDD-4D7D-B3B4-103EC4264E41}" dt="2025-07-20T22:14:13.541" v="2655"/>
        <pc:sldMkLst>
          <pc:docMk/>
          <pc:sldMk cId="1741024592" sldId="2147471685"/>
        </pc:sldMkLst>
        <pc:spChg chg="del">
          <ac:chgData name="John Paserba" userId="77bd6c8a-d0c1-4fea-8705-0169f65d0c0e" providerId="ADAL" clId="{A1C772D9-4FDD-4D7D-B3B4-103EC4264E41}" dt="2025-07-20T22:13:03.839" v="2651" actId="478"/>
          <ac:spMkLst>
            <pc:docMk/>
            <pc:sldMk cId="1741024592" sldId="2147471685"/>
            <ac:spMk id="3" creationId="{1F116D3C-6970-4867-BAFD-C6F48DF03F27}"/>
          </ac:spMkLst>
        </pc:spChg>
        <pc:picChg chg="del mod">
          <ac:chgData name="John Paserba" userId="77bd6c8a-d0c1-4fea-8705-0169f65d0c0e" providerId="ADAL" clId="{A1C772D9-4FDD-4D7D-B3B4-103EC4264E41}" dt="2025-07-20T22:13:02.752" v="2650" actId="478"/>
          <ac:picMkLst>
            <pc:docMk/>
            <pc:sldMk cId="1741024592" sldId="2147471685"/>
            <ac:picMk id="2" creationId="{D41E2179-AAAE-4FE5-AEFC-85381B0EB598}"/>
          </ac:picMkLst>
        </pc:picChg>
        <pc:picChg chg="add">
          <ac:chgData name="John Paserba" userId="77bd6c8a-d0c1-4fea-8705-0169f65d0c0e" providerId="ADAL" clId="{A1C772D9-4FDD-4D7D-B3B4-103EC4264E41}" dt="2025-07-20T22:14:13.541" v="2655"/>
          <ac:picMkLst>
            <pc:docMk/>
            <pc:sldMk cId="1741024592" sldId="2147471685"/>
            <ac:picMk id="4" creationId="{4D18A8A3-8A9A-4E5D-8DA9-14F39A7091CF}"/>
          </ac:picMkLst>
        </pc:picChg>
      </pc:sldChg>
      <pc:sldChg chg="modSp mod">
        <pc:chgData name="John Paserba" userId="77bd6c8a-d0c1-4fea-8705-0169f65d0c0e" providerId="ADAL" clId="{A1C772D9-4FDD-4D7D-B3B4-103EC4264E41}" dt="2025-07-20T22:41:08.401" v="3016" actId="20577"/>
        <pc:sldMkLst>
          <pc:docMk/>
          <pc:sldMk cId="2771696798" sldId="2147471691"/>
        </pc:sldMkLst>
        <pc:spChg chg="mod">
          <ac:chgData name="John Paserba" userId="77bd6c8a-d0c1-4fea-8705-0169f65d0c0e" providerId="ADAL" clId="{A1C772D9-4FDD-4D7D-B3B4-103EC4264E41}" dt="2025-07-20T22:41:08.401" v="3016" actId="20577"/>
          <ac:spMkLst>
            <pc:docMk/>
            <pc:sldMk cId="2771696798" sldId="2147471691"/>
            <ac:spMk id="10" creationId="{A4F400A0-B31D-4252-A656-F998A21FDAB7}"/>
          </ac:spMkLst>
        </pc:spChg>
      </pc:sldChg>
      <pc:sldChg chg="modSp mod">
        <pc:chgData name="John Paserba" userId="77bd6c8a-d0c1-4fea-8705-0169f65d0c0e" providerId="ADAL" clId="{A1C772D9-4FDD-4D7D-B3B4-103EC4264E41}" dt="2025-07-20T23:05:00.955" v="3356" actId="20577"/>
        <pc:sldMkLst>
          <pc:docMk/>
          <pc:sldMk cId="2725648120" sldId="2147471696"/>
        </pc:sldMkLst>
        <pc:spChg chg="mod">
          <ac:chgData name="John Paserba" userId="77bd6c8a-d0c1-4fea-8705-0169f65d0c0e" providerId="ADAL" clId="{A1C772D9-4FDD-4D7D-B3B4-103EC4264E41}" dt="2025-07-20T23:05:00.955" v="3356" actId="20577"/>
          <ac:spMkLst>
            <pc:docMk/>
            <pc:sldMk cId="2725648120" sldId="2147471696"/>
            <ac:spMk id="3" creationId="{E6993746-A424-4F09-867F-B919F4E18ECB}"/>
          </ac:spMkLst>
        </pc:spChg>
        <pc:spChg chg="mod">
          <ac:chgData name="John Paserba" userId="77bd6c8a-d0c1-4fea-8705-0169f65d0c0e" providerId="ADAL" clId="{A1C772D9-4FDD-4D7D-B3B4-103EC4264E41}" dt="2025-07-20T23:04:41.229" v="3345" actId="20577"/>
          <ac:spMkLst>
            <pc:docMk/>
            <pc:sldMk cId="2725648120" sldId="2147471696"/>
            <ac:spMk id="3328002" creationId="{00000000-0000-0000-0000-000000000000}"/>
          </ac:spMkLst>
        </pc:spChg>
      </pc:sldChg>
      <pc:sldChg chg="del">
        <pc:chgData name="John Paserba" userId="77bd6c8a-d0c1-4fea-8705-0169f65d0c0e" providerId="ADAL" clId="{A1C772D9-4FDD-4D7D-B3B4-103EC4264E41}" dt="2025-07-20T23:04:21.215" v="3332" actId="2696"/>
        <pc:sldMkLst>
          <pc:docMk/>
          <pc:sldMk cId="4269995171" sldId="2147471696"/>
        </pc:sldMkLst>
      </pc:sldChg>
      <pc:sldChg chg="del">
        <pc:chgData name="John Paserba" userId="77bd6c8a-d0c1-4fea-8705-0169f65d0c0e" providerId="ADAL" clId="{A1C772D9-4FDD-4D7D-B3B4-103EC4264E41}" dt="2025-07-20T22:58:28.832" v="3136" actId="47"/>
        <pc:sldMkLst>
          <pc:docMk/>
          <pc:sldMk cId="346743070" sldId="2147471698"/>
        </pc:sldMkLst>
      </pc:sldChg>
      <pc:sldChg chg="delSp modSp mod">
        <pc:chgData name="John Paserba" userId="77bd6c8a-d0c1-4fea-8705-0169f65d0c0e" providerId="ADAL" clId="{A1C772D9-4FDD-4D7D-B3B4-103EC4264E41}" dt="2025-07-20T23:48:52.183" v="3432" actId="255"/>
        <pc:sldMkLst>
          <pc:docMk/>
          <pc:sldMk cId="1812772885" sldId="2147471704"/>
        </pc:sldMkLst>
        <pc:spChg chg="mod">
          <ac:chgData name="John Paserba" userId="77bd6c8a-d0c1-4fea-8705-0169f65d0c0e" providerId="ADAL" clId="{A1C772D9-4FDD-4D7D-B3B4-103EC4264E41}" dt="2025-07-20T23:48:46.364" v="3431" actId="255"/>
          <ac:spMkLst>
            <pc:docMk/>
            <pc:sldMk cId="1812772885" sldId="2147471704"/>
            <ac:spMk id="3" creationId="{E6993746-A424-4F09-867F-B919F4E18ECB}"/>
          </ac:spMkLst>
        </pc:spChg>
        <pc:spChg chg="del">
          <ac:chgData name="John Paserba" userId="77bd6c8a-d0c1-4fea-8705-0169f65d0c0e" providerId="ADAL" clId="{A1C772D9-4FDD-4D7D-B3B4-103EC4264E41}" dt="2025-07-20T22:57:46.111" v="3133" actId="478"/>
          <ac:spMkLst>
            <pc:docMk/>
            <pc:sldMk cId="1812772885" sldId="2147471704"/>
            <ac:spMk id="8" creationId="{F6F09A86-9F96-4140-806A-2C6507480BDC}"/>
          </ac:spMkLst>
        </pc:spChg>
        <pc:spChg chg="mod">
          <ac:chgData name="John Paserba" userId="77bd6c8a-d0c1-4fea-8705-0169f65d0c0e" providerId="ADAL" clId="{A1C772D9-4FDD-4D7D-B3B4-103EC4264E41}" dt="2025-07-20T23:48:52.183" v="3432" actId="255"/>
          <ac:spMkLst>
            <pc:docMk/>
            <pc:sldMk cId="1812772885" sldId="2147471704"/>
            <ac:spMk id="12" creationId="{6052F144-7250-49E5-B832-4F896371D59A}"/>
          </ac:spMkLst>
        </pc:spChg>
      </pc:sldChg>
      <pc:sldChg chg="add del">
        <pc:chgData name="John Paserba" userId="77bd6c8a-d0c1-4fea-8705-0169f65d0c0e" providerId="ADAL" clId="{A1C772D9-4FDD-4D7D-B3B4-103EC4264E41}" dt="2025-07-20T22:38:15.280" v="2936" actId="47"/>
        <pc:sldMkLst>
          <pc:docMk/>
          <pc:sldMk cId="3996962301" sldId="2147471706"/>
        </pc:sldMkLst>
      </pc:sldChg>
      <pc:sldChg chg="delSp modSp add del mod">
        <pc:chgData name="John Paserba" userId="77bd6c8a-d0c1-4fea-8705-0169f65d0c0e" providerId="ADAL" clId="{A1C772D9-4FDD-4D7D-B3B4-103EC4264E41}" dt="2025-07-20T22:53:15.510" v="3107" actId="20577"/>
        <pc:sldMkLst>
          <pc:docMk/>
          <pc:sldMk cId="4225029992" sldId="2147471708"/>
        </pc:sldMkLst>
        <pc:spChg chg="del">
          <ac:chgData name="John Paserba" userId="77bd6c8a-d0c1-4fea-8705-0169f65d0c0e" providerId="ADAL" clId="{A1C772D9-4FDD-4D7D-B3B4-103EC4264E41}" dt="2025-07-20T22:48:51.889" v="3037" actId="478"/>
          <ac:spMkLst>
            <pc:docMk/>
            <pc:sldMk cId="4225029992" sldId="2147471708"/>
            <ac:spMk id="21" creationId="{162F52AD-3BF8-4DA7-9699-1FBCA3F31B22}"/>
          </ac:spMkLst>
        </pc:spChg>
        <pc:spChg chg="del mod">
          <ac:chgData name="John Paserba" userId="77bd6c8a-d0c1-4fea-8705-0169f65d0c0e" providerId="ADAL" clId="{A1C772D9-4FDD-4D7D-B3B4-103EC4264E41}" dt="2025-07-20T22:50:26.147" v="3093" actId="478"/>
          <ac:spMkLst>
            <pc:docMk/>
            <pc:sldMk cId="4225029992" sldId="2147471708"/>
            <ac:spMk id="23" creationId="{EE50A710-6206-4350-B4E9-302D9C4B0D84}"/>
          </ac:spMkLst>
        </pc:spChg>
        <pc:spChg chg="del mod">
          <ac:chgData name="John Paserba" userId="77bd6c8a-d0c1-4fea-8705-0169f65d0c0e" providerId="ADAL" clId="{A1C772D9-4FDD-4D7D-B3B4-103EC4264E41}" dt="2025-07-20T22:50:27.912" v="3094" actId="478"/>
          <ac:spMkLst>
            <pc:docMk/>
            <pc:sldMk cId="4225029992" sldId="2147471708"/>
            <ac:spMk id="24" creationId="{60A50DB6-6E31-49D7-845B-71C7AB777ABE}"/>
          </ac:spMkLst>
        </pc:spChg>
        <pc:spChg chg="del">
          <ac:chgData name="John Paserba" userId="77bd6c8a-d0c1-4fea-8705-0169f65d0c0e" providerId="ADAL" clId="{A1C772D9-4FDD-4D7D-B3B4-103EC4264E41}" dt="2025-07-20T22:48:56.884" v="3038" actId="478"/>
          <ac:spMkLst>
            <pc:docMk/>
            <pc:sldMk cId="4225029992" sldId="2147471708"/>
            <ac:spMk id="25" creationId="{E1E1A783-0B38-4132-95B8-76E20D0673FA}"/>
          </ac:spMkLst>
        </pc:spChg>
        <pc:spChg chg="mod">
          <ac:chgData name="John Paserba" userId="77bd6c8a-d0c1-4fea-8705-0169f65d0c0e" providerId="ADAL" clId="{A1C772D9-4FDD-4D7D-B3B4-103EC4264E41}" dt="2025-07-20T22:50:16.354" v="3090" actId="3064"/>
          <ac:spMkLst>
            <pc:docMk/>
            <pc:sldMk cId="4225029992" sldId="2147471708"/>
            <ac:spMk id="27" creationId="{756418B6-D77C-49FB-82D0-449E1514005D}"/>
          </ac:spMkLst>
        </pc:spChg>
        <pc:spChg chg="mod ord">
          <ac:chgData name="John Paserba" userId="77bd6c8a-d0c1-4fea-8705-0169f65d0c0e" providerId="ADAL" clId="{A1C772D9-4FDD-4D7D-B3B4-103EC4264E41}" dt="2025-07-20T22:53:15.510" v="3107" actId="20577"/>
          <ac:spMkLst>
            <pc:docMk/>
            <pc:sldMk cId="4225029992" sldId="2147471708"/>
            <ac:spMk id="28" creationId="{6B07F44D-0FAD-4547-ACBD-1AA3BE5242BD}"/>
          </ac:spMkLst>
        </pc:spChg>
        <pc:graphicFrameChg chg="mod">
          <ac:chgData name="John Paserba" userId="77bd6c8a-d0c1-4fea-8705-0169f65d0c0e" providerId="ADAL" clId="{A1C772D9-4FDD-4D7D-B3B4-103EC4264E41}" dt="2025-07-20T22:49:23.991" v="3085"/>
          <ac:graphicFrameMkLst>
            <pc:docMk/>
            <pc:sldMk cId="4225029992" sldId="2147471708"/>
            <ac:graphicFrameMk id="16" creationId="{A9B09697-6D04-4AED-B8DA-7964DF323193}"/>
          </ac:graphicFrameMkLst>
        </pc:graphicFrameChg>
        <pc:graphicFrameChg chg="mod">
          <ac:chgData name="John Paserba" userId="77bd6c8a-d0c1-4fea-8705-0169f65d0c0e" providerId="ADAL" clId="{A1C772D9-4FDD-4D7D-B3B4-103EC4264E41}" dt="2025-07-20T22:50:55.147" v="3099" actId="20577"/>
          <ac:graphicFrameMkLst>
            <pc:docMk/>
            <pc:sldMk cId="4225029992" sldId="2147471708"/>
            <ac:graphicFrameMk id="17" creationId="{92E26C94-F162-4B18-8B6C-AF382DB389C3}"/>
          </ac:graphicFrameMkLst>
        </pc:graphicFrameChg>
      </pc:sldChg>
      <pc:sldChg chg="del">
        <pc:chgData name="John Paserba" userId="77bd6c8a-d0c1-4fea-8705-0169f65d0c0e" providerId="ADAL" clId="{A1C772D9-4FDD-4D7D-B3B4-103EC4264E41}" dt="2025-07-20T22:19:31.288" v="2657" actId="47"/>
        <pc:sldMkLst>
          <pc:docMk/>
          <pc:sldMk cId="3241406327" sldId="2147471711"/>
        </pc:sldMkLst>
      </pc:sldChg>
      <pc:sldChg chg="delSp modSp mod">
        <pc:chgData name="John Paserba" userId="77bd6c8a-d0c1-4fea-8705-0169f65d0c0e" providerId="ADAL" clId="{A1C772D9-4FDD-4D7D-B3B4-103EC4264E41}" dt="2025-07-20T22:06:25.911" v="2639" actId="478"/>
        <pc:sldMkLst>
          <pc:docMk/>
          <pc:sldMk cId="1676387962" sldId="2147471712"/>
        </pc:sldMkLst>
        <pc:spChg chg="mod">
          <ac:chgData name="John Paserba" userId="77bd6c8a-d0c1-4fea-8705-0169f65d0c0e" providerId="ADAL" clId="{A1C772D9-4FDD-4D7D-B3B4-103EC4264E41}" dt="2025-07-20T22:06:18.586" v="2638" actId="20577"/>
          <ac:spMkLst>
            <pc:docMk/>
            <pc:sldMk cId="1676387962" sldId="2147471712"/>
            <ac:spMk id="3" creationId="{E6993746-A424-4F09-867F-B919F4E18ECB}"/>
          </ac:spMkLst>
        </pc:spChg>
        <pc:spChg chg="del mod">
          <ac:chgData name="John Paserba" userId="77bd6c8a-d0c1-4fea-8705-0169f65d0c0e" providerId="ADAL" clId="{A1C772D9-4FDD-4D7D-B3B4-103EC4264E41}" dt="2025-07-20T22:06:25.911" v="2639" actId="478"/>
          <ac:spMkLst>
            <pc:docMk/>
            <pc:sldMk cId="1676387962" sldId="2147471712"/>
            <ac:spMk id="12" creationId="{0371D2D5-1BDD-4494-9476-3CF08242180F}"/>
          </ac:spMkLst>
        </pc:spChg>
      </pc:sldChg>
      <pc:sldChg chg="modSp mod">
        <pc:chgData name="John Paserba" userId="77bd6c8a-d0c1-4fea-8705-0169f65d0c0e" providerId="ADAL" clId="{A1C772D9-4FDD-4D7D-B3B4-103EC4264E41}" dt="2025-07-20T21:00:46.155" v="1242" actId="14100"/>
        <pc:sldMkLst>
          <pc:docMk/>
          <pc:sldMk cId="237403609" sldId="2147471713"/>
        </pc:sldMkLst>
        <pc:spChg chg="mod">
          <ac:chgData name="John Paserba" userId="77bd6c8a-d0c1-4fea-8705-0169f65d0c0e" providerId="ADAL" clId="{A1C772D9-4FDD-4D7D-B3B4-103EC4264E41}" dt="2025-07-20T21:00:46.155" v="1242" actId="14100"/>
          <ac:spMkLst>
            <pc:docMk/>
            <pc:sldMk cId="237403609" sldId="2147471713"/>
            <ac:spMk id="3328002" creationId="{00000000-0000-0000-0000-000000000000}"/>
          </ac:spMkLst>
        </pc:spChg>
      </pc:sldChg>
      <pc:sldChg chg="addSp modSp mod">
        <pc:chgData name="John Paserba" userId="77bd6c8a-d0c1-4fea-8705-0169f65d0c0e" providerId="ADAL" clId="{A1C772D9-4FDD-4D7D-B3B4-103EC4264E41}" dt="2025-07-20T22:06:38.934" v="2640" actId="20577"/>
        <pc:sldMkLst>
          <pc:docMk/>
          <pc:sldMk cId="1444063717" sldId="2147471714"/>
        </pc:sldMkLst>
        <pc:spChg chg="add mod">
          <ac:chgData name="John Paserba" userId="77bd6c8a-d0c1-4fea-8705-0169f65d0c0e" providerId="ADAL" clId="{A1C772D9-4FDD-4D7D-B3B4-103EC4264E41}" dt="2025-07-20T21:13:23.344" v="1707" actId="20577"/>
          <ac:spMkLst>
            <pc:docMk/>
            <pc:sldMk cId="1444063717" sldId="2147471714"/>
            <ac:spMk id="42" creationId="{4344711B-9150-4AC8-8AA2-738997907E44}"/>
          </ac:spMkLst>
        </pc:spChg>
        <pc:spChg chg="mod">
          <ac:chgData name="John Paserba" userId="77bd6c8a-d0c1-4fea-8705-0169f65d0c0e" providerId="ADAL" clId="{A1C772D9-4FDD-4D7D-B3B4-103EC4264E41}" dt="2025-07-20T22:06:38.934" v="2640" actId="20577"/>
          <ac:spMkLst>
            <pc:docMk/>
            <pc:sldMk cId="1444063717" sldId="2147471714"/>
            <ac:spMk id="3328002" creationId="{00000000-0000-0000-0000-000000000000}"/>
          </ac:spMkLst>
        </pc:spChg>
      </pc:sldChg>
      <pc:sldChg chg="delSp modSp mod">
        <pc:chgData name="John Paserba" userId="77bd6c8a-d0c1-4fea-8705-0169f65d0c0e" providerId="ADAL" clId="{A1C772D9-4FDD-4D7D-B3B4-103EC4264E41}" dt="2025-07-20T21:31:03.100" v="2076" actId="27636"/>
        <pc:sldMkLst>
          <pc:docMk/>
          <pc:sldMk cId="402333902" sldId="2147471715"/>
        </pc:sldMkLst>
        <pc:spChg chg="mod">
          <ac:chgData name="John Paserba" userId="77bd6c8a-d0c1-4fea-8705-0169f65d0c0e" providerId="ADAL" clId="{A1C772D9-4FDD-4D7D-B3B4-103EC4264E41}" dt="2025-07-20T21:31:03.100" v="2076" actId="27636"/>
          <ac:spMkLst>
            <pc:docMk/>
            <pc:sldMk cId="402333902" sldId="2147471715"/>
            <ac:spMk id="3" creationId="{E6993746-A424-4F09-867F-B919F4E18ECB}"/>
          </ac:spMkLst>
        </pc:spChg>
        <pc:spChg chg="del mod">
          <ac:chgData name="John Paserba" userId="77bd6c8a-d0c1-4fea-8705-0169f65d0c0e" providerId="ADAL" clId="{A1C772D9-4FDD-4D7D-B3B4-103EC4264E41}" dt="2025-07-20T21:20:16.547" v="1841" actId="478"/>
          <ac:spMkLst>
            <pc:docMk/>
            <pc:sldMk cId="402333902" sldId="2147471715"/>
            <ac:spMk id="12" creationId="{0371D2D5-1BDD-4494-9476-3CF08242180F}"/>
          </ac:spMkLst>
        </pc:spChg>
        <pc:spChg chg="mod">
          <ac:chgData name="John Paserba" userId="77bd6c8a-d0c1-4fea-8705-0169f65d0c0e" providerId="ADAL" clId="{A1C772D9-4FDD-4D7D-B3B4-103EC4264E41}" dt="2025-07-20T21:26:57.597" v="2059" actId="20577"/>
          <ac:spMkLst>
            <pc:docMk/>
            <pc:sldMk cId="402333902" sldId="2147471715"/>
            <ac:spMk id="3328002" creationId="{00000000-0000-0000-0000-000000000000}"/>
          </ac:spMkLst>
        </pc:spChg>
      </pc:sldChg>
      <pc:sldChg chg="del">
        <pc:chgData name="John Paserba" userId="77bd6c8a-d0c1-4fea-8705-0169f65d0c0e" providerId="ADAL" clId="{A1C772D9-4FDD-4D7D-B3B4-103EC4264E41}" dt="2025-07-20T22:07:11.923" v="2642" actId="47"/>
        <pc:sldMkLst>
          <pc:docMk/>
          <pc:sldMk cId="2177707717" sldId="2147471717"/>
        </pc:sldMkLst>
      </pc:sldChg>
      <pc:sldChg chg="modSp add del mod">
        <pc:chgData name="John Paserba" userId="77bd6c8a-d0c1-4fea-8705-0169f65d0c0e" providerId="ADAL" clId="{A1C772D9-4FDD-4D7D-B3B4-103EC4264E41}" dt="2025-07-20T22:07:09.649" v="2641" actId="47"/>
        <pc:sldMkLst>
          <pc:docMk/>
          <pc:sldMk cId="2153567259" sldId="2147471721"/>
        </pc:sldMkLst>
        <pc:spChg chg="mod">
          <ac:chgData name="John Paserba" userId="77bd6c8a-d0c1-4fea-8705-0169f65d0c0e" providerId="ADAL" clId="{A1C772D9-4FDD-4D7D-B3B4-103EC4264E41}" dt="2025-07-20T21:44:20.120" v="2621" actId="14100"/>
          <ac:spMkLst>
            <pc:docMk/>
            <pc:sldMk cId="2153567259" sldId="2147471721"/>
            <ac:spMk id="12" creationId="{0371D2D5-1BDD-4494-9476-3CF08242180F}"/>
          </ac:spMkLst>
        </pc:spChg>
      </pc:sldChg>
      <pc:sldChg chg="delSp modSp add mod">
        <pc:chgData name="John Paserba" userId="77bd6c8a-d0c1-4fea-8705-0169f65d0c0e" providerId="ADAL" clId="{A1C772D9-4FDD-4D7D-B3B4-103EC4264E41}" dt="2025-07-20T21:39:36.573" v="2588" actId="20577"/>
        <pc:sldMkLst>
          <pc:docMk/>
          <pc:sldMk cId="1807381905" sldId="2147471722"/>
        </pc:sldMkLst>
        <pc:spChg chg="mod">
          <ac:chgData name="John Paserba" userId="77bd6c8a-d0c1-4fea-8705-0169f65d0c0e" providerId="ADAL" clId="{A1C772D9-4FDD-4D7D-B3B4-103EC4264E41}" dt="2025-07-20T21:39:36.573" v="2588" actId="20577"/>
          <ac:spMkLst>
            <pc:docMk/>
            <pc:sldMk cId="1807381905" sldId="2147471722"/>
            <ac:spMk id="3" creationId="{E6993746-A424-4F09-867F-B919F4E18ECB}"/>
          </ac:spMkLst>
        </pc:spChg>
        <pc:spChg chg="del">
          <ac:chgData name="John Paserba" userId="77bd6c8a-d0c1-4fea-8705-0169f65d0c0e" providerId="ADAL" clId="{A1C772D9-4FDD-4D7D-B3B4-103EC4264E41}" dt="2025-07-20T21:31:32.109" v="2077" actId="478"/>
          <ac:spMkLst>
            <pc:docMk/>
            <pc:sldMk cId="1807381905" sldId="2147471722"/>
            <ac:spMk id="12" creationId="{0371D2D5-1BDD-4494-9476-3CF08242180F}"/>
          </ac:spMkLst>
        </pc:spChg>
        <pc:spChg chg="mod">
          <ac:chgData name="John Paserba" userId="77bd6c8a-d0c1-4fea-8705-0169f65d0c0e" providerId="ADAL" clId="{A1C772D9-4FDD-4D7D-B3B4-103EC4264E41}" dt="2025-07-19T15:51:28.653" v="198" actId="20577"/>
          <ac:spMkLst>
            <pc:docMk/>
            <pc:sldMk cId="1807381905" sldId="2147471722"/>
            <ac:spMk id="3328002" creationId="{00000000-0000-0000-0000-000000000000}"/>
          </ac:spMkLst>
        </pc:spChg>
      </pc:sldChg>
      <pc:sldChg chg="modSp mod">
        <pc:chgData name="John Paserba" userId="77bd6c8a-d0c1-4fea-8705-0169f65d0c0e" providerId="ADAL" clId="{A1C772D9-4FDD-4D7D-B3B4-103EC4264E41}" dt="2025-07-20T23:18:38.941" v="3360" actId="1076"/>
        <pc:sldMkLst>
          <pc:docMk/>
          <pc:sldMk cId="3241406327" sldId="2147471723"/>
        </pc:sldMkLst>
        <pc:spChg chg="mod">
          <ac:chgData name="John Paserba" userId="77bd6c8a-d0c1-4fea-8705-0169f65d0c0e" providerId="ADAL" clId="{A1C772D9-4FDD-4D7D-B3B4-103EC4264E41}" dt="2025-07-20T23:18:38.941" v="3360" actId="1076"/>
          <ac:spMkLst>
            <pc:docMk/>
            <pc:sldMk cId="3241406327" sldId="2147471723"/>
            <ac:spMk id="7" creationId="{22C1A683-409A-4D8E-9F43-7E01A0306317}"/>
          </ac:spMkLst>
        </pc:spChg>
      </pc:sldChg>
      <pc:sldChg chg="addSp delSp modSp mod">
        <pc:chgData name="John Paserba" userId="77bd6c8a-d0c1-4fea-8705-0169f65d0c0e" providerId="ADAL" clId="{A1C772D9-4FDD-4D7D-B3B4-103EC4264E41}" dt="2025-07-20T22:39:42.274" v="2972"/>
        <pc:sldMkLst>
          <pc:docMk/>
          <pc:sldMk cId="1940821927" sldId="2147471724"/>
        </pc:sldMkLst>
        <pc:spChg chg="del">
          <ac:chgData name="John Paserba" userId="77bd6c8a-d0c1-4fea-8705-0169f65d0c0e" providerId="ADAL" clId="{A1C772D9-4FDD-4D7D-B3B4-103EC4264E41}" dt="2025-07-20T22:38:35.003" v="2937" actId="478"/>
          <ac:spMkLst>
            <pc:docMk/>
            <pc:sldMk cId="1940821927" sldId="2147471724"/>
            <ac:spMk id="3" creationId="{E6993746-A424-4F09-867F-B919F4E18ECB}"/>
          </ac:spMkLst>
        </pc:spChg>
        <pc:spChg chg="add del mod">
          <ac:chgData name="John Paserba" userId="77bd6c8a-d0c1-4fea-8705-0169f65d0c0e" providerId="ADAL" clId="{A1C772D9-4FDD-4D7D-B3B4-103EC4264E41}" dt="2025-07-20T22:38:37.470" v="2938" actId="478"/>
          <ac:spMkLst>
            <pc:docMk/>
            <pc:sldMk cId="1940821927" sldId="2147471724"/>
            <ac:spMk id="6" creationId="{6258F815-9AD2-4390-9A42-5DB9DDAC4FA6}"/>
          </ac:spMkLst>
        </pc:spChg>
        <pc:spChg chg="add mod">
          <ac:chgData name="John Paserba" userId="77bd6c8a-d0c1-4fea-8705-0169f65d0c0e" providerId="ADAL" clId="{A1C772D9-4FDD-4D7D-B3B4-103EC4264E41}" dt="2025-07-20T22:39:12.218" v="2970" actId="1035"/>
          <ac:spMkLst>
            <pc:docMk/>
            <pc:sldMk cId="1940821927" sldId="2147471724"/>
            <ac:spMk id="8" creationId="{00215193-4654-43E6-9562-F7179A8EE72B}"/>
          </ac:spMkLst>
        </pc:spChg>
        <pc:spChg chg="add mod">
          <ac:chgData name="John Paserba" userId="77bd6c8a-d0c1-4fea-8705-0169f65d0c0e" providerId="ADAL" clId="{A1C772D9-4FDD-4D7D-B3B4-103EC4264E41}" dt="2025-07-20T22:39:12.218" v="2970" actId="1035"/>
          <ac:spMkLst>
            <pc:docMk/>
            <pc:sldMk cId="1940821927" sldId="2147471724"/>
            <ac:spMk id="9" creationId="{971D26DC-721D-4D96-8435-58C607DDCE04}"/>
          </ac:spMkLst>
        </pc:spChg>
        <pc:spChg chg="add mod">
          <ac:chgData name="John Paserba" userId="77bd6c8a-d0c1-4fea-8705-0169f65d0c0e" providerId="ADAL" clId="{A1C772D9-4FDD-4D7D-B3B4-103EC4264E41}" dt="2025-07-20T22:39:12.218" v="2970" actId="1035"/>
          <ac:spMkLst>
            <pc:docMk/>
            <pc:sldMk cId="1940821927" sldId="2147471724"/>
            <ac:spMk id="10" creationId="{63D48A06-B223-4C14-8731-B318E6686A59}"/>
          </ac:spMkLst>
        </pc:spChg>
        <pc:spChg chg="add mod">
          <ac:chgData name="John Paserba" userId="77bd6c8a-d0c1-4fea-8705-0169f65d0c0e" providerId="ADAL" clId="{A1C772D9-4FDD-4D7D-B3B4-103EC4264E41}" dt="2025-07-20T22:39:12.218" v="2970" actId="1035"/>
          <ac:spMkLst>
            <pc:docMk/>
            <pc:sldMk cId="1940821927" sldId="2147471724"/>
            <ac:spMk id="11" creationId="{9C967A26-502C-4516-BD89-614766373BDD}"/>
          </ac:spMkLst>
        </pc:spChg>
        <pc:spChg chg="add mod">
          <ac:chgData name="John Paserba" userId="77bd6c8a-d0c1-4fea-8705-0169f65d0c0e" providerId="ADAL" clId="{A1C772D9-4FDD-4D7D-B3B4-103EC4264E41}" dt="2025-07-20T22:39:12.218" v="2970" actId="1035"/>
          <ac:spMkLst>
            <pc:docMk/>
            <pc:sldMk cId="1940821927" sldId="2147471724"/>
            <ac:spMk id="12" creationId="{A23EF28A-18AA-4B47-98F5-DFB0C62A4BD4}"/>
          </ac:spMkLst>
        </pc:spChg>
        <pc:spChg chg="add mod">
          <ac:chgData name="John Paserba" userId="77bd6c8a-d0c1-4fea-8705-0169f65d0c0e" providerId="ADAL" clId="{A1C772D9-4FDD-4D7D-B3B4-103EC4264E41}" dt="2025-07-20T22:39:12.218" v="2970" actId="1035"/>
          <ac:spMkLst>
            <pc:docMk/>
            <pc:sldMk cId="1940821927" sldId="2147471724"/>
            <ac:spMk id="13" creationId="{2D4595FA-3A18-43CD-8BF6-EBFED746B52F}"/>
          </ac:spMkLst>
        </pc:spChg>
        <pc:spChg chg="add mod">
          <ac:chgData name="John Paserba" userId="77bd6c8a-d0c1-4fea-8705-0169f65d0c0e" providerId="ADAL" clId="{A1C772D9-4FDD-4D7D-B3B4-103EC4264E41}" dt="2025-07-20T22:39:12.218" v="2970" actId="1035"/>
          <ac:spMkLst>
            <pc:docMk/>
            <pc:sldMk cId="1940821927" sldId="2147471724"/>
            <ac:spMk id="14" creationId="{09BD6214-01BE-4AC2-8890-C6D7F7A2B1A3}"/>
          </ac:spMkLst>
        </pc:spChg>
        <pc:spChg chg="add mod">
          <ac:chgData name="John Paserba" userId="77bd6c8a-d0c1-4fea-8705-0169f65d0c0e" providerId="ADAL" clId="{A1C772D9-4FDD-4D7D-B3B4-103EC4264E41}" dt="2025-07-20T22:39:12.218" v="2970" actId="1035"/>
          <ac:spMkLst>
            <pc:docMk/>
            <pc:sldMk cId="1940821927" sldId="2147471724"/>
            <ac:spMk id="15" creationId="{D3FDDB21-BC61-4B7D-A17B-464E97D32A11}"/>
          </ac:spMkLst>
        </pc:spChg>
        <pc:spChg chg="add mod">
          <ac:chgData name="John Paserba" userId="77bd6c8a-d0c1-4fea-8705-0169f65d0c0e" providerId="ADAL" clId="{A1C772D9-4FDD-4D7D-B3B4-103EC4264E41}" dt="2025-07-20T22:39:12.218" v="2970" actId="1035"/>
          <ac:spMkLst>
            <pc:docMk/>
            <pc:sldMk cId="1940821927" sldId="2147471724"/>
            <ac:spMk id="16" creationId="{DC170A61-448B-4923-9683-4AD81E02F2DF}"/>
          </ac:spMkLst>
        </pc:spChg>
        <pc:spChg chg="add mod">
          <ac:chgData name="John Paserba" userId="77bd6c8a-d0c1-4fea-8705-0169f65d0c0e" providerId="ADAL" clId="{A1C772D9-4FDD-4D7D-B3B4-103EC4264E41}" dt="2025-07-20T22:39:12.218" v="2970" actId="1035"/>
          <ac:spMkLst>
            <pc:docMk/>
            <pc:sldMk cId="1940821927" sldId="2147471724"/>
            <ac:spMk id="27" creationId="{3FDD7D42-840F-4F67-9987-9BC73EE32321}"/>
          </ac:spMkLst>
        </pc:spChg>
        <pc:spChg chg="add mod">
          <ac:chgData name="John Paserba" userId="77bd6c8a-d0c1-4fea-8705-0169f65d0c0e" providerId="ADAL" clId="{A1C772D9-4FDD-4D7D-B3B4-103EC4264E41}" dt="2025-07-20T22:39:12.218" v="2970" actId="1035"/>
          <ac:spMkLst>
            <pc:docMk/>
            <pc:sldMk cId="1940821927" sldId="2147471724"/>
            <ac:spMk id="28" creationId="{13B9EC78-D07F-42EE-99FC-2EC8A28AA902}"/>
          </ac:spMkLst>
        </pc:spChg>
        <pc:spChg chg="add mod">
          <ac:chgData name="John Paserba" userId="77bd6c8a-d0c1-4fea-8705-0169f65d0c0e" providerId="ADAL" clId="{A1C772D9-4FDD-4D7D-B3B4-103EC4264E41}" dt="2025-07-20T22:39:12.218" v="2970" actId="1035"/>
          <ac:spMkLst>
            <pc:docMk/>
            <pc:sldMk cId="1940821927" sldId="2147471724"/>
            <ac:spMk id="29" creationId="{9FC648CC-AEE1-452B-9223-7FC547E67FE4}"/>
          </ac:spMkLst>
        </pc:spChg>
        <pc:spChg chg="add mod">
          <ac:chgData name="John Paserba" userId="77bd6c8a-d0c1-4fea-8705-0169f65d0c0e" providerId="ADAL" clId="{A1C772D9-4FDD-4D7D-B3B4-103EC4264E41}" dt="2025-07-20T22:39:12.218" v="2970" actId="1035"/>
          <ac:spMkLst>
            <pc:docMk/>
            <pc:sldMk cId="1940821927" sldId="2147471724"/>
            <ac:spMk id="30" creationId="{013E7B9A-ACF4-4487-BF3E-32C86F9BB99D}"/>
          </ac:spMkLst>
        </pc:spChg>
        <pc:spChg chg="add mod">
          <ac:chgData name="John Paserba" userId="77bd6c8a-d0c1-4fea-8705-0169f65d0c0e" providerId="ADAL" clId="{A1C772D9-4FDD-4D7D-B3B4-103EC4264E41}" dt="2025-07-20T22:39:12.218" v="2970" actId="1035"/>
          <ac:spMkLst>
            <pc:docMk/>
            <pc:sldMk cId="1940821927" sldId="2147471724"/>
            <ac:spMk id="35" creationId="{FC0C5168-69B1-42D0-915B-D328C095E8DD}"/>
          </ac:spMkLst>
        </pc:spChg>
        <pc:spChg chg="add mod">
          <ac:chgData name="John Paserba" userId="77bd6c8a-d0c1-4fea-8705-0169f65d0c0e" providerId="ADAL" clId="{A1C772D9-4FDD-4D7D-B3B4-103EC4264E41}" dt="2025-07-20T22:39:12.218" v="2970" actId="1035"/>
          <ac:spMkLst>
            <pc:docMk/>
            <pc:sldMk cId="1940821927" sldId="2147471724"/>
            <ac:spMk id="36" creationId="{61870680-920B-481A-B287-1FB2E3C07429}"/>
          </ac:spMkLst>
        </pc:spChg>
        <pc:spChg chg="add mod">
          <ac:chgData name="John Paserba" userId="77bd6c8a-d0c1-4fea-8705-0169f65d0c0e" providerId="ADAL" clId="{A1C772D9-4FDD-4D7D-B3B4-103EC4264E41}" dt="2025-07-20T22:39:12.218" v="2970" actId="1035"/>
          <ac:spMkLst>
            <pc:docMk/>
            <pc:sldMk cId="1940821927" sldId="2147471724"/>
            <ac:spMk id="37" creationId="{2240F58A-16E2-401C-8286-5E8CDCF1F3A3}"/>
          </ac:spMkLst>
        </pc:spChg>
        <pc:spChg chg="add mod">
          <ac:chgData name="John Paserba" userId="77bd6c8a-d0c1-4fea-8705-0169f65d0c0e" providerId="ADAL" clId="{A1C772D9-4FDD-4D7D-B3B4-103EC4264E41}" dt="2025-07-20T22:39:12.218" v="2970" actId="1035"/>
          <ac:spMkLst>
            <pc:docMk/>
            <pc:sldMk cId="1940821927" sldId="2147471724"/>
            <ac:spMk id="38" creationId="{96A85565-11E4-4CBF-9E54-46610976F15C}"/>
          </ac:spMkLst>
        </pc:spChg>
        <pc:spChg chg="add mod">
          <ac:chgData name="John Paserba" userId="77bd6c8a-d0c1-4fea-8705-0169f65d0c0e" providerId="ADAL" clId="{A1C772D9-4FDD-4D7D-B3B4-103EC4264E41}" dt="2025-07-20T22:39:12.218" v="2970" actId="1035"/>
          <ac:spMkLst>
            <pc:docMk/>
            <pc:sldMk cId="1940821927" sldId="2147471724"/>
            <ac:spMk id="49" creationId="{9EBAA199-0A5D-49D9-8989-6DE3608E7DFD}"/>
          </ac:spMkLst>
        </pc:spChg>
        <pc:spChg chg="add mod">
          <ac:chgData name="John Paserba" userId="77bd6c8a-d0c1-4fea-8705-0169f65d0c0e" providerId="ADAL" clId="{A1C772D9-4FDD-4D7D-B3B4-103EC4264E41}" dt="2025-07-20T22:39:12.218" v="2970" actId="1035"/>
          <ac:spMkLst>
            <pc:docMk/>
            <pc:sldMk cId="1940821927" sldId="2147471724"/>
            <ac:spMk id="50" creationId="{F88D323C-48EA-425A-97B6-C0192BDF9F26}"/>
          </ac:spMkLst>
        </pc:spChg>
        <pc:spChg chg="add mod">
          <ac:chgData name="John Paserba" userId="77bd6c8a-d0c1-4fea-8705-0169f65d0c0e" providerId="ADAL" clId="{A1C772D9-4FDD-4D7D-B3B4-103EC4264E41}" dt="2025-07-20T22:39:12.218" v="2970" actId="1035"/>
          <ac:spMkLst>
            <pc:docMk/>
            <pc:sldMk cId="1940821927" sldId="2147471724"/>
            <ac:spMk id="51" creationId="{C8A5AAAF-3197-42B2-A0DF-7D14B46ABE02}"/>
          </ac:spMkLst>
        </pc:spChg>
        <pc:spChg chg="add mod">
          <ac:chgData name="John Paserba" userId="77bd6c8a-d0c1-4fea-8705-0169f65d0c0e" providerId="ADAL" clId="{A1C772D9-4FDD-4D7D-B3B4-103EC4264E41}" dt="2025-07-20T22:39:12.218" v="2970" actId="1035"/>
          <ac:spMkLst>
            <pc:docMk/>
            <pc:sldMk cId="1940821927" sldId="2147471724"/>
            <ac:spMk id="52" creationId="{F79038CF-3CBA-4DE4-8AC9-7BFE013FD867}"/>
          </ac:spMkLst>
        </pc:spChg>
        <pc:spChg chg="add mod">
          <ac:chgData name="John Paserba" userId="77bd6c8a-d0c1-4fea-8705-0169f65d0c0e" providerId="ADAL" clId="{A1C772D9-4FDD-4D7D-B3B4-103EC4264E41}" dt="2025-07-20T22:39:12.218" v="2970" actId="1035"/>
          <ac:spMkLst>
            <pc:docMk/>
            <pc:sldMk cId="1940821927" sldId="2147471724"/>
            <ac:spMk id="53" creationId="{89EBAF58-C8AF-40E4-AA0A-7F223D88D480}"/>
          </ac:spMkLst>
        </pc:spChg>
        <pc:spChg chg="add mod">
          <ac:chgData name="John Paserba" userId="77bd6c8a-d0c1-4fea-8705-0169f65d0c0e" providerId="ADAL" clId="{A1C772D9-4FDD-4D7D-B3B4-103EC4264E41}" dt="2025-07-20T22:39:12.218" v="2970" actId="1035"/>
          <ac:spMkLst>
            <pc:docMk/>
            <pc:sldMk cId="1940821927" sldId="2147471724"/>
            <ac:spMk id="54" creationId="{43D9016A-2418-4BAB-BCAF-423402107204}"/>
          </ac:spMkLst>
        </pc:spChg>
        <pc:spChg chg="add mod">
          <ac:chgData name="John Paserba" userId="77bd6c8a-d0c1-4fea-8705-0169f65d0c0e" providerId="ADAL" clId="{A1C772D9-4FDD-4D7D-B3B4-103EC4264E41}" dt="2025-07-20T22:39:12.218" v="2970" actId="1035"/>
          <ac:spMkLst>
            <pc:docMk/>
            <pc:sldMk cId="1940821927" sldId="2147471724"/>
            <ac:spMk id="55" creationId="{E5B8D0D5-2AEC-4BA5-A908-39AF4991DF06}"/>
          </ac:spMkLst>
        </pc:spChg>
        <pc:spChg chg="add mod">
          <ac:chgData name="John Paserba" userId="77bd6c8a-d0c1-4fea-8705-0169f65d0c0e" providerId="ADAL" clId="{A1C772D9-4FDD-4D7D-B3B4-103EC4264E41}" dt="2025-07-20T22:39:12.218" v="2970" actId="1035"/>
          <ac:spMkLst>
            <pc:docMk/>
            <pc:sldMk cId="1940821927" sldId="2147471724"/>
            <ac:spMk id="56" creationId="{C424B31E-D83E-44F7-8691-23584EE0205E}"/>
          </ac:spMkLst>
        </pc:spChg>
        <pc:spChg chg="add mod">
          <ac:chgData name="John Paserba" userId="77bd6c8a-d0c1-4fea-8705-0169f65d0c0e" providerId="ADAL" clId="{A1C772D9-4FDD-4D7D-B3B4-103EC4264E41}" dt="2025-07-20T22:39:12.218" v="2970" actId="1035"/>
          <ac:spMkLst>
            <pc:docMk/>
            <pc:sldMk cId="1940821927" sldId="2147471724"/>
            <ac:spMk id="60" creationId="{C6753AC7-FB11-422C-BCF4-E2E61B5BEB34}"/>
          </ac:spMkLst>
        </pc:spChg>
        <pc:spChg chg="add mod">
          <ac:chgData name="John Paserba" userId="77bd6c8a-d0c1-4fea-8705-0169f65d0c0e" providerId="ADAL" clId="{A1C772D9-4FDD-4D7D-B3B4-103EC4264E41}" dt="2025-07-20T22:39:12.218" v="2970" actId="1035"/>
          <ac:spMkLst>
            <pc:docMk/>
            <pc:sldMk cId="1940821927" sldId="2147471724"/>
            <ac:spMk id="61" creationId="{72B656A2-8FBF-4032-82B7-40E7A078B56F}"/>
          </ac:spMkLst>
        </pc:spChg>
        <pc:spChg chg="add mod">
          <ac:chgData name="John Paserba" userId="77bd6c8a-d0c1-4fea-8705-0169f65d0c0e" providerId="ADAL" clId="{A1C772D9-4FDD-4D7D-B3B4-103EC4264E41}" dt="2025-07-20T22:39:12.218" v="2970" actId="1035"/>
          <ac:spMkLst>
            <pc:docMk/>
            <pc:sldMk cId="1940821927" sldId="2147471724"/>
            <ac:spMk id="63" creationId="{10B976B7-AAF6-4523-99C2-5E439F924F53}"/>
          </ac:spMkLst>
        </pc:spChg>
        <pc:spChg chg="add mod">
          <ac:chgData name="John Paserba" userId="77bd6c8a-d0c1-4fea-8705-0169f65d0c0e" providerId="ADAL" clId="{A1C772D9-4FDD-4D7D-B3B4-103EC4264E41}" dt="2025-07-20T22:39:12.218" v="2970" actId="1035"/>
          <ac:spMkLst>
            <pc:docMk/>
            <pc:sldMk cId="1940821927" sldId="2147471724"/>
            <ac:spMk id="65" creationId="{B99B5C9B-8686-4DB0-9B27-952F0EB2C113}"/>
          </ac:spMkLst>
        </pc:spChg>
        <pc:spChg chg="add mod">
          <ac:chgData name="John Paserba" userId="77bd6c8a-d0c1-4fea-8705-0169f65d0c0e" providerId="ADAL" clId="{A1C772D9-4FDD-4D7D-B3B4-103EC4264E41}" dt="2025-07-20T22:39:12.218" v="2970" actId="1035"/>
          <ac:spMkLst>
            <pc:docMk/>
            <pc:sldMk cId="1940821927" sldId="2147471724"/>
            <ac:spMk id="67" creationId="{78FB8CE8-38DB-459D-BF11-B92D768B46AA}"/>
          </ac:spMkLst>
        </pc:spChg>
        <pc:spChg chg="add mod">
          <ac:chgData name="John Paserba" userId="77bd6c8a-d0c1-4fea-8705-0169f65d0c0e" providerId="ADAL" clId="{A1C772D9-4FDD-4D7D-B3B4-103EC4264E41}" dt="2025-07-20T22:39:12.218" v="2970" actId="1035"/>
          <ac:spMkLst>
            <pc:docMk/>
            <pc:sldMk cId="1940821927" sldId="2147471724"/>
            <ac:spMk id="68" creationId="{461C6427-A9FB-4424-AA2F-D065068E3D74}"/>
          </ac:spMkLst>
        </pc:spChg>
        <pc:spChg chg="add mod">
          <ac:chgData name="John Paserba" userId="77bd6c8a-d0c1-4fea-8705-0169f65d0c0e" providerId="ADAL" clId="{A1C772D9-4FDD-4D7D-B3B4-103EC4264E41}" dt="2025-07-20T22:39:12.218" v="2970" actId="1035"/>
          <ac:spMkLst>
            <pc:docMk/>
            <pc:sldMk cId="1940821927" sldId="2147471724"/>
            <ac:spMk id="69" creationId="{5BFE10BC-B23C-4D9D-85B1-6CD030B106A8}"/>
          </ac:spMkLst>
        </pc:spChg>
        <pc:spChg chg="add mod">
          <ac:chgData name="John Paserba" userId="77bd6c8a-d0c1-4fea-8705-0169f65d0c0e" providerId="ADAL" clId="{A1C772D9-4FDD-4D7D-B3B4-103EC4264E41}" dt="2025-07-20T22:39:12.218" v="2970" actId="1035"/>
          <ac:spMkLst>
            <pc:docMk/>
            <pc:sldMk cId="1940821927" sldId="2147471724"/>
            <ac:spMk id="70" creationId="{253C029F-FCC0-4FFA-A5CE-D77054D2A06A}"/>
          </ac:spMkLst>
        </pc:spChg>
        <pc:spChg chg="add mod">
          <ac:chgData name="John Paserba" userId="77bd6c8a-d0c1-4fea-8705-0169f65d0c0e" providerId="ADAL" clId="{A1C772D9-4FDD-4D7D-B3B4-103EC4264E41}" dt="2025-07-20T22:39:12.218" v="2970" actId="1035"/>
          <ac:spMkLst>
            <pc:docMk/>
            <pc:sldMk cId="1940821927" sldId="2147471724"/>
            <ac:spMk id="71" creationId="{23ADBE15-B9E9-4784-9871-965E7B1E2DC6}"/>
          </ac:spMkLst>
        </pc:spChg>
        <pc:spChg chg="add mod">
          <ac:chgData name="John Paserba" userId="77bd6c8a-d0c1-4fea-8705-0169f65d0c0e" providerId="ADAL" clId="{A1C772D9-4FDD-4D7D-B3B4-103EC4264E41}" dt="2025-07-20T22:39:12.218" v="2970" actId="1035"/>
          <ac:spMkLst>
            <pc:docMk/>
            <pc:sldMk cId="1940821927" sldId="2147471724"/>
            <ac:spMk id="72" creationId="{CE135FD6-BCF3-4231-BA43-8B39F2245126}"/>
          </ac:spMkLst>
        </pc:spChg>
        <pc:spChg chg="add mod">
          <ac:chgData name="John Paserba" userId="77bd6c8a-d0c1-4fea-8705-0169f65d0c0e" providerId="ADAL" clId="{A1C772D9-4FDD-4D7D-B3B4-103EC4264E41}" dt="2025-07-20T22:39:12.218" v="2970" actId="1035"/>
          <ac:spMkLst>
            <pc:docMk/>
            <pc:sldMk cId="1940821927" sldId="2147471724"/>
            <ac:spMk id="73" creationId="{FF88F768-88DD-43BD-9158-59915162BA0D}"/>
          </ac:spMkLst>
        </pc:spChg>
        <pc:spChg chg="add mod">
          <ac:chgData name="John Paserba" userId="77bd6c8a-d0c1-4fea-8705-0169f65d0c0e" providerId="ADAL" clId="{A1C772D9-4FDD-4D7D-B3B4-103EC4264E41}" dt="2025-07-20T22:39:12.218" v="2970" actId="1035"/>
          <ac:spMkLst>
            <pc:docMk/>
            <pc:sldMk cId="1940821927" sldId="2147471724"/>
            <ac:spMk id="76" creationId="{02639684-0BD4-44BB-B2AA-601AEDFB5F07}"/>
          </ac:spMkLst>
        </pc:spChg>
        <pc:spChg chg="add mod">
          <ac:chgData name="John Paserba" userId="77bd6c8a-d0c1-4fea-8705-0169f65d0c0e" providerId="ADAL" clId="{A1C772D9-4FDD-4D7D-B3B4-103EC4264E41}" dt="2025-07-20T22:38:54.593" v="2939"/>
          <ac:spMkLst>
            <pc:docMk/>
            <pc:sldMk cId="1940821927" sldId="2147471724"/>
            <ac:spMk id="79" creationId="{ED353D6F-AB6C-4710-A6B2-3C2470C45F54}"/>
          </ac:spMkLst>
        </pc:spChg>
        <pc:spChg chg="add mod">
          <ac:chgData name="John Paserba" userId="77bd6c8a-d0c1-4fea-8705-0169f65d0c0e" providerId="ADAL" clId="{A1C772D9-4FDD-4D7D-B3B4-103EC4264E41}" dt="2025-07-20T22:39:25.550" v="2971" actId="1076"/>
          <ac:spMkLst>
            <pc:docMk/>
            <pc:sldMk cId="1940821927" sldId="2147471724"/>
            <ac:spMk id="80" creationId="{E7B572A6-6E52-4612-B9EE-8EE629BC932E}"/>
          </ac:spMkLst>
        </pc:spChg>
        <pc:spChg chg="add mod">
          <ac:chgData name="John Paserba" userId="77bd6c8a-d0c1-4fea-8705-0169f65d0c0e" providerId="ADAL" clId="{A1C772D9-4FDD-4D7D-B3B4-103EC4264E41}" dt="2025-07-20T22:39:12.218" v="2970" actId="1035"/>
          <ac:spMkLst>
            <pc:docMk/>
            <pc:sldMk cId="1940821927" sldId="2147471724"/>
            <ac:spMk id="81" creationId="{2C6F3831-B47B-4C65-9A5B-A10EE64D7268}"/>
          </ac:spMkLst>
        </pc:spChg>
        <pc:spChg chg="add mod">
          <ac:chgData name="John Paserba" userId="77bd6c8a-d0c1-4fea-8705-0169f65d0c0e" providerId="ADAL" clId="{A1C772D9-4FDD-4D7D-B3B4-103EC4264E41}" dt="2025-07-20T22:39:12.218" v="2970" actId="1035"/>
          <ac:spMkLst>
            <pc:docMk/>
            <pc:sldMk cId="1940821927" sldId="2147471724"/>
            <ac:spMk id="82" creationId="{C56FDBF2-D225-4086-974F-F9B6C20E61B9}"/>
          </ac:spMkLst>
        </pc:spChg>
        <pc:spChg chg="add mod">
          <ac:chgData name="John Paserba" userId="77bd6c8a-d0c1-4fea-8705-0169f65d0c0e" providerId="ADAL" clId="{A1C772D9-4FDD-4D7D-B3B4-103EC4264E41}" dt="2025-07-20T22:39:12.218" v="2970" actId="1035"/>
          <ac:spMkLst>
            <pc:docMk/>
            <pc:sldMk cId="1940821927" sldId="2147471724"/>
            <ac:spMk id="86" creationId="{D8A672C4-2AB3-451E-9547-28405FE2DEC3}"/>
          </ac:spMkLst>
        </pc:spChg>
        <pc:spChg chg="mod">
          <ac:chgData name="John Paserba" userId="77bd6c8a-d0c1-4fea-8705-0169f65d0c0e" providerId="ADAL" clId="{A1C772D9-4FDD-4D7D-B3B4-103EC4264E41}" dt="2025-07-20T22:39:42.274" v="2972"/>
          <ac:spMkLst>
            <pc:docMk/>
            <pc:sldMk cId="1940821927" sldId="2147471724"/>
            <ac:spMk id="3328002" creationId="{00000000-0000-0000-0000-000000000000}"/>
          </ac:spMkLst>
        </pc:spChg>
        <pc:cxnChg chg="add mod">
          <ac:chgData name="John Paserba" userId="77bd6c8a-d0c1-4fea-8705-0169f65d0c0e" providerId="ADAL" clId="{A1C772D9-4FDD-4D7D-B3B4-103EC4264E41}" dt="2025-07-20T22:39:12.218" v="2970" actId="1035"/>
          <ac:cxnSpMkLst>
            <pc:docMk/>
            <pc:sldMk cId="1940821927" sldId="2147471724"/>
            <ac:cxnSpMk id="17" creationId="{E5096F4E-0D5C-4E3E-9390-23521E84D3AB}"/>
          </ac:cxnSpMkLst>
        </pc:cxnChg>
        <pc:cxnChg chg="add mod">
          <ac:chgData name="John Paserba" userId="77bd6c8a-d0c1-4fea-8705-0169f65d0c0e" providerId="ADAL" clId="{A1C772D9-4FDD-4D7D-B3B4-103EC4264E41}" dt="2025-07-20T22:39:12.218" v="2970" actId="1035"/>
          <ac:cxnSpMkLst>
            <pc:docMk/>
            <pc:sldMk cId="1940821927" sldId="2147471724"/>
            <ac:cxnSpMk id="18" creationId="{722FF7FE-E672-4449-A665-81BBA3D76C6C}"/>
          </ac:cxnSpMkLst>
        </pc:cxnChg>
        <pc:cxnChg chg="add mod">
          <ac:chgData name="John Paserba" userId="77bd6c8a-d0c1-4fea-8705-0169f65d0c0e" providerId="ADAL" clId="{A1C772D9-4FDD-4D7D-B3B4-103EC4264E41}" dt="2025-07-20T22:39:12.218" v="2970" actId="1035"/>
          <ac:cxnSpMkLst>
            <pc:docMk/>
            <pc:sldMk cId="1940821927" sldId="2147471724"/>
            <ac:cxnSpMk id="19" creationId="{584BF826-453F-4BC2-AD2F-CE974A7176AF}"/>
          </ac:cxnSpMkLst>
        </pc:cxnChg>
        <pc:cxnChg chg="add mod">
          <ac:chgData name="John Paserba" userId="77bd6c8a-d0c1-4fea-8705-0169f65d0c0e" providerId="ADAL" clId="{A1C772D9-4FDD-4D7D-B3B4-103EC4264E41}" dt="2025-07-20T22:39:12.218" v="2970" actId="1035"/>
          <ac:cxnSpMkLst>
            <pc:docMk/>
            <pc:sldMk cId="1940821927" sldId="2147471724"/>
            <ac:cxnSpMk id="20" creationId="{1DDA4349-56B7-458A-919D-8BF2AC84E0BD}"/>
          </ac:cxnSpMkLst>
        </pc:cxnChg>
        <pc:cxnChg chg="add mod">
          <ac:chgData name="John Paserba" userId="77bd6c8a-d0c1-4fea-8705-0169f65d0c0e" providerId="ADAL" clId="{A1C772D9-4FDD-4D7D-B3B4-103EC4264E41}" dt="2025-07-20T22:39:12.218" v="2970" actId="1035"/>
          <ac:cxnSpMkLst>
            <pc:docMk/>
            <pc:sldMk cId="1940821927" sldId="2147471724"/>
            <ac:cxnSpMk id="21" creationId="{B068C3CD-9991-4BA4-8C9E-AEE151F4ABFF}"/>
          </ac:cxnSpMkLst>
        </pc:cxnChg>
        <pc:cxnChg chg="add mod">
          <ac:chgData name="John Paserba" userId="77bd6c8a-d0c1-4fea-8705-0169f65d0c0e" providerId="ADAL" clId="{A1C772D9-4FDD-4D7D-B3B4-103EC4264E41}" dt="2025-07-20T22:39:12.218" v="2970" actId="1035"/>
          <ac:cxnSpMkLst>
            <pc:docMk/>
            <pc:sldMk cId="1940821927" sldId="2147471724"/>
            <ac:cxnSpMk id="22" creationId="{3BB3BF54-BABC-4DA1-97A3-04C533F63093}"/>
          </ac:cxnSpMkLst>
        </pc:cxnChg>
        <pc:cxnChg chg="add mod">
          <ac:chgData name="John Paserba" userId="77bd6c8a-d0c1-4fea-8705-0169f65d0c0e" providerId="ADAL" clId="{A1C772D9-4FDD-4D7D-B3B4-103EC4264E41}" dt="2025-07-20T22:39:12.218" v="2970" actId="1035"/>
          <ac:cxnSpMkLst>
            <pc:docMk/>
            <pc:sldMk cId="1940821927" sldId="2147471724"/>
            <ac:cxnSpMk id="23" creationId="{4A807ADE-FA69-477D-B863-3E3D111BE362}"/>
          </ac:cxnSpMkLst>
        </pc:cxnChg>
        <pc:cxnChg chg="add mod">
          <ac:chgData name="John Paserba" userId="77bd6c8a-d0c1-4fea-8705-0169f65d0c0e" providerId="ADAL" clId="{A1C772D9-4FDD-4D7D-B3B4-103EC4264E41}" dt="2025-07-20T22:39:12.218" v="2970" actId="1035"/>
          <ac:cxnSpMkLst>
            <pc:docMk/>
            <pc:sldMk cId="1940821927" sldId="2147471724"/>
            <ac:cxnSpMk id="24" creationId="{D9A22034-FB11-499A-862F-8508CFC85F47}"/>
          </ac:cxnSpMkLst>
        </pc:cxnChg>
        <pc:cxnChg chg="add mod">
          <ac:chgData name="John Paserba" userId="77bd6c8a-d0c1-4fea-8705-0169f65d0c0e" providerId="ADAL" clId="{A1C772D9-4FDD-4D7D-B3B4-103EC4264E41}" dt="2025-07-20T22:39:12.218" v="2970" actId="1035"/>
          <ac:cxnSpMkLst>
            <pc:docMk/>
            <pc:sldMk cId="1940821927" sldId="2147471724"/>
            <ac:cxnSpMk id="25" creationId="{D4B340A4-EAEA-497C-A85F-08518BCEC85F}"/>
          </ac:cxnSpMkLst>
        </pc:cxnChg>
        <pc:cxnChg chg="add mod">
          <ac:chgData name="John Paserba" userId="77bd6c8a-d0c1-4fea-8705-0169f65d0c0e" providerId="ADAL" clId="{A1C772D9-4FDD-4D7D-B3B4-103EC4264E41}" dt="2025-07-20T22:39:12.218" v="2970" actId="1035"/>
          <ac:cxnSpMkLst>
            <pc:docMk/>
            <pc:sldMk cId="1940821927" sldId="2147471724"/>
            <ac:cxnSpMk id="26" creationId="{D16EA55D-B62F-4F3D-873C-1944B6ADA677}"/>
          </ac:cxnSpMkLst>
        </pc:cxnChg>
        <pc:cxnChg chg="add mod">
          <ac:chgData name="John Paserba" userId="77bd6c8a-d0c1-4fea-8705-0169f65d0c0e" providerId="ADAL" clId="{A1C772D9-4FDD-4D7D-B3B4-103EC4264E41}" dt="2025-07-20T22:39:12.218" v="2970" actId="1035"/>
          <ac:cxnSpMkLst>
            <pc:docMk/>
            <pc:sldMk cId="1940821927" sldId="2147471724"/>
            <ac:cxnSpMk id="31" creationId="{062F5420-4643-4E37-8F1A-8D641E1D526F}"/>
          </ac:cxnSpMkLst>
        </pc:cxnChg>
        <pc:cxnChg chg="add mod">
          <ac:chgData name="John Paserba" userId="77bd6c8a-d0c1-4fea-8705-0169f65d0c0e" providerId="ADAL" clId="{A1C772D9-4FDD-4D7D-B3B4-103EC4264E41}" dt="2025-07-20T22:39:12.218" v="2970" actId="1035"/>
          <ac:cxnSpMkLst>
            <pc:docMk/>
            <pc:sldMk cId="1940821927" sldId="2147471724"/>
            <ac:cxnSpMk id="32" creationId="{ABCDB921-F3A1-4855-AB75-7BC8F2C925E0}"/>
          </ac:cxnSpMkLst>
        </pc:cxnChg>
        <pc:cxnChg chg="add mod">
          <ac:chgData name="John Paserba" userId="77bd6c8a-d0c1-4fea-8705-0169f65d0c0e" providerId="ADAL" clId="{A1C772D9-4FDD-4D7D-B3B4-103EC4264E41}" dt="2025-07-20T22:39:12.218" v="2970" actId="1035"/>
          <ac:cxnSpMkLst>
            <pc:docMk/>
            <pc:sldMk cId="1940821927" sldId="2147471724"/>
            <ac:cxnSpMk id="33" creationId="{1AD9AF80-1B85-4F5A-8E3C-0DD4B92981F0}"/>
          </ac:cxnSpMkLst>
        </pc:cxnChg>
        <pc:cxnChg chg="add mod">
          <ac:chgData name="John Paserba" userId="77bd6c8a-d0c1-4fea-8705-0169f65d0c0e" providerId="ADAL" clId="{A1C772D9-4FDD-4D7D-B3B4-103EC4264E41}" dt="2025-07-20T22:39:12.218" v="2970" actId="1035"/>
          <ac:cxnSpMkLst>
            <pc:docMk/>
            <pc:sldMk cId="1940821927" sldId="2147471724"/>
            <ac:cxnSpMk id="34" creationId="{7980BD45-D1E8-42E7-A2A9-D5BCEE8D2248}"/>
          </ac:cxnSpMkLst>
        </pc:cxnChg>
        <pc:cxnChg chg="add mod">
          <ac:chgData name="John Paserba" userId="77bd6c8a-d0c1-4fea-8705-0169f65d0c0e" providerId="ADAL" clId="{A1C772D9-4FDD-4D7D-B3B4-103EC4264E41}" dt="2025-07-20T22:39:12.218" v="2970" actId="1035"/>
          <ac:cxnSpMkLst>
            <pc:docMk/>
            <pc:sldMk cId="1940821927" sldId="2147471724"/>
            <ac:cxnSpMk id="39" creationId="{1F886B6D-403D-472C-8887-D8975C1CFAF3}"/>
          </ac:cxnSpMkLst>
        </pc:cxnChg>
        <pc:cxnChg chg="add mod">
          <ac:chgData name="John Paserba" userId="77bd6c8a-d0c1-4fea-8705-0169f65d0c0e" providerId="ADAL" clId="{A1C772D9-4FDD-4D7D-B3B4-103EC4264E41}" dt="2025-07-20T22:39:12.218" v="2970" actId="1035"/>
          <ac:cxnSpMkLst>
            <pc:docMk/>
            <pc:sldMk cId="1940821927" sldId="2147471724"/>
            <ac:cxnSpMk id="40" creationId="{83086DA9-56D3-4F1F-B4CD-76C5F9A6B387}"/>
          </ac:cxnSpMkLst>
        </pc:cxnChg>
        <pc:cxnChg chg="add mod">
          <ac:chgData name="John Paserba" userId="77bd6c8a-d0c1-4fea-8705-0169f65d0c0e" providerId="ADAL" clId="{A1C772D9-4FDD-4D7D-B3B4-103EC4264E41}" dt="2025-07-20T22:39:12.218" v="2970" actId="1035"/>
          <ac:cxnSpMkLst>
            <pc:docMk/>
            <pc:sldMk cId="1940821927" sldId="2147471724"/>
            <ac:cxnSpMk id="41" creationId="{0FDA115B-0598-480B-B3EC-D9B807730BEE}"/>
          </ac:cxnSpMkLst>
        </pc:cxnChg>
        <pc:cxnChg chg="add mod">
          <ac:chgData name="John Paserba" userId="77bd6c8a-d0c1-4fea-8705-0169f65d0c0e" providerId="ADAL" clId="{A1C772D9-4FDD-4D7D-B3B4-103EC4264E41}" dt="2025-07-20T22:39:12.218" v="2970" actId="1035"/>
          <ac:cxnSpMkLst>
            <pc:docMk/>
            <pc:sldMk cId="1940821927" sldId="2147471724"/>
            <ac:cxnSpMk id="42" creationId="{61E0F138-F673-431A-83C5-168C1CE8F460}"/>
          </ac:cxnSpMkLst>
        </pc:cxnChg>
        <pc:cxnChg chg="add mod">
          <ac:chgData name="John Paserba" userId="77bd6c8a-d0c1-4fea-8705-0169f65d0c0e" providerId="ADAL" clId="{A1C772D9-4FDD-4D7D-B3B4-103EC4264E41}" dt="2025-07-20T22:39:12.218" v="2970" actId="1035"/>
          <ac:cxnSpMkLst>
            <pc:docMk/>
            <pc:sldMk cId="1940821927" sldId="2147471724"/>
            <ac:cxnSpMk id="43" creationId="{070667D3-52FB-413A-AC41-BBBA69A7AB5A}"/>
          </ac:cxnSpMkLst>
        </pc:cxnChg>
        <pc:cxnChg chg="add mod">
          <ac:chgData name="John Paserba" userId="77bd6c8a-d0c1-4fea-8705-0169f65d0c0e" providerId="ADAL" clId="{A1C772D9-4FDD-4D7D-B3B4-103EC4264E41}" dt="2025-07-20T22:39:12.218" v="2970" actId="1035"/>
          <ac:cxnSpMkLst>
            <pc:docMk/>
            <pc:sldMk cId="1940821927" sldId="2147471724"/>
            <ac:cxnSpMk id="44" creationId="{A27E592D-3361-467B-BC76-B3CED41A57D3}"/>
          </ac:cxnSpMkLst>
        </pc:cxnChg>
        <pc:cxnChg chg="add mod">
          <ac:chgData name="John Paserba" userId="77bd6c8a-d0c1-4fea-8705-0169f65d0c0e" providerId="ADAL" clId="{A1C772D9-4FDD-4D7D-B3B4-103EC4264E41}" dt="2025-07-20T22:39:12.218" v="2970" actId="1035"/>
          <ac:cxnSpMkLst>
            <pc:docMk/>
            <pc:sldMk cId="1940821927" sldId="2147471724"/>
            <ac:cxnSpMk id="45" creationId="{6D9CE00D-944F-4EE0-8E31-E5DE634319BF}"/>
          </ac:cxnSpMkLst>
        </pc:cxnChg>
        <pc:cxnChg chg="add mod">
          <ac:chgData name="John Paserba" userId="77bd6c8a-d0c1-4fea-8705-0169f65d0c0e" providerId="ADAL" clId="{A1C772D9-4FDD-4D7D-B3B4-103EC4264E41}" dt="2025-07-20T22:39:12.218" v="2970" actId="1035"/>
          <ac:cxnSpMkLst>
            <pc:docMk/>
            <pc:sldMk cId="1940821927" sldId="2147471724"/>
            <ac:cxnSpMk id="46" creationId="{6B051929-BA40-47A8-B878-D3A9DB02F6A8}"/>
          </ac:cxnSpMkLst>
        </pc:cxnChg>
        <pc:cxnChg chg="add mod">
          <ac:chgData name="John Paserba" userId="77bd6c8a-d0c1-4fea-8705-0169f65d0c0e" providerId="ADAL" clId="{A1C772D9-4FDD-4D7D-B3B4-103EC4264E41}" dt="2025-07-20T22:39:12.218" v="2970" actId="1035"/>
          <ac:cxnSpMkLst>
            <pc:docMk/>
            <pc:sldMk cId="1940821927" sldId="2147471724"/>
            <ac:cxnSpMk id="47" creationId="{66DB920D-5D9C-46F0-A498-CCA7870E957E}"/>
          </ac:cxnSpMkLst>
        </pc:cxnChg>
        <pc:cxnChg chg="add mod">
          <ac:chgData name="John Paserba" userId="77bd6c8a-d0c1-4fea-8705-0169f65d0c0e" providerId="ADAL" clId="{A1C772D9-4FDD-4D7D-B3B4-103EC4264E41}" dt="2025-07-20T22:39:12.218" v="2970" actId="1035"/>
          <ac:cxnSpMkLst>
            <pc:docMk/>
            <pc:sldMk cId="1940821927" sldId="2147471724"/>
            <ac:cxnSpMk id="48" creationId="{928450A0-B585-48B0-8E6E-536FD123AAE2}"/>
          </ac:cxnSpMkLst>
        </pc:cxnChg>
        <pc:cxnChg chg="add mod">
          <ac:chgData name="John Paserba" userId="77bd6c8a-d0c1-4fea-8705-0169f65d0c0e" providerId="ADAL" clId="{A1C772D9-4FDD-4D7D-B3B4-103EC4264E41}" dt="2025-07-20T22:39:12.218" v="2970" actId="1035"/>
          <ac:cxnSpMkLst>
            <pc:docMk/>
            <pc:sldMk cId="1940821927" sldId="2147471724"/>
            <ac:cxnSpMk id="57" creationId="{CD84805D-E96B-4197-B62C-1D615FB050F3}"/>
          </ac:cxnSpMkLst>
        </pc:cxnChg>
        <pc:cxnChg chg="add mod">
          <ac:chgData name="John Paserba" userId="77bd6c8a-d0c1-4fea-8705-0169f65d0c0e" providerId="ADAL" clId="{A1C772D9-4FDD-4D7D-B3B4-103EC4264E41}" dt="2025-07-20T22:39:12.218" v="2970" actId="1035"/>
          <ac:cxnSpMkLst>
            <pc:docMk/>
            <pc:sldMk cId="1940821927" sldId="2147471724"/>
            <ac:cxnSpMk id="58" creationId="{97CCD7D0-B4DC-4691-AC42-4DD7F8DDE955}"/>
          </ac:cxnSpMkLst>
        </pc:cxnChg>
        <pc:cxnChg chg="add mod">
          <ac:chgData name="John Paserba" userId="77bd6c8a-d0c1-4fea-8705-0169f65d0c0e" providerId="ADAL" clId="{A1C772D9-4FDD-4D7D-B3B4-103EC4264E41}" dt="2025-07-20T22:39:12.218" v="2970" actId="1035"/>
          <ac:cxnSpMkLst>
            <pc:docMk/>
            <pc:sldMk cId="1940821927" sldId="2147471724"/>
            <ac:cxnSpMk id="59" creationId="{A58AD80C-C5EB-4CA9-ACE5-9F1707B330D1}"/>
          </ac:cxnSpMkLst>
        </pc:cxnChg>
        <pc:cxnChg chg="add mod">
          <ac:chgData name="John Paserba" userId="77bd6c8a-d0c1-4fea-8705-0169f65d0c0e" providerId="ADAL" clId="{A1C772D9-4FDD-4D7D-B3B4-103EC4264E41}" dt="2025-07-20T22:39:12.218" v="2970" actId="1035"/>
          <ac:cxnSpMkLst>
            <pc:docMk/>
            <pc:sldMk cId="1940821927" sldId="2147471724"/>
            <ac:cxnSpMk id="62" creationId="{C20B6B2D-0CDC-47B5-ABA1-718FF5DBB513}"/>
          </ac:cxnSpMkLst>
        </pc:cxnChg>
        <pc:cxnChg chg="add mod">
          <ac:chgData name="John Paserba" userId="77bd6c8a-d0c1-4fea-8705-0169f65d0c0e" providerId="ADAL" clId="{A1C772D9-4FDD-4D7D-B3B4-103EC4264E41}" dt="2025-07-20T22:39:12.218" v="2970" actId="1035"/>
          <ac:cxnSpMkLst>
            <pc:docMk/>
            <pc:sldMk cId="1940821927" sldId="2147471724"/>
            <ac:cxnSpMk id="64" creationId="{DBDDE323-A373-4E18-A68E-CDCB77BC81A3}"/>
          </ac:cxnSpMkLst>
        </pc:cxnChg>
        <pc:cxnChg chg="add mod">
          <ac:chgData name="John Paserba" userId="77bd6c8a-d0c1-4fea-8705-0169f65d0c0e" providerId="ADAL" clId="{A1C772D9-4FDD-4D7D-B3B4-103EC4264E41}" dt="2025-07-20T22:39:12.218" v="2970" actId="1035"/>
          <ac:cxnSpMkLst>
            <pc:docMk/>
            <pc:sldMk cId="1940821927" sldId="2147471724"/>
            <ac:cxnSpMk id="66" creationId="{501ED4EC-D976-4D62-9314-78E03CFC3DC4}"/>
          </ac:cxnSpMkLst>
        </pc:cxnChg>
        <pc:cxnChg chg="add mod">
          <ac:chgData name="John Paserba" userId="77bd6c8a-d0c1-4fea-8705-0169f65d0c0e" providerId="ADAL" clId="{A1C772D9-4FDD-4D7D-B3B4-103EC4264E41}" dt="2025-07-20T22:39:12.218" v="2970" actId="1035"/>
          <ac:cxnSpMkLst>
            <pc:docMk/>
            <pc:sldMk cId="1940821927" sldId="2147471724"/>
            <ac:cxnSpMk id="74" creationId="{5A7C263B-E0EE-420F-AE40-8788CB1C0732}"/>
          </ac:cxnSpMkLst>
        </pc:cxnChg>
        <pc:cxnChg chg="add mod">
          <ac:chgData name="John Paserba" userId="77bd6c8a-d0c1-4fea-8705-0169f65d0c0e" providerId="ADAL" clId="{A1C772D9-4FDD-4D7D-B3B4-103EC4264E41}" dt="2025-07-20T22:39:12.218" v="2970" actId="1035"/>
          <ac:cxnSpMkLst>
            <pc:docMk/>
            <pc:sldMk cId="1940821927" sldId="2147471724"/>
            <ac:cxnSpMk id="75" creationId="{72701D6B-554B-483E-8859-C075FE3ACEA3}"/>
          </ac:cxnSpMkLst>
        </pc:cxnChg>
        <pc:cxnChg chg="add mod">
          <ac:chgData name="John Paserba" userId="77bd6c8a-d0c1-4fea-8705-0169f65d0c0e" providerId="ADAL" clId="{A1C772D9-4FDD-4D7D-B3B4-103EC4264E41}" dt="2025-07-20T22:39:12.218" v="2970" actId="1035"/>
          <ac:cxnSpMkLst>
            <pc:docMk/>
            <pc:sldMk cId="1940821927" sldId="2147471724"/>
            <ac:cxnSpMk id="77" creationId="{187AB8E1-6B3D-4E9C-884F-5F41D8A778FB}"/>
          </ac:cxnSpMkLst>
        </pc:cxnChg>
        <pc:cxnChg chg="add mod">
          <ac:chgData name="John Paserba" userId="77bd6c8a-d0c1-4fea-8705-0169f65d0c0e" providerId="ADAL" clId="{A1C772D9-4FDD-4D7D-B3B4-103EC4264E41}" dt="2025-07-20T22:39:12.218" v="2970" actId="1035"/>
          <ac:cxnSpMkLst>
            <pc:docMk/>
            <pc:sldMk cId="1940821927" sldId="2147471724"/>
            <ac:cxnSpMk id="78" creationId="{788D8F3C-3830-4A86-A606-C4FF18A952D5}"/>
          </ac:cxnSpMkLst>
        </pc:cxnChg>
        <pc:cxnChg chg="add mod">
          <ac:chgData name="John Paserba" userId="77bd6c8a-d0c1-4fea-8705-0169f65d0c0e" providerId="ADAL" clId="{A1C772D9-4FDD-4D7D-B3B4-103EC4264E41}" dt="2025-07-20T22:39:12.218" v="2970" actId="1035"/>
          <ac:cxnSpMkLst>
            <pc:docMk/>
            <pc:sldMk cId="1940821927" sldId="2147471724"/>
            <ac:cxnSpMk id="83" creationId="{FC7A921F-72A0-416B-BE55-E80E3F0B0EA7}"/>
          </ac:cxnSpMkLst>
        </pc:cxnChg>
        <pc:cxnChg chg="add mod">
          <ac:chgData name="John Paserba" userId="77bd6c8a-d0c1-4fea-8705-0169f65d0c0e" providerId="ADAL" clId="{A1C772D9-4FDD-4D7D-B3B4-103EC4264E41}" dt="2025-07-20T22:39:12.218" v="2970" actId="1035"/>
          <ac:cxnSpMkLst>
            <pc:docMk/>
            <pc:sldMk cId="1940821927" sldId="2147471724"/>
            <ac:cxnSpMk id="84" creationId="{BF43704B-E695-4931-BAD8-4B59B22D6F32}"/>
          </ac:cxnSpMkLst>
        </pc:cxnChg>
        <pc:cxnChg chg="add mod">
          <ac:chgData name="John Paserba" userId="77bd6c8a-d0c1-4fea-8705-0169f65d0c0e" providerId="ADAL" clId="{A1C772D9-4FDD-4D7D-B3B4-103EC4264E41}" dt="2025-07-20T22:39:12.218" v="2970" actId="1035"/>
          <ac:cxnSpMkLst>
            <pc:docMk/>
            <pc:sldMk cId="1940821927" sldId="2147471724"/>
            <ac:cxnSpMk id="85" creationId="{019D0DBA-17AC-485C-B968-2C282F4BEA84}"/>
          </ac:cxnSpMkLst>
        </pc:cxnChg>
        <pc:cxnChg chg="add mod">
          <ac:chgData name="John Paserba" userId="77bd6c8a-d0c1-4fea-8705-0169f65d0c0e" providerId="ADAL" clId="{A1C772D9-4FDD-4D7D-B3B4-103EC4264E41}" dt="2025-07-20T22:39:12.218" v="2970" actId="1035"/>
          <ac:cxnSpMkLst>
            <pc:docMk/>
            <pc:sldMk cId="1940821927" sldId="2147471724"/>
            <ac:cxnSpMk id="87" creationId="{1C5B6E97-6B95-47DA-B63F-B38CD048D14F}"/>
          </ac:cxnSpMkLst>
        </pc:cxnChg>
      </pc:sldChg>
    </pc:docChg>
  </pc:docChgLst>
  <pc:docChgLst>
    <pc:chgData name="John Paserba" userId="77bd6c8a-d0c1-4fea-8705-0169f65d0c0e" providerId="ADAL" clId="{C6420D40-AA9B-4302-8FA9-FAB2466E064A}"/>
    <pc:docChg chg="undo custSel addSld delSld modSld sldOrd">
      <pc:chgData name="John Paserba" userId="77bd6c8a-d0c1-4fea-8705-0169f65d0c0e" providerId="ADAL" clId="{C6420D40-AA9B-4302-8FA9-FAB2466E064A}" dt="2025-07-25T05:33:02.240" v="2416" actId="478"/>
      <pc:docMkLst>
        <pc:docMk/>
      </pc:docMkLst>
      <pc:sldChg chg="addSp delSp modSp mod">
        <pc:chgData name="John Paserba" userId="77bd6c8a-d0c1-4fea-8705-0169f65d0c0e" providerId="ADAL" clId="{C6420D40-AA9B-4302-8FA9-FAB2466E064A}" dt="2025-07-25T03:32:08.387" v="120" actId="1076"/>
        <pc:sldMkLst>
          <pc:docMk/>
          <pc:sldMk cId="3260108025" sldId="2147471143"/>
        </pc:sldMkLst>
        <pc:spChg chg="del">
          <ac:chgData name="John Paserba" userId="77bd6c8a-d0c1-4fea-8705-0169f65d0c0e" providerId="ADAL" clId="{C6420D40-AA9B-4302-8FA9-FAB2466E064A}" dt="2025-07-25T02:25:31.778" v="0" actId="478"/>
          <ac:spMkLst>
            <pc:docMk/>
            <pc:sldMk cId="3260108025" sldId="2147471143"/>
            <ac:spMk id="2" creationId="{A4B4D972-7AC4-441C-9847-01CEA9E73027}"/>
          </ac:spMkLst>
        </pc:spChg>
        <pc:spChg chg="add mod">
          <ac:chgData name="John Paserba" userId="77bd6c8a-d0c1-4fea-8705-0169f65d0c0e" providerId="ADAL" clId="{C6420D40-AA9B-4302-8FA9-FAB2466E064A}" dt="2025-07-25T03:05:02.363" v="27" actId="1076"/>
          <ac:spMkLst>
            <pc:docMk/>
            <pc:sldMk cId="3260108025" sldId="2147471143"/>
            <ac:spMk id="11" creationId="{43439369-42A5-40AC-9BC0-8D4FC1D85C0A}"/>
          </ac:spMkLst>
        </pc:spChg>
        <pc:spChg chg="mod">
          <ac:chgData name="John Paserba" userId="77bd6c8a-d0c1-4fea-8705-0169f65d0c0e" providerId="ADAL" clId="{C6420D40-AA9B-4302-8FA9-FAB2466E064A}" dt="2025-07-25T03:04:41.186" v="14" actId="20577"/>
          <ac:spMkLst>
            <pc:docMk/>
            <pc:sldMk cId="3260108025" sldId="2147471143"/>
            <ac:spMk id="12" creationId="{F45E667D-D9ED-4BE1-999E-2A4766484A8F}"/>
          </ac:spMkLst>
        </pc:spChg>
        <pc:spChg chg="mod">
          <ac:chgData name="John Paserba" userId="77bd6c8a-d0c1-4fea-8705-0169f65d0c0e" providerId="ADAL" clId="{C6420D40-AA9B-4302-8FA9-FAB2466E064A}" dt="2025-07-25T03:32:08.387" v="120" actId="1076"/>
          <ac:spMkLst>
            <pc:docMk/>
            <pc:sldMk cId="3260108025" sldId="2147471143"/>
            <ac:spMk id="43" creationId="{ED1898D7-B64C-C5FA-7660-FD1B62F07C3E}"/>
          </ac:spMkLst>
        </pc:spChg>
      </pc:sldChg>
      <pc:sldChg chg="modSp mod">
        <pc:chgData name="John Paserba" userId="77bd6c8a-d0c1-4fea-8705-0169f65d0c0e" providerId="ADAL" clId="{C6420D40-AA9B-4302-8FA9-FAB2466E064A}" dt="2025-07-25T05:31:18.043" v="2404" actId="20577"/>
        <pc:sldMkLst>
          <pc:docMk/>
          <pc:sldMk cId="227166264" sldId="2147471327"/>
        </pc:sldMkLst>
        <pc:spChg chg="mod">
          <ac:chgData name="John Paserba" userId="77bd6c8a-d0c1-4fea-8705-0169f65d0c0e" providerId="ADAL" clId="{C6420D40-AA9B-4302-8FA9-FAB2466E064A}" dt="2025-07-25T05:31:18.043" v="2404" actId="20577"/>
          <ac:spMkLst>
            <pc:docMk/>
            <pc:sldMk cId="227166264" sldId="2147471327"/>
            <ac:spMk id="7" creationId="{7BACED1F-255B-31CF-1B3A-CFEC4680348D}"/>
          </ac:spMkLst>
        </pc:spChg>
      </pc:sldChg>
      <pc:sldChg chg="modSp mod">
        <pc:chgData name="John Paserba" userId="77bd6c8a-d0c1-4fea-8705-0169f65d0c0e" providerId="ADAL" clId="{C6420D40-AA9B-4302-8FA9-FAB2466E064A}" dt="2025-07-25T03:05:26.508" v="36" actId="20577"/>
        <pc:sldMkLst>
          <pc:docMk/>
          <pc:sldMk cId="4140170611" sldId="2147471425"/>
        </pc:sldMkLst>
        <pc:spChg chg="mod">
          <ac:chgData name="John Paserba" userId="77bd6c8a-d0c1-4fea-8705-0169f65d0c0e" providerId="ADAL" clId="{C6420D40-AA9B-4302-8FA9-FAB2466E064A}" dt="2025-07-25T03:05:26.508" v="36" actId="20577"/>
          <ac:spMkLst>
            <pc:docMk/>
            <pc:sldMk cId="4140170611" sldId="2147471425"/>
            <ac:spMk id="3" creationId="{E6993746-A424-4F09-867F-B919F4E18ECB}"/>
          </ac:spMkLst>
        </pc:spChg>
      </pc:sldChg>
      <pc:sldChg chg="modSp mod">
        <pc:chgData name="John Paserba" userId="77bd6c8a-d0c1-4fea-8705-0169f65d0c0e" providerId="ADAL" clId="{C6420D40-AA9B-4302-8FA9-FAB2466E064A}" dt="2025-07-25T03:06:00.256" v="45" actId="6549"/>
        <pc:sldMkLst>
          <pc:docMk/>
          <pc:sldMk cId="1427769353" sldId="2147471426"/>
        </pc:sldMkLst>
        <pc:spChg chg="mod">
          <ac:chgData name="John Paserba" userId="77bd6c8a-d0c1-4fea-8705-0169f65d0c0e" providerId="ADAL" clId="{C6420D40-AA9B-4302-8FA9-FAB2466E064A}" dt="2025-07-25T03:06:00.256" v="45" actId="6549"/>
          <ac:spMkLst>
            <pc:docMk/>
            <pc:sldMk cId="1427769353" sldId="2147471426"/>
            <ac:spMk id="12" creationId="{F45E667D-D9ED-4BE1-999E-2A4766484A8F}"/>
          </ac:spMkLst>
        </pc:spChg>
      </pc:sldChg>
      <pc:sldChg chg="ord">
        <pc:chgData name="John Paserba" userId="77bd6c8a-d0c1-4fea-8705-0169f65d0c0e" providerId="ADAL" clId="{C6420D40-AA9B-4302-8FA9-FAB2466E064A}" dt="2025-07-25T05:32:11.694" v="2406"/>
        <pc:sldMkLst>
          <pc:docMk/>
          <pc:sldMk cId="17225138" sldId="2147471503"/>
        </pc:sldMkLst>
      </pc:sldChg>
      <pc:sldChg chg="addSp delSp modSp mod">
        <pc:chgData name="John Paserba" userId="77bd6c8a-d0c1-4fea-8705-0169f65d0c0e" providerId="ADAL" clId="{C6420D40-AA9B-4302-8FA9-FAB2466E064A}" dt="2025-07-25T05:00:02.555" v="1954"/>
        <pc:sldMkLst>
          <pc:docMk/>
          <pc:sldMk cId="2231163395" sldId="2147471510"/>
        </pc:sldMkLst>
        <pc:spChg chg="del">
          <ac:chgData name="John Paserba" userId="77bd6c8a-d0c1-4fea-8705-0169f65d0c0e" providerId="ADAL" clId="{C6420D40-AA9B-4302-8FA9-FAB2466E064A}" dt="2025-07-25T05:00:01.697" v="1953" actId="478"/>
          <ac:spMkLst>
            <pc:docMk/>
            <pc:sldMk cId="2231163395" sldId="2147471510"/>
            <ac:spMk id="6" creationId="{B288B8A9-2F5C-4171-A803-AE3EDEAA9B5B}"/>
          </ac:spMkLst>
        </pc:spChg>
        <pc:spChg chg="add mod">
          <ac:chgData name="John Paserba" userId="77bd6c8a-d0c1-4fea-8705-0169f65d0c0e" providerId="ADAL" clId="{C6420D40-AA9B-4302-8FA9-FAB2466E064A}" dt="2025-07-25T05:00:02.555" v="1954"/>
          <ac:spMkLst>
            <pc:docMk/>
            <pc:sldMk cId="2231163395" sldId="2147471510"/>
            <ac:spMk id="7" creationId="{D0325424-36E6-4D67-BF18-5042B0834863}"/>
          </ac:spMkLst>
        </pc:spChg>
      </pc:sldChg>
      <pc:sldChg chg="addSp delSp modSp mod">
        <pc:chgData name="John Paserba" userId="77bd6c8a-d0c1-4fea-8705-0169f65d0c0e" providerId="ADAL" clId="{C6420D40-AA9B-4302-8FA9-FAB2466E064A}" dt="2025-07-25T05:00:11.061" v="1956"/>
        <pc:sldMkLst>
          <pc:docMk/>
          <pc:sldMk cId="3003417310" sldId="2147471511"/>
        </pc:sldMkLst>
        <pc:spChg chg="del">
          <ac:chgData name="John Paserba" userId="77bd6c8a-d0c1-4fea-8705-0169f65d0c0e" providerId="ADAL" clId="{C6420D40-AA9B-4302-8FA9-FAB2466E064A}" dt="2025-07-25T05:00:10.559" v="1955" actId="478"/>
          <ac:spMkLst>
            <pc:docMk/>
            <pc:sldMk cId="3003417310" sldId="2147471511"/>
            <ac:spMk id="6" creationId="{71B772E5-8566-48E0-8CC0-3CFD0D551138}"/>
          </ac:spMkLst>
        </pc:spChg>
        <pc:spChg chg="add mod">
          <ac:chgData name="John Paserba" userId="77bd6c8a-d0c1-4fea-8705-0169f65d0c0e" providerId="ADAL" clId="{C6420D40-AA9B-4302-8FA9-FAB2466E064A}" dt="2025-07-25T05:00:11.061" v="1956"/>
          <ac:spMkLst>
            <pc:docMk/>
            <pc:sldMk cId="3003417310" sldId="2147471511"/>
            <ac:spMk id="7" creationId="{E115C202-91A4-4F1C-A8B0-19FB4222A429}"/>
          </ac:spMkLst>
        </pc:spChg>
      </pc:sldChg>
      <pc:sldChg chg="addSp delSp modSp mod">
        <pc:chgData name="John Paserba" userId="77bd6c8a-d0c1-4fea-8705-0169f65d0c0e" providerId="ADAL" clId="{C6420D40-AA9B-4302-8FA9-FAB2466E064A}" dt="2025-07-25T05:00:18.923" v="1960" actId="478"/>
        <pc:sldMkLst>
          <pc:docMk/>
          <pc:sldMk cId="3820929825" sldId="2147471516"/>
        </pc:sldMkLst>
        <pc:spChg chg="del">
          <ac:chgData name="John Paserba" userId="77bd6c8a-d0c1-4fea-8705-0169f65d0c0e" providerId="ADAL" clId="{C6420D40-AA9B-4302-8FA9-FAB2466E064A}" dt="2025-07-25T05:00:14.923" v="1957" actId="478"/>
          <ac:spMkLst>
            <pc:docMk/>
            <pc:sldMk cId="3820929825" sldId="2147471516"/>
            <ac:spMk id="7" creationId="{621EDE98-7A2A-4AEA-9001-F6B0C236EF0F}"/>
          </ac:spMkLst>
        </pc:spChg>
        <pc:spChg chg="add del mod">
          <ac:chgData name="John Paserba" userId="77bd6c8a-d0c1-4fea-8705-0169f65d0c0e" providerId="ADAL" clId="{C6420D40-AA9B-4302-8FA9-FAB2466E064A}" dt="2025-07-25T05:00:18.923" v="1960" actId="478"/>
          <ac:spMkLst>
            <pc:docMk/>
            <pc:sldMk cId="3820929825" sldId="2147471516"/>
            <ac:spMk id="8" creationId="{5296B1A7-01C9-4A8B-83FC-EC464FAE598E}"/>
          </ac:spMkLst>
        </pc:spChg>
      </pc:sldChg>
      <pc:sldChg chg="addSp delSp modSp mod">
        <pc:chgData name="John Paserba" userId="77bd6c8a-d0c1-4fea-8705-0169f65d0c0e" providerId="ADAL" clId="{C6420D40-AA9B-4302-8FA9-FAB2466E064A}" dt="2025-07-25T05:00:22.875" v="1962"/>
        <pc:sldMkLst>
          <pc:docMk/>
          <pc:sldMk cId="1134693933" sldId="2147471517"/>
        </pc:sldMkLst>
        <pc:spChg chg="del">
          <ac:chgData name="John Paserba" userId="77bd6c8a-d0c1-4fea-8705-0169f65d0c0e" providerId="ADAL" clId="{C6420D40-AA9B-4302-8FA9-FAB2466E064A}" dt="2025-07-25T05:00:22.512" v="1961" actId="478"/>
          <ac:spMkLst>
            <pc:docMk/>
            <pc:sldMk cId="1134693933" sldId="2147471517"/>
            <ac:spMk id="6" creationId="{16200A64-364F-4D46-8DC5-4D379117DBD6}"/>
          </ac:spMkLst>
        </pc:spChg>
        <pc:spChg chg="add mod">
          <ac:chgData name="John Paserba" userId="77bd6c8a-d0c1-4fea-8705-0169f65d0c0e" providerId="ADAL" clId="{C6420D40-AA9B-4302-8FA9-FAB2466E064A}" dt="2025-07-25T05:00:22.875" v="1962"/>
          <ac:spMkLst>
            <pc:docMk/>
            <pc:sldMk cId="1134693933" sldId="2147471517"/>
            <ac:spMk id="7" creationId="{B9F24899-C83C-42C3-8D49-66F9E7A4BF5E}"/>
          </ac:spMkLst>
        </pc:spChg>
      </pc:sldChg>
      <pc:sldChg chg="del">
        <pc:chgData name="John Paserba" userId="77bd6c8a-d0c1-4fea-8705-0169f65d0c0e" providerId="ADAL" clId="{C6420D40-AA9B-4302-8FA9-FAB2466E064A}" dt="2025-07-25T03:18:54.779" v="119" actId="47"/>
        <pc:sldMkLst>
          <pc:docMk/>
          <pc:sldMk cId="2601545666" sldId="2147471538"/>
        </pc:sldMkLst>
      </pc:sldChg>
      <pc:sldChg chg="modSp mod">
        <pc:chgData name="John Paserba" userId="77bd6c8a-d0c1-4fea-8705-0169f65d0c0e" providerId="ADAL" clId="{C6420D40-AA9B-4302-8FA9-FAB2466E064A}" dt="2025-07-25T05:22:56.782" v="2379" actId="113"/>
        <pc:sldMkLst>
          <pc:docMk/>
          <pc:sldMk cId="1528537165" sldId="2147471545"/>
        </pc:sldMkLst>
        <pc:spChg chg="mod">
          <ac:chgData name="John Paserba" userId="77bd6c8a-d0c1-4fea-8705-0169f65d0c0e" providerId="ADAL" clId="{C6420D40-AA9B-4302-8FA9-FAB2466E064A}" dt="2025-07-25T05:22:56.782" v="2379" actId="113"/>
          <ac:spMkLst>
            <pc:docMk/>
            <pc:sldMk cId="1528537165" sldId="2147471545"/>
            <ac:spMk id="12" creationId="{7637F54C-2D4B-44A5-B3F7-1642BB564316}"/>
          </ac:spMkLst>
        </pc:spChg>
      </pc:sldChg>
      <pc:sldChg chg="addSp delSp modSp mod">
        <pc:chgData name="John Paserba" userId="77bd6c8a-d0c1-4fea-8705-0169f65d0c0e" providerId="ADAL" clId="{C6420D40-AA9B-4302-8FA9-FAB2466E064A}" dt="2025-07-25T05:00:27.437" v="1964"/>
        <pc:sldMkLst>
          <pc:docMk/>
          <pc:sldMk cId="3823917263" sldId="2147471561"/>
        </pc:sldMkLst>
        <pc:spChg chg="del">
          <ac:chgData name="John Paserba" userId="77bd6c8a-d0c1-4fea-8705-0169f65d0c0e" providerId="ADAL" clId="{C6420D40-AA9B-4302-8FA9-FAB2466E064A}" dt="2025-07-25T05:00:26.984" v="1963" actId="478"/>
          <ac:spMkLst>
            <pc:docMk/>
            <pc:sldMk cId="3823917263" sldId="2147471561"/>
            <ac:spMk id="6" creationId="{41D89C7A-144A-493C-95CA-8134EE5232B8}"/>
          </ac:spMkLst>
        </pc:spChg>
        <pc:spChg chg="add mod">
          <ac:chgData name="John Paserba" userId="77bd6c8a-d0c1-4fea-8705-0169f65d0c0e" providerId="ADAL" clId="{C6420D40-AA9B-4302-8FA9-FAB2466E064A}" dt="2025-07-25T05:00:27.437" v="1964"/>
          <ac:spMkLst>
            <pc:docMk/>
            <pc:sldMk cId="3823917263" sldId="2147471561"/>
            <ac:spMk id="7" creationId="{56633254-B3DB-46F8-90FA-E47A14267964}"/>
          </ac:spMkLst>
        </pc:spChg>
      </pc:sldChg>
      <pc:sldChg chg="addSp delSp modSp mod">
        <pc:chgData name="John Paserba" userId="77bd6c8a-d0c1-4fea-8705-0169f65d0c0e" providerId="ADAL" clId="{C6420D40-AA9B-4302-8FA9-FAB2466E064A}" dt="2025-07-25T05:00:37.957" v="1968" actId="478"/>
        <pc:sldMkLst>
          <pc:docMk/>
          <pc:sldMk cId="599989515" sldId="2147471562"/>
        </pc:sldMkLst>
        <pc:spChg chg="del">
          <ac:chgData name="John Paserba" userId="77bd6c8a-d0c1-4fea-8705-0169f65d0c0e" providerId="ADAL" clId="{C6420D40-AA9B-4302-8FA9-FAB2466E064A}" dt="2025-07-25T05:00:37.957" v="1968" actId="478"/>
          <ac:spMkLst>
            <pc:docMk/>
            <pc:sldMk cId="599989515" sldId="2147471562"/>
            <ac:spMk id="6" creationId="{2064E136-DBB6-4CEA-97D1-F3F0E6B59CE8}"/>
          </ac:spMkLst>
        </pc:spChg>
        <pc:spChg chg="add mod">
          <ac:chgData name="John Paserba" userId="77bd6c8a-d0c1-4fea-8705-0169f65d0c0e" providerId="ADAL" clId="{C6420D40-AA9B-4302-8FA9-FAB2466E064A}" dt="2025-07-25T05:00:36.008" v="1967"/>
          <ac:spMkLst>
            <pc:docMk/>
            <pc:sldMk cId="599989515" sldId="2147471562"/>
            <ac:spMk id="7" creationId="{A0C76C72-FDED-425E-AC64-5A3326035A48}"/>
          </ac:spMkLst>
        </pc:spChg>
      </pc:sldChg>
      <pc:sldChg chg="addSp delSp modSp mod">
        <pc:chgData name="John Paserba" userId="77bd6c8a-d0c1-4fea-8705-0169f65d0c0e" providerId="ADAL" clId="{C6420D40-AA9B-4302-8FA9-FAB2466E064A}" dt="2025-07-25T05:00:31.957" v="1966"/>
        <pc:sldMkLst>
          <pc:docMk/>
          <pc:sldMk cId="1930684240" sldId="2147471563"/>
        </pc:sldMkLst>
        <pc:spChg chg="del">
          <ac:chgData name="John Paserba" userId="77bd6c8a-d0c1-4fea-8705-0169f65d0c0e" providerId="ADAL" clId="{C6420D40-AA9B-4302-8FA9-FAB2466E064A}" dt="2025-07-25T05:00:31.333" v="1965" actId="478"/>
          <ac:spMkLst>
            <pc:docMk/>
            <pc:sldMk cId="1930684240" sldId="2147471563"/>
            <ac:spMk id="6" creationId="{E5DFE061-750A-4C41-9918-748748E6CD22}"/>
          </ac:spMkLst>
        </pc:spChg>
        <pc:spChg chg="add mod">
          <ac:chgData name="John Paserba" userId="77bd6c8a-d0c1-4fea-8705-0169f65d0c0e" providerId="ADAL" clId="{C6420D40-AA9B-4302-8FA9-FAB2466E064A}" dt="2025-07-25T05:00:31.957" v="1966"/>
          <ac:spMkLst>
            <pc:docMk/>
            <pc:sldMk cId="1930684240" sldId="2147471563"/>
            <ac:spMk id="7" creationId="{1ABDEF4E-6736-4454-887C-CA305D9627D0}"/>
          </ac:spMkLst>
        </pc:spChg>
      </pc:sldChg>
      <pc:sldChg chg="addSp delSp modSp mod">
        <pc:chgData name="John Paserba" userId="77bd6c8a-d0c1-4fea-8705-0169f65d0c0e" providerId="ADAL" clId="{C6420D40-AA9B-4302-8FA9-FAB2466E064A}" dt="2025-07-25T05:00:42.035" v="1970"/>
        <pc:sldMkLst>
          <pc:docMk/>
          <pc:sldMk cId="3848360745" sldId="2147471564"/>
        </pc:sldMkLst>
        <pc:spChg chg="del">
          <ac:chgData name="John Paserba" userId="77bd6c8a-d0c1-4fea-8705-0169f65d0c0e" providerId="ADAL" clId="{C6420D40-AA9B-4302-8FA9-FAB2466E064A}" dt="2025-07-25T05:00:41.612" v="1969" actId="478"/>
          <ac:spMkLst>
            <pc:docMk/>
            <pc:sldMk cId="3848360745" sldId="2147471564"/>
            <ac:spMk id="6" creationId="{0AB7C75E-9541-4EFA-B48D-88D728CC6A4B}"/>
          </ac:spMkLst>
        </pc:spChg>
        <pc:spChg chg="add mod">
          <ac:chgData name="John Paserba" userId="77bd6c8a-d0c1-4fea-8705-0169f65d0c0e" providerId="ADAL" clId="{C6420D40-AA9B-4302-8FA9-FAB2466E064A}" dt="2025-07-25T05:00:42.035" v="1970"/>
          <ac:spMkLst>
            <pc:docMk/>
            <pc:sldMk cId="3848360745" sldId="2147471564"/>
            <ac:spMk id="7" creationId="{6F7476B1-9184-4C48-B2AC-FEC3671C15A8}"/>
          </ac:spMkLst>
        </pc:spChg>
      </pc:sldChg>
      <pc:sldChg chg="delSp mod">
        <pc:chgData name="John Paserba" userId="77bd6c8a-d0c1-4fea-8705-0169f65d0c0e" providerId="ADAL" clId="{C6420D40-AA9B-4302-8FA9-FAB2466E064A}" dt="2025-07-25T05:06:09.938" v="1998" actId="478"/>
        <pc:sldMkLst>
          <pc:docMk/>
          <pc:sldMk cId="649508728" sldId="2147471574"/>
        </pc:sldMkLst>
        <pc:spChg chg="del">
          <ac:chgData name="John Paserba" userId="77bd6c8a-d0c1-4fea-8705-0169f65d0c0e" providerId="ADAL" clId="{C6420D40-AA9B-4302-8FA9-FAB2466E064A}" dt="2025-07-25T05:06:09.938" v="1998" actId="478"/>
          <ac:spMkLst>
            <pc:docMk/>
            <pc:sldMk cId="649508728" sldId="2147471574"/>
            <ac:spMk id="27" creationId="{48790CF8-9819-40A9-9326-7F423C80CF72}"/>
          </ac:spMkLst>
        </pc:spChg>
      </pc:sldChg>
      <pc:sldChg chg="modSp mod">
        <pc:chgData name="John Paserba" userId="77bd6c8a-d0c1-4fea-8705-0169f65d0c0e" providerId="ADAL" clId="{C6420D40-AA9B-4302-8FA9-FAB2466E064A}" dt="2025-07-25T05:09:58.456" v="2151" actId="6549"/>
        <pc:sldMkLst>
          <pc:docMk/>
          <pc:sldMk cId="2546989764" sldId="2147471575"/>
        </pc:sldMkLst>
        <pc:spChg chg="mod">
          <ac:chgData name="John Paserba" userId="77bd6c8a-d0c1-4fea-8705-0169f65d0c0e" providerId="ADAL" clId="{C6420D40-AA9B-4302-8FA9-FAB2466E064A}" dt="2025-07-25T05:09:58.456" v="2151" actId="6549"/>
          <ac:spMkLst>
            <pc:docMk/>
            <pc:sldMk cId="2546989764" sldId="2147471575"/>
            <ac:spMk id="27" creationId="{48790CF8-9819-40A9-9326-7F423C80CF72}"/>
          </ac:spMkLst>
        </pc:spChg>
      </pc:sldChg>
      <pc:sldChg chg="modSp mod">
        <pc:chgData name="John Paserba" userId="77bd6c8a-d0c1-4fea-8705-0169f65d0c0e" providerId="ADAL" clId="{C6420D40-AA9B-4302-8FA9-FAB2466E064A}" dt="2025-07-25T05:01:54.912" v="1986" actId="113"/>
        <pc:sldMkLst>
          <pc:docMk/>
          <pc:sldMk cId="471544151" sldId="2147471579"/>
        </pc:sldMkLst>
        <pc:spChg chg="mod">
          <ac:chgData name="John Paserba" userId="77bd6c8a-d0c1-4fea-8705-0169f65d0c0e" providerId="ADAL" clId="{C6420D40-AA9B-4302-8FA9-FAB2466E064A}" dt="2025-07-25T05:01:54.912" v="1986" actId="113"/>
          <ac:spMkLst>
            <pc:docMk/>
            <pc:sldMk cId="471544151" sldId="2147471579"/>
            <ac:spMk id="3" creationId="{E6993746-A424-4F09-867F-B919F4E18ECB}"/>
          </ac:spMkLst>
        </pc:spChg>
      </pc:sldChg>
      <pc:sldChg chg="delSp mod">
        <pc:chgData name="John Paserba" userId="77bd6c8a-d0c1-4fea-8705-0169f65d0c0e" providerId="ADAL" clId="{C6420D40-AA9B-4302-8FA9-FAB2466E064A}" dt="2025-07-25T05:05:14.940" v="1997" actId="478"/>
        <pc:sldMkLst>
          <pc:docMk/>
          <pc:sldMk cId="1394849283" sldId="2147471580"/>
        </pc:sldMkLst>
        <pc:spChg chg="del">
          <ac:chgData name="John Paserba" userId="77bd6c8a-d0c1-4fea-8705-0169f65d0c0e" providerId="ADAL" clId="{C6420D40-AA9B-4302-8FA9-FAB2466E064A}" dt="2025-07-25T05:05:14.940" v="1997" actId="478"/>
          <ac:spMkLst>
            <pc:docMk/>
            <pc:sldMk cId="1394849283" sldId="2147471580"/>
            <ac:spMk id="6" creationId="{4593777E-CE37-4177-8822-533AA3C8C519}"/>
          </ac:spMkLst>
        </pc:spChg>
      </pc:sldChg>
      <pc:sldChg chg="modSp mod">
        <pc:chgData name="John Paserba" userId="77bd6c8a-d0c1-4fea-8705-0169f65d0c0e" providerId="ADAL" clId="{C6420D40-AA9B-4302-8FA9-FAB2466E064A}" dt="2025-07-25T05:09:39.914" v="2150" actId="14100"/>
        <pc:sldMkLst>
          <pc:docMk/>
          <pc:sldMk cId="3997758254" sldId="2147471581"/>
        </pc:sldMkLst>
        <pc:spChg chg="mod">
          <ac:chgData name="John Paserba" userId="77bd6c8a-d0c1-4fea-8705-0169f65d0c0e" providerId="ADAL" clId="{C6420D40-AA9B-4302-8FA9-FAB2466E064A}" dt="2025-07-25T05:09:39.914" v="2150" actId="14100"/>
          <ac:spMkLst>
            <pc:docMk/>
            <pc:sldMk cId="3997758254" sldId="2147471581"/>
            <ac:spMk id="13" creationId="{8F7EF60A-DD9C-428C-A50D-E71CD420B12B}"/>
          </ac:spMkLst>
        </pc:spChg>
      </pc:sldChg>
      <pc:sldChg chg="del">
        <pc:chgData name="John Paserba" userId="77bd6c8a-d0c1-4fea-8705-0169f65d0c0e" providerId="ADAL" clId="{C6420D40-AA9B-4302-8FA9-FAB2466E064A}" dt="2025-07-25T03:33:25.216" v="121" actId="2696"/>
        <pc:sldMkLst>
          <pc:docMk/>
          <pc:sldMk cId="282443214" sldId="2147471600"/>
        </pc:sldMkLst>
      </pc:sldChg>
      <pc:sldChg chg="add">
        <pc:chgData name="John Paserba" userId="77bd6c8a-d0c1-4fea-8705-0169f65d0c0e" providerId="ADAL" clId="{C6420D40-AA9B-4302-8FA9-FAB2466E064A}" dt="2025-07-25T03:33:44.647" v="122"/>
        <pc:sldMkLst>
          <pc:docMk/>
          <pc:sldMk cId="3635205180" sldId="2147471600"/>
        </pc:sldMkLst>
      </pc:sldChg>
      <pc:sldChg chg="delSp modSp mod">
        <pc:chgData name="John Paserba" userId="77bd6c8a-d0c1-4fea-8705-0169f65d0c0e" providerId="ADAL" clId="{C6420D40-AA9B-4302-8FA9-FAB2466E064A}" dt="2025-07-25T03:13:54.080" v="110" actId="20577"/>
        <pc:sldMkLst>
          <pc:docMk/>
          <pc:sldMk cId="4056519351" sldId="2147471625"/>
        </pc:sldMkLst>
        <pc:spChg chg="del">
          <ac:chgData name="John Paserba" userId="77bd6c8a-d0c1-4fea-8705-0169f65d0c0e" providerId="ADAL" clId="{C6420D40-AA9B-4302-8FA9-FAB2466E064A}" dt="2025-07-25T03:13:07.436" v="79" actId="478"/>
          <ac:spMkLst>
            <pc:docMk/>
            <pc:sldMk cId="4056519351" sldId="2147471625"/>
            <ac:spMk id="18" creationId="{19965AA2-BADD-4435-BC54-EE4744F9008B}"/>
          </ac:spMkLst>
        </pc:spChg>
        <pc:spChg chg="mod">
          <ac:chgData name="John Paserba" userId="77bd6c8a-d0c1-4fea-8705-0169f65d0c0e" providerId="ADAL" clId="{C6420D40-AA9B-4302-8FA9-FAB2466E064A}" dt="2025-07-25T03:13:54.080" v="110" actId="20577"/>
          <ac:spMkLst>
            <pc:docMk/>
            <pc:sldMk cId="4056519351" sldId="2147471625"/>
            <ac:spMk id="20" creationId="{4D0E4E71-6D2E-4332-8740-13F2DCDF2F5E}"/>
          </ac:spMkLst>
        </pc:spChg>
      </pc:sldChg>
      <pc:sldChg chg="modSp mod">
        <pc:chgData name="John Paserba" userId="77bd6c8a-d0c1-4fea-8705-0169f65d0c0e" providerId="ADAL" clId="{C6420D40-AA9B-4302-8FA9-FAB2466E064A}" dt="2025-07-25T05:24:22.527" v="2386" actId="6549"/>
        <pc:sldMkLst>
          <pc:docMk/>
          <pc:sldMk cId="2953226290" sldId="2147471629"/>
        </pc:sldMkLst>
        <pc:spChg chg="mod">
          <ac:chgData name="John Paserba" userId="77bd6c8a-d0c1-4fea-8705-0169f65d0c0e" providerId="ADAL" clId="{C6420D40-AA9B-4302-8FA9-FAB2466E064A}" dt="2025-07-25T05:24:22.527" v="2386" actId="6549"/>
          <ac:spMkLst>
            <pc:docMk/>
            <pc:sldMk cId="2953226290" sldId="2147471629"/>
            <ac:spMk id="14" creationId="{00000000-0000-0000-0000-000000000000}"/>
          </ac:spMkLst>
        </pc:spChg>
      </pc:sldChg>
      <pc:sldChg chg="modSp mod">
        <pc:chgData name="John Paserba" userId="77bd6c8a-d0c1-4fea-8705-0169f65d0c0e" providerId="ADAL" clId="{C6420D40-AA9B-4302-8FA9-FAB2466E064A}" dt="2025-07-25T05:29:48.997" v="2391" actId="27636"/>
        <pc:sldMkLst>
          <pc:docMk/>
          <pc:sldMk cId="2472254228" sldId="2147471632"/>
        </pc:sldMkLst>
        <pc:spChg chg="mod">
          <ac:chgData name="John Paserba" userId="77bd6c8a-d0c1-4fea-8705-0169f65d0c0e" providerId="ADAL" clId="{C6420D40-AA9B-4302-8FA9-FAB2466E064A}" dt="2025-07-25T05:29:48.997" v="2391" actId="27636"/>
          <ac:spMkLst>
            <pc:docMk/>
            <pc:sldMk cId="2472254228" sldId="2147471632"/>
            <ac:spMk id="23" creationId="{9A58F41F-A6CC-478A-A45C-43902016E283}"/>
          </ac:spMkLst>
        </pc:spChg>
      </pc:sldChg>
      <pc:sldChg chg="delSp mod">
        <pc:chgData name="John Paserba" userId="77bd6c8a-d0c1-4fea-8705-0169f65d0c0e" providerId="ADAL" clId="{C6420D40-AA9B-4302-8FA9-FAB2466E064A}" dt="2025-07-25T05:24:00.391" v="2382" actId="478"/>
        <pc:sldMkLst>
          <pc:docMk/>
          <pc:sldMk cId="488572414" sldId="2147471639"/>
        </pc:sldMkLst>
        <pc:spChg chg="del">
          <ac:chgData name="John Paserba" userId="77bd6c8a-d0c1-4fea-8705-0169f65d0c0e" providerId="ADAL" clId="{C6420D40-AA9B-4302-8FA9-FAB2466E064A}" dt="2025-07-25T05:24:00.391" v="2382" actId="478"/>
          <ac:spMkLst>
            <pc:docMk/>
            <pc:sldMk cId="488572414" sldId="2147471639"/>
            <ac:spMk id="12" creationId="{0495458C-8A63-47A4-A414-4AE3C2B35C39}"/>
          </ac:spMkLst>
        </pc:spChg>
      </pc:sldChg>
      <pc:sldChg chg="modSp mod">
        <pc:chgData name="John Paserba" userId="77bd6c8a-d0c1-4fea-8705-0169f65d0c0e" providerId="ADAL" clId="{C6420D40-AA9B-4302-8FA9-FAB2466E064A}" dt="2025-07-25T05:30:28.636" v="2394" actId="20577"/>
        <pc:sldMkLst>
          <pc:docMk/>
          <pc:sldMk cId="889899731" sldId="2147471651"/>
        </pc:sldMkLst>
        <pc:spChg chg="mod">
          <ac:chgData name="John Paserba" userId="77bd6c8a-d0c1-4fea-8705-0169f65d0c0e" providerId="ADAL" clId="{C6420D40-AA9B-4302-8FA9-FAB2466E064A}" dt="2025-07-25T05:30:16.553" v="2392"/>
          <ac:spMkLst>
            <pc:docMk/>
            <pc:sldMk cId="889899731" sldId="2147471651"/>
            <ac:spMk id="3" creationId="{E6993746-A424-4F09-867F-B919F4E18ECB}"/>
          </ac:spMkLst>
        </pc:spChg>
        <pc:spChg chg="mod">
          <ac:chgData name="John Paserba" userId="77bd6c8a-d0c1-4fea-8705-0169f65d0c0e" providerId="ADAL" clId="{C6420D40-AA9B-4302-8FA9-FAB2466E064A}" dt="2025-07-25T05:30:28.636" v="2394" actId="20577"/>
          <ac:spMkLst>
            <pc:docMk/>
            <pc:sldMk cId="889899731" sldId="2147471651"/>
            <ac:spMk id="12" creationId="{6052F144-7250-49E5-B832-4F896371D59A}"/>
          </ac:spMkLst>
        </pc:spChg>
      </pc:sldChg>
      <pc:sldChg chg="modSp mod">
        <pc:chgData name="John Paserba" userId="77bd6c8a-d0c1-4fea-8705-0169f65d0c0e" providerId="ADAL" clId="{C6420D40-AA9B-4302-8FA9-FAB2466E064A}" dt="2025-07-25T03:14:33.553" v="118" actId="20577"/>
        <pc:sldMkLst>
          <pc:docMk/>
          <pc:sldMk cId="3935530728" sldId="2147471654"/>
        </pc:sldMkLst>
        <pc:spChg chg="mod">
          <ac:chgData name="John Paserba" userId="77bd6c8a-d0c1-4fea-8705-0169f65d0c0e" providerId="ADAL" clId="{C6420D40-AA9B-4302-8FA9-FAB2466E064A}" dt="2025-07-25T03:14:15.862" v="112" actId="20577"/>
          <ac:spMkLst>
            <pc:docMk/>
            <pc:sldMk cId="3935530728" sldId="2147471654"/>
            <ac:spMk id="3" creationId="{E6993746-A424-4F09-867F-B919F4E18ECB}"/>
          </ac:spMkLst>
        </pc:spChg>
        <pc:spChg chg="mod">
          <ac:chgData name="John Paserba" userId="77bd6c8a-d0c1-4fea-8705-0169f65d0c0e" providerId="ADAL" clId="{C6420D40-AA9B-4302-8FA9-FAB2466E064A}" dt="2025-07-25T03:14:33.553" v="118" actId="20577"/>
          <ac:spMkLst>
            <pc:docMk/>
            <pc:sldMk cId="3935530728" sldId="2147471654"/>
            <ac:spMk id="12" creationId="{6052F144-7250-49E5-B832-4F896371D59A}"/>
          </ac:spMkLst>
        </pc:spChg>
      </pc:sldChg>
      <pc:sldChg chg="modSp mod">
        <pc:chgData name="John Paserba" userId="77bd6c8a-d0c1-4fea-8705-0169f65d0c0e" providerId="ADAL" clId="{C6420D40-AA9B-4302-8FA9-FAB2466E064A}" dt="2025-07-25T04:59:12.589" v="1950" actId="1035"/>
        <pc:sldMkLst>
          <pc:docMk/>
          <pc:sldMk cId="438874774" sldId="2147471662"/>
        </pc:sldMkLst>
        <pc:spChg chg="mod">
          <ac:chgData name="John Paserba" userId="77bd6c8a-d0c1-4fea-8705-0169f65d0c0e" providerId="ADAL" clId="{C6420D40-AA9B-4302-8FA9-FAB2466E064A}" dt="2025-07-25T04:59:12.589" v="1950" actId="1035"/>
          <ac:spMkLst>
            <pc:docMk/>
            <pc:sldMk cId="438874774" sldId="2147471662"/>
            <ac:spMk id="12" creationId="{9271B09D-6787-4319-A454-AEEDF285BCC3}"/>
          </ac:spMkLst>
        </pc:spChg>
      </pc:sldChg>
      <pc:sldChg chg="delSp mod">
        <pc:chgData name="John Paserba" userId="77bd6c8a-d0c1-4fea-8705-0169f65d0c0e" providerId="ADAL" clId="{C6420D40-AA9B-4302-8FA9-FAB2466E064A}" dt="2025-07-25T04:59:55.174" v="1952" actId="478"/>
        <pc:sldMkLst>
          <pc:docMk/>
          <pc:sldMk cId="2068436623" sldId="2147471665"/>
        </pc:sldMkLst>
        <pc:spChg chg="del">
          <ac:chgData name="John Paserba" userId="77bd6c8a-d0c1-4fea-8705-0169f65d0c0e" providerId="ADAL" clId="{C6420D40-AA9B-4302-8FA9-FAB2466E064A}" dt="2025-07-25T04:59:55.174" v="1952" actId="478"/>
          <ac:spMkLst>
            <pc:docMk/>
            <pc:sldMk cId="2068436623" sldId="2147471665"/>
            <ac:spMk id="6" creationId="{130AD244-18F7-4B68-BAFE-FA1951DF1C95}"/>
          </ac:spMkLst>
        </pc:spChg>
      </pc:sldChg>
      <pc:sldChg chg="modSp mod">
        <pc:chgData name="John Paserba" userId="77bd6c8a-d0c1-4fea-8705-0169f65d0c0e" providerId="ADAL" clId="{C6420D40-AA9B-4302-8FA9-FAB2466E064A}" dt="2025-07-25T05:22:46.344" v="2376" actId="113"/>
        <pc:sldMkLst>
          <pc:docMk/>
          <pc:sldMk cId="2660546268" sldId="2147471669"/>
        </pc:sldMkLst>
        <pc:spChg chg="mod">
          <ac:chgData name="John Paserba" userId="77bd6c8a-d0c1-4fea-8705-0169f65d0c0e" providerId="ADAL" clId="{C6420D40-AA9B-4302-8FA9-FAB2466E064A}" dt="2025-07-25T05:22:46.344" v="2376" actId="113"/>
          <ac:spMkLst>
            <pc:docMk/>
            <pc:sldMk cId="2660546268" sldId="2147471669"/>
            <ac:spMk id="8" creationId="{37CEEF7E-3CE8-42D1-AEB0-A2514859CE49}"/>
          </ac:spMkLst>
        </pc:spChg>
      </pc:sldChg>
      <pc:sldChg chg="addSp delSp modSp mod">
        <pc:chgData name="John Paserba" userId="77bd6c8a-d0c1-4fea-8705-0169f65d0c0e" providerId="ADAL" clId="{C6420D40-AA9B-4302-8FA9-FAB2466E064A}" dt="2025-07-25T04:57:33.500" v="1924"/>
        <pc:sldMkLst>
          <pc:docMk/>
          <pc:sldMk cId="3651935271" sldId="2147471682"/>
        </pc:sldMkLst>
        <pc:graphicFrameChg chg="add del mod">
          <ac:chgData name="John Paserba" userId="77bd6c8a-d0c1-4fea-8705-0169f65d0c0e" providerId="ADAL" clId="{C6420D40-AA9B-4302-8FA9-FAB2466E064A}" dt="2025-07-25T04:56:52.709" v="1914"/>
          <ac:graphicFrameMkLst>
            <pc:docMk/>
            <pc:sldMk cId="3651935271" sldId="2147471682"/>
            <ac:graphicFrameMk id="2" creationId="{6E72A2FA-EA85-49DE-B90B-5CA7899E3F41}"/>
          </ac:graphicFrameMkLst>
        </pc:graphicFrameChg>
        <pc:graphicFrameChg chg="add del mod modGraphic">
          <ac:chgData name="John Paserba" userId="77bd6c8a-d0c1-4fea-8705-0169f65d0c0e" providerId="ADAL" clId="{C6420D40-AA9B-4302-8FA9-FAB2466E064A}" dt="2025-07-25T04:57:11.269" v="1920"/>
          <ac:graphicFrameMkLst>
            <pc:docMk/>
            <pc:sldMk cId="3651935271" sldId="2147471682"/>
            <ac:graphicFrameMk id="3" creationId="{78276AC2-2B43-4348-A1FA-0C6E2312C701}"/>
          </ac:graphicFrameMkLst>
        </pc:graphicFrameChg>
        <pc:picChg chg="add del mod">
          <ac:chgData name="John Paserba" userId="77bd6c8a-d0c1-4fea-8705-0169f65d0c0e" providerId="ADAL" clId="{C6420D40-AA9B-4302-8FA9-FAB2466E064A}" dt="2025-07-25T04:57:18.280" v="1923" actId="478"/>
          <ac:picMkLst>
            <pc:docMk/>
            <pc:sldMk cId="3651935271" sldId="2147471682"/>
            <ac:picMk id="4" creationId="{C9A313FE-C33D-483E-A356-032E00B8B4C2}"/>
          </ac:picMkLst>
        </pc:picChg>
        <pc:picChg chg="add">
          <ac:chgData name="John Paserba" userId="77bd6c8a-d0c1-4fea-8705-0169f65d0c0e" providerId="ADAL" clId="{C6420D40-AA9B-4302-8FA9-FAB2466E064A}" dt="2025-07-25T04:57:33.500" v="1924"/>
          <ac:picMkLst>
            <pc:docMk/>
            <pc:sldMk cId="3651935271" sldId="2147471682"/>
            <ac:picMk id="5" creationId="{372DA169-17CF-4AB1-A27A-9313F9DED763}"/>
          </ac:picMkLst>
        </pc:picChg>
      </pc:sldChg>
      <pc:sldChg chg="addSp delSp mod">
        <pc:chgData name="John Paserba" userId="77bd6c8a-d0c1-4fea-8705-0169f65d0c0e" providerId="ADAL" clId="{C6420D40-AA9B-4302-8FA9-FAB2466E064A}" dt="2025-07-25T04:57:47.999" v="1926"/>
        <pc:sldMkLst>
          <pc:docMk/>
          <pc:sldMk cId="3727219174" sldId="2147471683"/>
        </pc:sldMkLst>
        <pc:picChg chg="del">
          <ac:chgData name="John Paserba" userId="77bd6c8a-d0c1-4fea-8705-0169f65d0c0e" providerId="ADAL" clId="{C6420D40-AA9B-4302-8FA9-FAB2466E064A}" dt="2025-07-25T04:57:36.378" v="1925" actId="478"/>
          <ac:picMkLst>
            <pc:docMk/>
            <pc:sldMk cId="3727219174" sldId="2147471683"/>
            <ac:picMk id="2" creationId="{B73ADE82-ADF4-45D4-BE49-97D499CD4681}"/>
          </ac:picMkLst>
        </pc:picChg>
        <pc:picChg chg="add">
          <ac:chgData name="John Paserba" userId="77bd6c8a-d0c1-4fea-8705-0169f65d0c0e" providerId="ADAL" clId="{C6420D40-AA9B-4302-8FA9-FAB2466E064A}" dt="2025-07-25T04:57:47.999" v="1926"/>
          <ac:picMkLst>
            <pc:docMk/>
            <pc:sldMk cId="3727219174" sldId="2147471683"/>
            <ac:picMk id="3" creationId="{270DFDDD-9E26-4B5A-B44D-753DDC6FAE38}"/>
          </ac:picMkLst>
        </pc:picChg>
      </pc:sldChg>
      <pc:sldChg chg="addSp delSp mod">
        <pc:chgData name="John Paserba" userId="77bd6c8a-d0c1-4fea-8705-0169f65d0c0e" providerId="ADAL" clId="{C6420D40-AA9B-4302-8FA9-FAB2466E064A}" dt="2025-07-25T04:58:04.817" v="1928"/>
        <pc:sldMkLst>
          <pc:docMk/>
          <pc:sldMk cId="333539668" sldId="2147471684"/>
        </pc:sldMkLst>
        <pc:picChg chg="add">
          <ac:chgData name="John Paserba" userId="77bd6c8a-d0c1-4fea-8705-0169f65d0c0e" providerId="ADAL" clId="{C6420D40-AA9B-4302-8FA9-FAB2466E064A}" dt="2025-07-25T04:58:04.817" v="1928"/>
          <ac:picMkLst>
            <pc:docMk/>
            <pc:sldMk cId="333539668" sldId="2147471684"/>
            <ac:picMk id="2" creationId="{BD0CC11C-B794-4477-BF20-9416B51563CA}"/>
          </ac:picMkLst>
        </pc:picChg>
        <pc:picChg chg="del">
          <ac:chgData name="John Paserba" userId="77bd6c8a-d0c1-4fea-8705-0169f65d0c0e" providerId="ADAL" clId="{C6420D40-AA9B-4302-8FA9-FAB2466E064A}" dt="2025-07-25T04:57:51.895" v="1927" actId="478"/>
          <ac:picMkLst>
            <pc:docMk/>
            <pc:sldMk cId="333539668" sldId="2147471684"/>
            <ac:picMk id="4" creationId="{A9A3EDB1-A8FE-4E54-B017-F5434BC4D38C}"/>
          </ac:picMkLst>
        </pc:picChg>
      </pc:sldChg>
      <pc:sldChg chg="addSp delSp mod">
        <pc:chgData name="John Paserba" userId="77bd6c8a-d0c1-4fea-8705-0169f65d0c0e" providerId="ADAL" clId="{C6420D40-AA9B-4302-8FA9-FAB2466E064A}" dt="2025-07-25T04:58:23.172" v="1930"/>
        <pc:sldMkLst>
          <pc:docMk/>
          <pc:sldMk cId="1741024592" sldId="2147471685"/>
        </pc:sldMkLst>
        <pc:picChg chg="add">
          <ac:chgData name="John Paserba" userId="77bd6c8a-d0c1-4fea-8705-0169f65d0c0e" providerId="ADAL" clId="{C6420D40-AA9B-4302-8FA9-FAB2466E064A}" dt="2025-07-25T04:58:23.172" v="1930"/>
          <ac:picMkLst>
            <pc:docMk/>
            <pc:sldMk cId="1741024592" sldId="2147471685"/>
            <ac:picMk id="2" creationId="{558C132B-2F0B-4D5D-84EF-67665B05D399}"/>
          </ac:picMkLst>
        </pc:picChg>
        <pc:picChg chg="del">
          <ac:chgData name="John Paserba" userId="77bd6c8a-d0c1-4fea-8705-0169f65d0c0e" providerId="ADAL" clId="{C6420D40-AA9B-4302-8FA9-FAB2466E064A}" dt="2025-07-25T04:58:11.338" v="1929" actId="478"/>
          <ac:picMkLst>
            <pc:docMk/>
            <pc:sldMk cId="1741024592" sldId="2147471685"/>
            <ac:picMk id="4" creationId="{4D18A8A3-8A9A-4E5D-8DA9-14F39A7091CF}"/>
          </ac:picMkLst>
        </pc:picChg>
      </pc:sldChg>
      <pc:sldChg chg="del">
        <pc:chgData name="John Paserba" userId="77bd6c8a-d0c1-4fea-8705-0169f65d0c0e" providerId="ADAL" clId="{C6420D40-AA9B-4302-8FA9-FAB2466E064A}" dt="2025-07-25T04:58:39.183" v="1931" actId="47"/>
        <pc:sldMkLst>
          <pc:docMk/>
          <pc:sldMk cId="938011944" sldId="2147471692"/>
        </pc:sldMkLst>
      </pc:sldChg>
      <pc:sldChg chg="modSp">
        <pc:chgData name="John Paserba" userId="77bd6c8a-d0c1-4fea-8705-0169f65d0c0e" providerId="ADAL" clId="{C6420D40-AA9B-4302-8FA9-FAB2466E064A}" dt="2025-07-25T03:34:18.816" v="125"/>
        <pc:sldMkLst>
          <pc:docMk/>
          <pc:sldMk cId="2725648120" sldId="2147471696"/>
        </pc:sldMkLst>
        <pc:spChg chg="mod">
          <ac:chgData name="John Paserba" userId="77bd6c8a-d0c1-4fea-8705-0169f65d0c0e" providerId="ADAL" clId="{C6420D40-AA9B-4302-8FA9-FAB2466E064A}" dt="2025-07-25T03:34:18.816" v="125"/>
          <ac:spMkLst>
            <pc:docMk/>
            <pc:sldMk cId="2725648120" sldId="2147471696"/>
            <ac:spMk id="3328002" creationId="{00000000-0000-0000-0000-000000000000}"/>
          </ac:spMkLst>
        </pc:spChg>
      </pc:sldChg>
      <pc:sldChg chg="addSp delSp modSp mod">
        <pc:chgData name="John Paserba" userId="77bd6c8a-d0c1-4fea-8705-0169f65d0c0e" providerId="ADAL" clId="{C6420D40-AA9B-4302-8FA9-FAB2466E064A}" dt="2025-07-25T05:00:46.289" v="1972"/>
        <pc:sldMkLst>
          <pc:docMk/>
          <pc:sldMk cId="776265444" sldId="2147471702"/>
        </pc:sldMkLst>
        <pc:spChg chg="del">
          <ac:chgData name="John Paserba" userId="77bd6c8a-d0c1-4fea-8705-0169f65d0c0e" providerId="ADAL" clId="{C6420D40-AA9B-4302-8FA9-FAB2466E064A}" dt="2025-07-25T05:00:45.891" v="1971" actId="478"/>
          <ac:spMkLst>
            <pc:docMk/>
            <pc:sldMk cId="776265444" sldId="2147471702"/>
            <ac:spMk id="6" creationId="{0AB7C75E-9541-4EFA-B48D-88D728CC6A4B}"/>
          </ac:spMkLst>
        </pc:spChg>
        <pc:spChg chg="add mod">
          <ac:chgData name="John Paserba" userId="77bd6c8a-d0c1-4fea-8705-0169f65d0c0e" providerId="ADAL" clId="{C6420D40-AA9B-4302-8FA9-FAB2466E064A}" dt="2025-07-25T05:00:46.289" v="1972"/>
          <ac:spMkLst>
            <pc:docMk/>
            <pc:sldMk cId="776265444" sldId="2147471702"/>
            <ac:spMk id="7" creationId="{25AA45A9-45E2-4316-9B97-034976660031}"/>
          </ac:spMkLst>
        </pc:spChg>
      </pc:sldChg>
      <pc:sldChg chg="modSp mod">
        <pc:chgData name="John Paserba" userId="77bd6c8a-d0c1-4fea-8705-0169f65d0c0e" providerId="ADAL" clId="{C6420D40-AA9B-4302-8FA9-FAB2466E064A}" dt="2025-07-25T05:21:41.838" v="2374" actId="6549"/>
        <pc:sldMkLst>
          <pc:docMk/>
          <pc:sldMk cId="1227424827" sldId="2147471706"/>
        </pc:sldMkLst>
        <pc:spChg chg="mod">
          <ac:chgData name="John Paserba" userId="77bd6c8a-d0c1-4fea-8705-0169f65d0c0e" providerId="ADAL" clId="{C6420D40-AA9B-4302-8FA9-FAB2466E064A}" dt="2025-07-25T05:21:41.838" v="2374" actId="6549"/>
          <ac:spMkLst>
            <pc:docMk/>
            <pc:sldMk cId="1227424827" sldId="2147471706"/>
            <ac:spMk id="3" creationId="{E6993746-A424-4F09-867F-B919F4E18ECB}"/>
          </ac:spMkLst>
        </pc:spChg>
      </pc:sldChg>
      <pc:sldChg chg="modSp">
        <pc:chgData name="John Paserba" userId="77bd6c8a-d0c1-4fea-8705-0169f65d0c0e" providerId="ADAL" clId="{C6420D40-AA9B-4302-8FA9-FAB2466E064A}" dt="2025-07-25T03:34:02.892" v="124"/>
        <pc:sldMkLst>
          <pc:docMk/>
          <pc:sldMk cId="1676387962" sldId="2147471712"/>
        </pc:sldMkLst>
        <pc:spChg chg="mod">
          <ac:chgData name="John Paserba" userId="77bd6c8a-d0c1-4fea-8705-0169f65d0c0e" providerId="ADAL" clId="{C6420D40-AA9B-4302-8FA9-FAB2466E064A}" dt="2025-07-25T03:34:02.892" v="124"/>
          <ac:spMkLst>
            <pc:docMk/>
            <pc:sldMk cId="1676387962" sldId="2147471712"/>
            <ac:spMk id="3328002" creationId="{00000000-0000-0000-0000-000000000000}"/>
          </ac:spMkLst>
        </pc:spChg>
      </pc:sldChg>
      <pc:sldChg chg="modSp">
        <pc:chgData name="John Paserba" userId="77bd6c8a-d0c1-4fea-8705-0169f65d0c0e" providerId="ADAL" clId="{C6420D40-AA9B-4302-8FA9-FAB2466E064A}" dt="2025-07-25T03:33:59.260" v="123"/>
        <pc:sldMkLst>
          <pc:docMk/>
          <pc:sldMk cId="237403609" sldId="2147471713"/>
        </pc:sldMkLst>
        <pc:spChg chg="mod">
          <ac:chgData name="John Paserba" userId="77bd6c8a-d0c1-4fea-8705-0169f65d0c0e" providerId="ADAL" clId="{C6420D40-AA9B-4302-8FA9-FAB2466E064A}" dt="2025-07-25T03:33:59.260" v="123"/>
          <ac:spMkLst>
            <pc:docMk/>
            <pc:sldMk cId="237403609" sldId="2147471713"/>
            <ac:spMk id="3328002" creationId="{00000000-0000-0000-0000-000000000000}"/>
          </ac:spMkLst>
        </pc:spChg>
      </pc:sldChg>
      <pc:sldChg chg="modSp">
        <pc:chgData name="John Paserba" userId="77bd6c8a-d0c1-4fea-8705-0169f65d0c0e" providerId="ADAL" clId="{C6420D40-AA9B-4302-8FA9-FAB2466E064A}" dt="2025-07-25T03:34:26.122" v="126"/>
        <pc:sldMkLst>
          <pc:docMk/>
          <pc:sldMk cId="1444063717" sldId="2147471714"/>
        </pc:sldMkLst>
        <pc:spChg chg="mod">
          <ac:chgData name="John Paserba" userId="77bd6c8a-d0c1-4fea-8705-0169f65d0c0e" providerId="ADAL" clId="{C6420D40-AA9B-4302-8FA9-FAB2466E064A}" dt="2025-07-25T03:34:26.122" v="126"/>
          <ac:spMkLst>
            <pc:docMk/>
            <pc:sldMk cId="1444063717" sldId="2147471714"/>
            <ac:spMk id="3328002" creationId="{00000000-0000-0000-0000-000000000000}"/>
          </ac:spMkLst>
        </pc:spChg>
      </pc:sldChg>
      <pc:sldChg chg="modSp mod">
        <pc:chgData name="John Paserba" userId="77bd6c8a-d0c1-4fea-8705-0169f65d0c0e" providerId="ADAL" clId="{C6420D40-AA9B-4302-8FA9-FAB2466E064A}" dt="2025-07-25T03:54:04.469" v="803"/>
        <pc:sldMkLst>
          <pc:docMk/>
          <pc:sldMk cId="402333902" sldId="2147471715"/>
        </pc:sldMkLst>
        <pc:spChg chg="mod">
          <ac:chgData name="John Paserba" userId="77bd6c8a-d0c1-4fea-8705-0169f65d0c0e" providerId="ADAL" clId="{C6420D40-AA9B-4302-8FA9-FAB2466E064A}" dt="2025-07-25T03:48:00.024" v="316" actId="20577"/>
          <ac:spMkLst>
            <pc:docMk/>
            <pc:sldMk cId="402333902" sldId="2147471715"/>
            <ac:spMk id="3" creationId="{E6993746-A424-4F09-867F-B919F4E18ECB}"/>
          </ac:spMkLst>
        </pc:spChg>
        <pc:spChg chg="mod">
          <ac:chgData name="John Paserba" userId="77bd6c8a-d0c1-4fea-8705-0169f65d0c0e" providerId="ADAL" clId="{C6420D40-AA9B-4302-8FA9-FAB2466E064A}" dt="2025-07-25T03:54:04.469" v="803"/>
          <ac:spMkLst>
            <pc:docMk/>
            <pc:sldMk cId="402333902" sldId="2147471715"/>
            <ac:spMk id="3328002" creationId="{00000000-0000-0000-0000-000000000000}"/>
          </ac:spMkLst>
        </pc:spChg>
      </pc:sldChg>
      <pc:sldChg chg="addSp modSp mod">
        <pc:chgData name="John Paserba" userId="77bd6c8a-d0c1-4fea-8705-0169f65d0c0e" providerId="ADAL" clId="{C6420D40-AA9B-4302-8FA9-FAB2466E064A}" dt="2025-07-25T03:44:53.962" v="256" actId="208"/>
        <pc:sldMkLst>
          <pc:docMk/>
          <pc:sldMk cId="48043056" sldId="2147471716"/>
        </pc:sldMkLst>
        <pc:spChg chg="add mod">
          <ac:chgData name="John Paserba" userId="77bd6c8a-d0c1-4fea-8705-0169f65d0c0e" providerId="ADAL" clId="{C6420D40-AA9B-4302-8FA9-FAB2466E064A}" dt="2025-07-25T03:44:23.856" v="251" actId="14100"/>
          <ac:spMkLst>
            <pc:docMk/>
            <pc:sldMk cId="48043056" sldId="2147471716"/>
            <ac:spMk id="2" creationId="{1CA565EF-5BE7-4027-AD4F-50B2545AA7A4}"/>
          </ac:spMkLst>
        </pc:spChg>
        <pc:spChg chg="add mod">
          <ac:chgData name="John Paserba" userId="77bd6c8a-d0c1-4fea-8705-0169f65d0c0e" providerId="ADAL" clId="{C6420D40-AA9B-4302-8FA9-FAB2466E064A}" dt="2025-07-25T03:44:18.192" v="250" actId="207"/>
          <ac:spMkLst>
            <pc:docMk/>
            <pc:sldMk cId="48043056" sldId="2147471716"/>
            <ac:spMk id="35" creationId="{9753368D-39D7-4756-BD0E-A178FC9BB46E}"/>
          </ac:spMkLst>
        </pc:spChg>
        <pc:spChg chg="add mod">
          <ac:chgData name="John Paserba" userId="77bd6c8a-d0c1-4fea-8705-0169f65d0c0e" providerId="ADAL" clId="{C6420D40-AA9B-4302-8FA9-FAB2466E064A}" dt="2025-07-25T03:43:26.624" v="248" actId="20577"/>
          <ac:spMkLst>
            <pc:docMk/>
            <pc:sldMk cId="48043056" sldId="2147471716"/>
            <ac:spMk id="36" creationId="{EFC1AEE1-4FCE-4A02-A0E0-B8677127DB0C}"/>
          </ac:spMkLst>
        </pc:spChg>
        <pc:spChg chg="mod">
          <ac:chgData name="John Paserba" userId="77bd6c8a-d0c1-4fea-8705-0169f65d0c0e" providerId="ADAL" clId="{C6420D40-AA9B-4302-8FA9-FAB2466E064A}" dt="2025-07-25T03:44:51.060" v="255" actId="208"/>
          <ac:spMkLst>
            <pc:docMk/>
            <pc:sldMk cId="48043056" sldId="2147471716"/>
            <ac:spMk id="75" creationId="{6AD16190-CC96-44E0-81E4-318C3F1360E2}"/>
          </ac:spMkLst>
        </pc:spChg>
        <pc:spChg chg="mod">
          <ac:chgData name="John Paserba" userId="77bd6c8a-d0c1-4fea-8705-0169f65d0c0e" providerId="ADAL" clId="{C6420D40-AA9B-4302-8FA9-FAB2466E064A}" dt="2025-07-25T03:34:51.312" v="127"/>
          <ac:spMkLst>
            <pc:docMk/>
            <pc:sldMk cId="48043056" sldId="2147471716"/>
            <ac:spMk id="3328002" creationId="{00000000-0000-0000-0000-000000000000}"/>
          </ac:spMkLst>
        </pc:spChg>
        <pc:cxnChg chg="add mod">
          <ac:chgData name="John Paserba" userId="77bd6c8a-d0c1-4fea-8705-0169f65d0c0e" providerId="ADAL" clId="{C6420D40-AA9B-4302-8FA9-FAB2466E064A}" dt="2025-07-25T03:41:31.601" v="187" actId="1076"/>
          <ac:cxnSpMkLst>
            <pc:docMk/>
            <pc:sldMk cId="48043056" sldId="2147471716"/>
            <ac:cxnSpMk id="38" creationId="{2E9C995B-971B-4D6A-B616-7399A7C18912}"/>
          </ac:cxnSpMkLst>
        </pc:cxnChg>
        <pc:cxnChg chg="add mod">
          <ac:chgData name="John Paserba" userId="77bd6c8a-d0c1-4fea-8705-0169f65d0c0e" providerId="ADAL" clId="{C6420D40-AA9B-4302-8FA9-FAB2466E064A}" dt="2025-07-25T03:42:59.765" v="204" actId="1038"/>
          <ac:cxnSpMkLst>
            <pc:docMk/>
            <pc:sldMk cId="48043056" sldId="2147471716"/>
            <ac:cxnSpMk id="43" creationId="{11A3CC0B-83F6-48F2-9680-DF8748EAF955}"/>
          </ac:cxnSpMkLst>
        </pc:cxnChg>
        <pc:cxnChg chg="mod">
          <ac:chgData name="John Paserba" userId="77bd6c8a-d0c1-4fea-8705-0169f65d0c0e" providerId="ADAL" clId="{C6420D40-AA9B-4302-8FA9-FAB2466E064A}" dt="2025-07-25T03:44:53.962" v="256" actId="208"/>
          <ac:cxnSpMkLst>
            <pc:docMk/>
            <pc:sldMk cId="48043056" sldId="2147471716"/>
            <ac:cxnSpMk id="79" creationId="{8AB732D9-6092-434F-AF1C-74B02C7494D1}"/>
          </ac:cxnSpMkLst>
        </pc:cxnChg>
      </pc:sldChg>
      <pc:sldChg chg="modSp add del">
        <pc:chgData name="John Paserba" userId="77bd6c8a-d0c1-4fea-8705-0169f65d0c0e" providerId="ADAL" clId="{C6420D40-AA9B-4302-8FA9-FAB2466E064A}" dt="2025-07-25T03:37:40.182" v="140" actId="47"/>
        <pc:sldMkLst>
          <pc:docMk/>
          <pc:sldMk cId="945895210" sldId="2147471718"/>
        </pc:sldMkLst>
        <pc:spChg chg="mod">
          <ac:chgData name="John Paserba" userId="77bd6c8a-d0c1-4fea-8705-0169f65d0c0e" providerId="ADAL" clId="{C6420D40-AA9B-4302-8FA9-FAB2466E064A}" dt="2025-07-25T03:34:55.880" v="128"/>
          <ac:spMkLst>
            <pc:docMk/>
            <pc:sldMk cId="945895210" sldId="2147471718"/>
            <ac:spMk id="3328002" creationId="{00000000-0000-0000-0000-000000000000}"/>
          </ac:spMkLst>
        </pc:spChg>
      </pc:sldChg>
      <pc:sldChg chg="modSp mod">
        <pc:chgData name="John Paserba" userId="77bd6c8a-d0c1-4fea-8705-0169f65d0c0e" providerId="ADAL" clId="{C6420D40-AA9B-4302-8FA9-FAB2466E064A}" dt="2025-07-25T03:57:11.469" v="1079" actId="20577"/>
        <pc:sldMkLst>
          <pc:docMk/>
          <pc:sldMk cId="1807381905" sldId="2147471722"/>
        </pc:sldMkLst>
        <pc:spChg chg="mod">
          <ac:chgData name="John Paserba" userId="77bd6c8a-d0c1-4fea-8705-0169f65d0c0e" providerId="ADAL" clId="{C6420D40-AA9B-4302-8FA9-FAB2466E064A}" dt="2025-07-25T03:57:11.469" v="1079" actId="20577"/>
          <ac:spMkLst>
            <pc:docMk/>
            <pc:sldMk cId="1807381905" sldId="2147471722"/>
            <ac:spMk id="3" creationId="{E6993746-A424-4F09-867F-B919F4E18ECB}"/>
          </ac:spMkLst>
        </pc:spChg>
        <pc:spChg chg="mod">
          <ac:chgData name="John Paserba" userId="77bd6c8a-d0c1-4fea-8705-0169f65d0c0e" providerId="ADAL" clId="{C6420D40-AA9B-4302-8FA9-FAB2466E064A}" dt="2025-07-25T03:54:01.030" v="802"/>
          <ac:spMkLst>
            <pc:docMk/>
            <pc:sldMk cId="1807381905" sldId="2147471722"/>
            <ac:spMk id="3328002" creationId="{00000000-0000-0000-0000-000000000000}"/>
          </ac:spMkLst>
        </pc:spChg>
      </pc:sldChg>
      <pc:sldChg chg="modSp mod">
        <pc:chgData name="John Paserba" userId="77bd6c8a-d0c1-4fea-8705-0169f65d0c0e" providerId="ADAL" clId="{C6420D40-AA9B-4302-8FA9-FAB2466E064A}" dt="2025-07-25T05:23:12.034" v="2381" actId="113"/>
        <pc:sldMkLst>
          <pc:docMk/>
          <pc:sldMk cId="3241406327" sldId="2147471723"/>
        </pc:sldMkLst>
        <pc:spChg chg="mod">
          <ac:chgData name="John Paserba" userId="77bd6c8a-d0c1-4fea-8705-0169f65d0c0e" providerId="ADAL" clId="{C6420D40-AA9B-4302-8FA9-FAB2466E064A}" dt="2025-07-25T05:23:12.034" v="2381" actId="113"/>
          <ac:spMkLst>
            <pc:docMk/>
            <pc:sldMk cId="3241406327" sldId="2147471723"/>
            <ac:spMk id="7" creationId="{22C1A683-409A-4D8E-9F43-7E01A0306317}"/>
          </ac:spMkLst>
        </pc:spChg>
      </pc:sldChg>
      <pc:sldChg chg="del">
        <pc:chgData name="John Paserba" userId="77bd6c8a-d0c1-4fea-8705-0169f65d0c0e" providerId="ADAL" clId="{C6420D40-AA9B-4302-8FA9-FAB2466E064A}" dt="2025-07-25T05:26:31.666" v="2387" actId="47"/>
        <pc:sldMkLst>
          <pc:docMk/>
          <pc:sldMk cId="1940821927" sldId="2147471724"/>
        </pc:sldMkLst>
      </pc:sldChg>
      <pc:sldChg chg="del">
        <pc:chgData name="John Paserba" userId="77bd6c8a-d0c1-4fea-8705-0169f65d0c0e" providerId="ADAL" clId="{C6420D40-AA9B-4302-8FA9-FAB2466E064A}" dt="2025-07-25T04:59:38.026" v="1951" actId="47"/>
        <pc:sldMkLst>
          <pc:docMk/>
          <pc:sldMk cId="537995670" sldId="2147471731"/>
        </pc:sldMkLst>
      </pc:sldChg>
      <pc:sldChg chg="modSp mod">
        <pc:chgData name="John Paserba" userId="77bd6c8a-d0c1-4fea-8705-0169f65d0c0e" providerId="ADAL" clId="{C6420D40-AA9B-4302-8FA9-FAB2466E064A}" dt="2025-07-25T05:03:24.247" v="1996" actId="11"/>
        <pc:sldMkLst>
          <pc:docMk/>
          <pc:sldMk cId="298226682" sldId="2147471732"/>
        </pc:sldMkLst>
        <pc:spChg chg="mod">
          <ac:chgData name="John Paserba" userId="77bd6c8a-d0c1-4fea-8705-0169f65d0c0e" providerId="ADAL" clId="{C6420D40-AA9B-4302-8FA9-FAB2466E064A}" dt="2025-07-25T05:03:24.247" v="1996" actId="11"/>
          <ac:spMkLst>
            <pc:docMk/>
            <pc:sldMk cId="298226682" sldId="2147471732"/>
            <ac:spMk id="8" creationId="{5457FD50-7311-4F30-991F-CBF3C051F025}"/>
          </ac:spMkLst>
        </pc:spChg>
      </pc:sldChg>
      <pc:sldChg chg="modSp mod">
        <pc:chgData name="John Paserba" userId="77bd6c8a-d0c1-4fea-8705-0169f65d0c0e" providerId="ADAL" clId="{C6420D40-AA9B-4302-8FA9-FAB2466E064A}" dt="2025-07-25T05:13:36.518" v="2199" actId="27636"/>
        <pc:sldMkLst>
          <pc:docMk/>
          <pc:sldMk cId="3375477870" sldId="2147471758"/>
        </pc:sldMkLst>
        <pc:spChg chg="mod">
          <ac:chgData name="John Paserba" userId="77bd6c8a-d0c1-4fea-8705-0169f65d0c0e" providerId="ADAL" clId="{C6420D40-AA9B-4302-8FA9-FAB2466E064A}" dt="2025-07-25T05:13:36.518" v="2199" actId="27636"/>
          <ac:spMkLst>
            <pc:docMk/>
            <pc:sldMk cId="3375477870" sldId="2147471758"/>
            <ac:spMk id="9" creationId="{BAAF9788-3882-7FD4-A043-13E164D06B60}"/>
          </ac:spMkLst>
        </pc:spChg>
        <pc:spChg chg="mod">
          <ac:chgData name="John Paserba" userId="77bd6c8a-d0c1-4fea-8705-0169f65d0c0e" providerId="ADAL" clId="{C6420D40-AA9B-4302-8FA9-FAB2466E064A}" dt="2025-07-25T05:10:31.338" v="2154" actId="20577"/>
          <ac:spMkLst>
            <pc:docMk/>
            <pc:sldMk cId="3375477870" sldId="2147471758"/>
            <ac:spMk id="3328002" creationId="{00000000-0000-0000-0000-000000000000}"/>
          </ac:spMkLst>
        </pc:spChg>
      </pc:sldChg>
      <pc:sldChg chg="modSp mod">
        <pc:chgData name="John Paserba" userId="77bd6c8a-d0c1-4fea-8705-0169f65d0c0e" providerId="ADAL" clId="{C6420D40-AA9B-4302-8FA9-FAB2466E064A}" dt="2025-07-25T05:18:16.299" v="2337" actId="255"/>
        <pc:sldMkLst>
          <pc:docMk/>
          <pc:sldMk cId="2478508329" sldId="2147471759"/>
        </pc:sldMkLst>
        <pc:spChg chg="mod">
          <ac:chgData name="John Paserba" userId="77bd6c8a-d0c1-4fea-8705-0169f65d0c0e" providerId="ADAL" clId="{C6420D40-AA9B-4302-8FA9-FAB2466E064A}" dt="2025-07-25T05:18:16.299" v="2337" actId="255"/>
          <ac:spMkLst>
            <pc:docMk/>
            <pc:sldMk cId="2478508329" sldId="2147471759"/>
            <ac:spMk id="9" creationId="{BAAF9788-3882-7FD4-A043-13E164D06B60}"/>
          </ac:spMkLst>
        </pc:spChg>
      </pc:sldChg>
      <pc:sldChg chg="modSp mod">
        <pc:chgData name="John Paserba" userId="77bd6c8a-d0c1-4fea-8705-0169f65d0c0e" providerId="ADAL" clId="{C6420D40-AA9B-4302-8FA9-FAB2466E064A}" dt="2025-07-25T05:18:49.489" v="2340" actId="27636"/>
        <pc:sldMkLst>
          <pc:docMk/>
          <pc:sldMk cId="3146776872" sldId="2147471760"/>
        </pc:sldMkLst>
        <pc:spChg chg="mod">
          <ac:chgData name="John Paserba" userId="77bd6c8a-d0c1-4fea-8705-0169f65d0c0e" providerId="ADAL" clId="{C6420D40-AA9B-4302-8FA9-FAB2466E064A}" dt="2025-07-25T05:18:49.489" v="2340" actId="27636"/>
          <ac:spMkLst>
            <pc:docMk/>
            <pc:sldMk cId="3146776872" sldId="2147471760"/>
            <ac:spMk id="9" creationId="{BAAF9788-3882-7FD4-A043-13E164D06B60}"/>
          </ac:spMkLst>
        </pc:spChg>
        <pc:grpChg chg="mod">
          <ac:chgData name="John Paserba" userId="77bd6c8a-d0c1-4fea-8705-0169f65d0c0e" providerId="ADAL" clId="{C6420D40-AA9B-4302-8FA9-FAB2466E064A}" dt="2025-07-25T05:17:20.459" v="2331" actId="167"/>
          <ac:grpSpMkLst>
            <pc:docMk/>
            <pc:sldMk cId="3146776872" sldId="2147471760"/>
            <ac:grpSpMk id="6" creationId="{8A6B53C2-1FB3-4DC3-896F-F742E88FAAEA}"/>
          </ac:grpSpMkLst>
        </pc:grpChg>
      </pc:sldChg>
      <pc:sldChg chg="addSp delSp modSp mod">
        <pc:chgData name="John Paserba" userId="77bd6c8a-d0c1-4fea-8705-0169f65d0c0e" providerId="ADAL" clId="{C6420D40-AA9B-4302-8FA9-FAB2466E064A}" dt="2025-07-25T03:12:22.899" v="78" actId="20577"/>
        <pc:sldMkLst>
          <pc:docMk/>
          <pc:sldMk cId="1231416302" sldId="2147471764"/>
        </pc:sldMkLst>
        <pc:spChg chg="del">
          <ac:chgData name="John Paserba" userId="77bd6c8a-d0c1-4fea-8705-0169f65d0c0e" providerId="ADAL" clId="{C6420D40-AA9B-4302-8FA9-FAB2466E064A}" dt="2025-07-25T03:10:58.338" v="47" actId="478"/>
          <ac:spMkLst>
            <pc:docMk/>
            <pc:sldMk cId="1231416302" sldId="2147471764"/>
            <ac:spMk id="3" creationId="{05584248-AD94-4B96-8B08-076121515B4B}"/>
          </ac:spMkLst>
        </pc:spChg>
        <pc:graphicFrameChg chg="del">
          <ac:chgData name="John Paserba" userId="77bd6c8a-d0c1-4fea-8705-0169f65d0c0e" providerId="ADAL" clId="{C6420D40-AA9B-4302-8FA9-FAB2466E064A}" dt="2025-07-25T03:10:54.310" v="46" actId="478"/>
          <ac:graphicFrameMkLst>
            <pc:docMk/>
            <pc:sldMk cId="1231416302" sldId="2147471764"/>
            <ac:graphicFrameMk id="14" creationId="{1F1655B5-152F-4514-8CAD-24978BA60A25}"/>
          </ac:graphicFrameMkLst>
        </pc:graphicFrameChg>
        <pc:graphicFrameChg chg="add mod modGraphic">
          <ac:chgData name="John Paserba" userId="77bd6c8a-d0c1-4fea-8705-0169f65d0c0e" providerId="ADAL" clId="{C6420D40-AA9B-4302-8FA9-FAB2466E064A}" dt="2025-07-25T03:12:22.899" v="78" actId="20577"/>
          <ac:graphicFrameMkLst>
            <pc:docMk/>
            <pc:sldMk cId="1231416302" sldId="2147471764"/>
            <ac:graphicFrameMk id="15" creationId="{E72E45EB-E9EE-4AEA-8CB8-B36F4C66F942}"/>
          </ac:graphicFrameMkLst>
        </pc:graphicFrameChg>
      </pc:sldChg>
      <pc:sldChg chg="delSp modSp mod">
        <pc:chgData name="John Paserba" userId="77bd6c8a-d0c1-4fea-8705-0169f65d0c0e" providerId="ADAL" clId="{C6420D40-AA9B-4302-8FA9-FAB2466E064A}" dt="2025-07-25T05:09:04.045" v="2144" actId="14100"/>
        <pc:sldMkLst>
          <pc:docMk/>
          <pc:sldMk cId="3348747332" sldId="2147471768"/>
        </pc:sldMkLst>
        <pc:spChg chg="del">
          <ac:chgData name="John Paserba" userId="77bd6c8a-d0c1-4fea-8705-0169f65d0c0e" providerId="ADAL" clId="{C6420D40-AA9B-4302-8FA9-FAB2466E064A}" dt="2025-07-25T05:06:15.946" v="2000" actId="478"/>
          <ac:spMkLst>
            <pc:docMk/>
            <pc:sldMk cId="3348747332" sldId="2147471768"/>
            <ac:spMk id="21" creationId="{63B59D0B-1AEB-4453-9A44-CA37E5DE4508}"/>
          </ac:spMkLst>
        </pc:spChg>
        <pc:spChg chg="del">
          <ac:chgData name="John Paserba" userId="77bd6c8a-d0c1-4fea-8705-0169f65d0c0e" providerId="ADAL" clId="{C6420D40-AA9B-4302-8FA9-FAB2466E064A}" dt="2025-07-25T05:06:13.464" v="1999" actId="478"/>
          <ac:spMkLst>
            <pc:docMk/>
            <pc:sldMk cId="3348747332" sldId="2147471768"/>
            <ac:spMk id="27" creationId="{48790CF8-9819-40A9-9326-7F423C80CF72}"/>
          </ac:spMkLst>
        </pc:spChg>
        <pc:picChg chg="mod">
          <ac:chgData name="John Paserba" userId="77bd6c8a-d0c1-4fea-8705-0169f65d0c0e" providerId="ADAL" clId="{C6420D40-AA9B-4302-8FA9-FAB2466E064A}" dt="2025-07-25T05:09:04.045" v="2144" actId="14100"/>
          <ac:picMkLst>
            <pc:docMk/>
            <pc:sldMk cId="3348747332" sldId="2147471768"/>
            <ac:picMk id="3074" creationId="{DD688522-278F-5B0A-E3CE-B168B4C6D5C4}"/>
          </ac:picMkLst>
        </pc:picChg>
      </pc:sldChg>
      <pc:sldChg chg="delSp modSp mod">
        <pc:chgData name="John Paserba" userId="77bd6c8a-d0c1-4fea-8705-0169f65d0c0e" providerId="ADAL" clId="{C6420D40-AA9B-4302-8FA9-FAB2466E064A}" dt="2025-07-25T05:08:40.434" v="2139" actId="1076"/>
        <pc:sldMkLst>
          <pc:docMk/>
          <pc:sldMk cId="1230948448" sldId="2147471769"/>
        </pc:sldMkLst>
        <pc:spChg chg="mod">
          <ac:chgData name="John Paserba" userId="77bd6c8a-d0c1-4fea-8705-0169f65d0c0e" providerId="ADAL" clId="{C6420D40-AA9B-4302-8FA9-FAB2466E064A}" dt="2025-07-25T05:07:31.535" v="2004" actId="1076"/>
          <ac:spMkLst>
            <pc:docMk/>
            <pc:sldMk cId="1230948448" sldId="2147471769"/>
            <ac:spMk id="16" creationId="{AF99BA1B-BA35-4339-9F2B-0B96E53F6AFF}"/>
          </ac:spMkLst>
        </pc:spChg>
        <pc:spChg chg="mod">
          <ac:chgData name="John Paserba" userId="77bd6c8a-d0c1-4fea-8705-0169f65d0c0e" providerId="ADAL" clId="{C6420D40-AA9B-4302-8FA9-FAB2466E064A}" dt="2025-07-25T05:08:32.926" v="2137" actId="1037"/>
          <ac:spMkLst>
            <pc:docMk/>
            <pc:sldMk cId="1230948448" sldId="2147471769"/>
            <ac:spMk id="19" creationId="{5AC7194F-1259-4D5E-8A01-1B004A3BFA78}"/>
          </ac:spMkLst>
        </pc:spChg>
        <pc:spChg chg="del">
          <ac:chgData name="John Paserba" userId="77bd6c8a-d0c1-4fea-8705-0169f65d0c0e" providerId="ADAL" clId="{C6420D40-AA9B-4302-8FA9-FAB2466E064A}" dt="2025-07-25T05:06:21.149" v="2001" actId="478"/>
          <ac:spMkLst>
            <pc:docMk/>
            <pc:sldMk cId="1230948448" sldId="2147471769"/>
            <ac:spMk id="20" creationId="{118EF3F0-2A11-464F-B44D-BACFEBF4CF6C}"/>
          </ac:spMkLst>
        </pc:spChg>
        <pc:spChg chg="mod">
          <ac:chgData name="John Paserba" userId="77bd6c8a-d0c1-4fea-8705-0169f65d0c0e" providerId="ADAL" clId="{C6420D40-AA9B-4302-8FA9-FAB2466E064A}" dt="2025-07-25T05:07:51.106" v="2011" actId="14100"/>
          <ac:spMkLst>
            <pc:docMk/>
            <pc:sldMk cId="1230948448" sldId="2147471769"/>
            <ac:spMk id="21" creationId="{FE4B2705-C7C6-4EE0-9E21-FED3D5C31F03}"/>
          </ac:spMkLst>
        </pc:spChg>
        <pc:spChg chg="del">
          <ac:chgData name="John Paserba" userId="77bd6c8a-d0c1-4fea-8705-0169f65d0c0e" providerId="ADAL" clId="{C6420D40-AA9B-4302-8FA9-FAB2466E064A}" dt="2025-07-25T05:07:36.503" v="2007" actId="478"/>
          <ac:spMkLst>
            <pc:docMk/>
            <pc:sldMk cId="1230948448" sldId="2147471769"/>
            <ac:spMk id="22" creationId="{89788484-C2CE-4447-A3C6-EBD321F1E2F1}"/>
          </ac:spMkLst>
        </pc:spChg>
        <pc:spChg chg="del">
          <ac:chgData name="John Paserba" userId="77bd6c8a-d0c1-4fea-8705-0169f65d0c0e" providerId="ADAL" clId="{C6420D40-AA9B-4302-8FA9-FAB2466E064A}" dt="2025-07-25T05:06:23.693" v="2002" actId="478"/>
          <ac:spMkLst>
            <pc:docMk/>
            <pc:sldMk cId="1230948448" sldId="2147471769"/>
            <ac:spMk id="27" creationId="{48790CF8-9819-40A9-9326-7F423C80CF72}"/>
          </ac:spMkLst>
        </pc:spChg>
        <pc:grpChg chg="mod">
          <ac:chgData name="John Paserba" userId="77bd6c8a-d0c1-4fea-8705-0169f65d0c0e" providerId="ADAL" clId="{C6420D40-AA9B-4302-8FA9-FAB2466E064A}" dt="2025-07-25T05:07:31.535" v="2004" actId="1076"/>
          <ac:grpSpMkLst>
            <pc:docMk/>
            <pc:sldMk cId="1230948448" sldId="2147471769"/>
            <ac:grpSpMk id="15" creationId="{86F8FC6D-3276-4342-816D-03A0BD937FCF}"/>
          </ac:grpSpMkLst>
        </pc:grpChg>
        <pc:picChg chg="del">
          <ac:chgData name="John Paserba" userId="77bd6c8a-d0c1-4fea-8705-0169f65d0c0e" providerId="ADAL" clId="{C6420D40-AA9B-4302-8FA9-FAB2466E064A}" dt="2025-07-25T05:07:34.584" v="2006" actId="478"/>
          <ac:picMkLst>
            <pc:docMk/>
            <pc:sldMk cId="1230948448" sldId="2147471769"/>
            <ac:picMk id="3" creationId="{1ED89143-0DF9-B108-42B2-3D904A44B4C0}"/>
          </ac:picMkLst>
        </pc:picChg>
        <pc:picChg chg="del">
          <ac:chgData name="John Paserba" userId="77bd6c8a-d0c1-4fea-8705-0169f65d0c0e" providerId="ADAL" clId="{C6420D40-AA9B-4302-8FA9-FAB2466E064A}" dt="2025-07-25T05:07:33.967" v="2005" actId="478"/>
          <ac:picMkLst>
            <pc:docMk/>
            <pc:sldMk cId="1230948448" sldId="2147471769"/>
            <ac:picMk id="8" creationId="{E93B7107-15B2-07BD-3D4D-2944F5C2B76D}"/>
          </ac:picMkLst>
        </pc:picChg>
        <pc:picChg chg="mod">
          <ac:chgData name="John Paserba" userId="77bd6c8a-d0c1-4fea-8705-0169f65d0c0e" providerId="ADAL" clId="{C6420D40-AA9B-4302-8FA9-FAB2466E064A}" dt="2025-07-25T05:08:40.434" v="2139" actId="1076"/>
          <ac:picMkLst>
            <pc:docMk/>
            <pc:sldMk cId="1230948448" sldId="2147471769"/>
            <ac:picMk id="9" creationId="{9E6FCB2D-3852-4CBE-7E2F-5D5CE9832472}"/>
          </ac:picMkLst>
        </pc:picChg>
        <pc:picChg chg="mod">
          <ac:chgData name="John Paserba" userId="77bd6c8a-d0c1-4fea-8705-0169f65d0c0e" providerId="ADAL" clId="{C6420D40-AA9B-4302-8FA9-FAB2466E064A}" dt="2025-07-25T05:07:55.080" v="2012" actId="14100"/>
          <ac:picMkLst>
            <pc:docMk/>
            <pc:sldMk cId="1230948448" sldId="2147471769"/>
            <ac:picMk id="13" creationId="{EA0BBC32-6945-F2C1-3A81-4AFD6D3331F5}"/>
          </ac:picMkLst>
        </pc:picChg>
        <pc:picChg chg="mod">
          <ac:chgData name="John Paserba" userId="77bd6c8a-d0c1-4fea-8705-0169f65d0c0e" providerId="ADAL" clId="{C6420D40-AA9B-4302-8FA9-FAB2466E064A}" dt="2025-07-25T05:07:31.535" v="2004" actId="1076"/>
          <ac:picMkLst>
            <pc:docMk/>
            <pc:sldMk cId="1230948448" sldId="2147471769"/>
            <ac:picMk id="17" creationId="{0600D99D-E0BD-4F5B-8F5C-E6BE98E99663}"/>
          </ac:picMkLst>
        </pc:picChg>
      </pc:sldChg>
      <pc:sldChg chg="addSp delSp modSp add del mod">
        <pc:chgData name="John Paserba" userId="77bd6c8a-d0c1-4fea-8705-0169f65d0c0e" providerId="ADAL" clId="{C6420D40-AA9B-4302-8FA9-FAB2466E064A}" dt="2025-07-25T03:37:37.544" v="139" actId="47"/>
        <pc:sldMkLst>
          <pc:docMk/>
          <pc:sldMk cId="402123912" sldId="2147471772"/>
        </pc:sldMkLst>
        <pc:spChg chg="del">
          <ac:chgData name="John Paserba" userId="77bd6c8a-d0c1-4fea-8705-0169f65d0c0e" providerId="ADAL" clId="{C6420D40-AA9B-4302-8FA9-FAB2466E064A}" dt="2025-07-25T03:36:25.717" v="132" actId="478"/>
          <ac:spMkLst>
            <pc:docMk/>
            <pc:sldMk cId="402123912" sldId="2147471772"/>
            <ac:spMk id="6" creationId="{B6CC29C9-274B-5417-B9D2-0B5001B2C5D1}"/>
          </ac:spMkLst>
        </pc:spChg>
        <pc:spChg chg="del">
          <ac:chgData name="John Paserba" userId="77bd6c8a-d0c1-4fea-8705-0169f65d0c0e" providerId="ADAL" clId="{C6420D40-AA9B-4302-8FA9-FAB2466E064A}" dt="2025-07-25T03:36:25.717" v="132" actId="478"/>
          <ac:spMkLst>
            <pc:docMk/>
            <pc:sldMk cId="402123912" sldId="2147471772"/>
            <ac:spMk id="7" creationId="{7BACED1F-255B-31CF-1B3A-CFEC4680348D}"/>
          </ac:spMkLst>
        </pc:spChg>
        <pc:spChg chg="del">
          <ac:chgData name="John Paserba" userId="77bd6c8a-d0c1-4fea-8705-0169f65d0c0e" providerId="ADAL" clId="{C6420D40-AA9B-4302-8FA9-FAB2466E064A}" dt="2025-07-25T03:36:25.717" v="132" actId="478"/>
          <ac:spMkLst>
            <pc:docMk/>
            <pc:sldMk cId="402123912" sldId="2147471772"/>
            <ac:spMk id="19" creationId="{2328F2B2-FA7E-2F29-7243-93994433DAD1}"/>
          </ac:spMkLst>
        </pc:spChg>
        <pc:spChg chg="del">
          <ac:chgData name="John Paserba" userId="77bd6c8a-d0c1-4fea-8705-0169f65d0c0e" providerId="ADAL" clId="{C6420D40-AA9B-4302-8FA9-FAB2466E064A}" dt="2025-07-25T03:36:25.717" v="132" actId="478"/>
          <ac:spMkLst>
            <pc:docMk/>
            <pc:sldMk cId="402123912" sldId="2147471772"/>
            <ac:spMk id="20" creationId="{4CDD2D05-FC2C-6FC6-CBE1-A4466F3CDA30}"/>
          </ac:spMkLst>
        </pc:spChg>
        <pc:spChg chg="del">
          <ac:chgData name="John Paserba" userId="77bd6c8a-d0c1-4fea-8705-0169f65d0c0e" providerId="ADAL" clId="{C6420D40-AA9B-4302-8FA9-FAB2466E064A}" dt="2025-07-25T03:36:25.717" v="132" actId="478"/>
          <ac:spMkLst>
            <pc:docMk/>
            <pc:sldMk cId="402123912" sldId="2147471772"/>
            <ac:spMk id="22" creationId="{C64BEE64-2B56-E2D5-54A5-0F73A959D7EF}"/>
          </ac:spMkLst>
        </pc:spChg>
        <pc:spChg chg="del">
          <ac:chgData name="John Paserba" userId="77bd6c8a-d0c1-4fea-8705-0169f65d0c0e" providerId="ADAL" clId="{C6420D40-AA9B-4302-8FA9-FAB2466E064A}" dt="2025-07-25T03:36:25.717" v="132" actId="478"/>
          <ac:spMkLst>
            <pc:docMk/>
            <pc:sldMk cId="402123912" sldId="2147471772"/>
            <ac:spMk id="23" creationId="{54BC2994-4F5B-8161-DEDC-EC2BC3C56333}"/>
          </ac:spMkLst>
        </pc:spChg>
        <pc:spChg chg="del">
          <ac:chgData name="John Paserba" userId="77bd6c8a-d0c1-4fea-8705-0169f65d0c0e" providerId="ADAL" clId="{C6420D40-AA9B-4302-8FA9-FAB2466E064A}" dt="2025-07-25T03:36:25.717" v="132" actId="478"/>
          <ac:spMkLst>
            <pc:docMk/>
            <pc:sldMk cId="402123912" sldId="2147471772"/>
            <ac:spMk id="24" creationId="{7CE36655-799A-74B4-DE03-8DF8F0969AEE}"/>
          </ac:spMkLst>
        </pc:spChg>
        <pc:spChg chg="add mod">
          <ac:chgData name="John Paserba" userId="77bd6c8a-d0c1-4fea-8705-0169f65d0c0e" providerId="ADAL" clId="{C6420D40-AA9B-4302-8FA9-FAB2466E064A}" dt="2025-07-25T03:37:00.248" v="138" actId="14100"/>
          <ac:spMkLst>
            <pc:docMk/>
            <pc:sldMk cId="402123912" sldId="2147471772"/>
            <ac:spMk id="32" creationId="{74002698-99A2-45E7-BB9A-9BE40A4F1C34}"/>
          </ac:spMkLst>
        </pc:spChg>
        <pc:spChg chg="del">
          <ac:chgData name="John Paserba" userId="77bd6c8a-d0c1-4fea-8705-0169f65d0c0e" providerId="ADAL" clId="{C6420D40-AA9B-4302-8FA9-FAB2466E064A}" dt="2025-07-25T03:36:25.717" v="132" actId="478"/>
          <ac:spMkLst>
            <pc:docMk/>
            <pc:sldMk cId="402123912" sldId="2147471772"/>
            <ac:spMk id="3328012" creationId="{71CE656D-750C-F6AE-D7D3-CD9282411A4D}"/>
          </ac:spMkLst>
        </pc:spChg>
        <pc:cxnChg chg="del">
          <ac:chgData name="John Paserba" userId="77bd6c8a-d0c1-4fea-8705-0169f65d0c0e" providerId="ADAL" clId="{C6420D40-AA9B-4302-8FA9-FAB2466E064A}" dt="2025-07-25T03:36:31.091" v="134" actId="478"/>
          <ac:cxnSpMkLst>
            <pc:docMk/>
            <pc:sldMk cId="402123912" sldId="2147471772"/>
            <ac:cxnSpMk id="9" creationId="{131C636E-EDB1-7025-E01C-EE631F96E655}"/>
          </ac:cxnSpMkLst>
        </pc:cxnChg>
        <pc:cxnChg chg="del mod">
          <ac:chgData name="John Paserba" userId="77bd6c8a-d0c1-4fea-8705-0169f65d0c0e" providerId="ADAL" clId="{C6420D40-AA9B-4302-8FA9-FAB2466E064A}" dt="2025-07-25T03:36:25.717" v="132" actId="478"/>
          <ac:cxnSpMkLst>
            <pc:docMk/>
            <pc:sldMk cId="402123912" sldId="2147471772"/>
            <ac:cxnSpMk id="11" creationId="{3AFE5A03-FC78-9E79-F32C-6296834BA3AE}"/>
          </ac:cxnSpMkLst>
        </pc:cxnChg>
        <pc:cxnChg chg="del mod">
          <ac:chgData name="John Paserba" userId="77bd6c8a-d0c1-4fea-8705-0169f65d0c0e" providerId="ADAL" clId="{C6420D40-AA9B-4302-8FA9-FAB2466E064A}" dt="2025-07-25T03:36:28.464" v="133" actId="478"/>
          <ac:cxnSpMkLst>
            <pc:docMk/>
            <pc:sldMk cId="402123912" sldId="2147471772"/>
            <ac:cxnSpMk id="26" creationId="{F9044491-F2E0-1FC9-440F-FA4A80F0C092}"/>
          </ac:cxnSpMkLst>
        </pc:cxnChg>
        <pc:cxnChg chg="del">
          <ac:chgData name="John Paserba" userId="77bd6c8a-d0c1-4fea-8705-0169f65d0c0e" providerId="ADAL" clId="{C6420D40-AA9B-4302-8FA9-FAB2466E064A}" dt="2025-07-25T03:36:25.717" v="132" actId="478"/>
          <ac:cxnSpMkLst>
            <pc:docMk/>
            <pc:sldMk cId="402123912" sldId="2147471772"/>
            <ac:cxnSpMk id="28" creationId="{625A2128-8131-087E-C26C-DBCA10BFF681}"/>
          </ac:cxnSpMkLst>
        </pc:cxnChg>
        <pc:cxnChg chg="del">
          <ac:chgData name="John Paserba" userId="77bd6c8a-d0c1-4fea-8705-0169f65d0c0e" providerId="ADAL" clId="{C6420D40-AA9B-4302-8FA9-FAB2466E064A}" dt="2025-07-25T03:36:25.717" v="132" actId="478"/>
          <ac:cxnSpMkLst>
            <pc:docMk/>
            <pc:sldMk cId="402123912" sldId="2147471772"/>
            <ac:cxnSpMk id="31" creationId="{5E586251-A3BC-8847-2314-8224B2028609}"/>
          </ac:cxnSpMkLst>
        </pc:cxnChg>
        <pc:cxnChg chg="del">
          <ac:chgData name="John Paserba" userId="77bd6c8a-d0c1-4fea-8705-0169f65d0c0e" providerId="ADAL" clId="{C6420D40-AA9B-4302-8FA9-FAB2466E064A}" dt="2025-07-25T03:36:25.717" v="132" actId="478"/>
          <ac:cxnSpMkLst>
            <pc:docMk/>
            <pc:sldMk cId="402123912" sldId="2147471772"/>
            <ac:cxnSpMk id="3328000" creationId="{3D0916FF-6F0A-026F-7887-64011F7385E2}"/>
          </ac:cxnSpMkLst>
        </pc:cxnChg>
        <pc:cxnChg chg="del">
          <ac:chgData name="John Paserba" userId="77bd6c8a-d0c1-4fea-8705-0169f65d0c0e" providerId="ADAL" clId="{C6420D40-AA9B-4302-8FA9-FAB2466E064A}" dt="2025-07-25T03:36:25.717" v="132" actId="478"/>
          <ac:cxnSpMkLst>
            <pc:docMk/>
            <pc:sldMk cId="402123912" sldId="2147471772"/>
            <ac:cxnSpMk id="3328001" creationId="{43CCB244-6F64-2F07-418D-98B58231D7F4}"/>
          </ac:cxnSpMkLst>
        </pc:cxnChg>
        <pc:cxnChg chg="del">
          <ac:chgData name="John Paserba" userId="77bd6c8a-d0c1-4fea-8705-0169f65d0c0e" providerId="ADAL" clId="{C6420D40-AA9B-4302-8FA9-FAB2466E064A}" dt="2025-07-25T03:36:25.717" v="132" actId="478"/>
          <ac:cxnSpMkLst>
            <pc:docMk/>
            <pc:sldMk cId="402123912" sldId="2147471772"/>
            <ac:cxnSpMk id="3328007" creationId="{6C4E1EA8-6D5A-A18E-DC62-EDE48D2985FD}"/>
          </ac:cxnSpMkLst>
        </pc:cxnChg>
        <pc:cxnChg chg="del">
          <ac:chgData name="John Paserba" userId="77bd6c8a-d0c1-4fea-8705-0169f65d0c0e" providerId="ADAL" clId="{C6420D40-AA9B-4302-8FA9-FAB2466E064A}" dt="2025-07-25T03:36:25.717" v="132" actId="478"/>
          <ac:cxnSpMkLst>
            <pc:docMk/>
            <pc:sldMk cId="402123912" sldId="2147471772"/>
            <ac:cxnSpMk id="3328011" creationId="{33A701D9-EBB4-4C55-116D-59FF05F1DADB}"/>
          </ac:cxnSpMkLst>
        </pc:cxnChg>
      </pc:sldChg>
      <pc:sldChg chg="modSp add mod">
        <pc:chgData name="John Paserba" userId="77bd6c8a-d0c1-4fea-8705-0169f65d0c0e" providerId="ADAL" clId="{C6420D40-AA9B-4302-8FA9-FAB2466E064A}" dt="2025-07-25T04:14:21.928" v="1911" actId="20577"/>
        <pc:sldMkLst>
          <pc:docMk/>
          <pc:sldMk cId="3980057186" sldId="2147471772"/>
        </pc:sldMkLst>
        <pc:spChg chg="mod">
          <ac:chgData name="John Paserba" userId="77bd6c8a-d0c1-4fea-8705-0169f65d0c0e" providerId="ADAL" clId="{C6420D40-AA9B-4302-8FA9-FAB2466E064A}" dt="2025-07-25T04:14:21.928" v="1911" actId="20577"/>
          <ac:spMkLst>
            <pc:docMk/>
            <pc:sldMk cId="3980057186" sldId="2147471772"/>
            <ac:spMk id="3" creationId="{E6993746-A424-4F09-867F-B919F4E18ECB}"/>
          </ac:spMkLst>
        </pc:spChg>
        <pc:spChg chg="mod">
          <ac:chgData name="John Paserba" userId="77bd6c8a-d0c1-4fea-8705-0169f65d0c0e" providerId="ADAL" clId="{C6420D40-AA9B-4302-8FA9-FAB2466E064A}" dt="2025-07-25T03:53:56.814" v="801"/>
          <ac:spMkLst>
            <pc:docMk/>
            <pc:sldMk cId="3980057186" sldId="2147471772"/>
            <ac:spMk id="3328002" creationId="{00000000-0000-0000-0000-000000000000}"/>
          </ac:spMkLst>
        </pc:spChg>
      </pc:sldChg>
      <pc:sldChg chg="modSp add mod">
        <pc:chgData name="John Paserba" userId="77bd6c8a-d0c1-4fea-8705-0169f65d0c0e" providerId="ADAL" clId="{C6420D40-AA9B-4302-8FA9-FAB2466E064A}" dt="2025-07-25T05:15:45.767" v="2233" actId="179"/>
        <pc:sldMkLst>
          <pc:docMk/>
          <pc:sldMk cId="93880916" sldId="2147471773"/>
        </pc:sldMkLst>
        <pc:spChg chg="mod">
          <ac:chgData name="John Paserba" userId="77bd6c8a-d0c1-4fea-8705-0169f65d0c0e" providerId="ADAL" clId="{C6420D40-AA9B-4302-8FA9-FAB2466E064A}" dt="2025-07-25T05:15:45.767" v="2233" actId="179"/>
          <ac:spMkLst>
            <pc:docMk/>
            <pc:sldMk cId="93880916" sldId="2147471773"/>
            <ac:spMk id="9" creationId="{BAAF9788-3882-7FD4-A043-13E164D06B60}"/>
          </ac:spMkLst>
        </pc:spChg>
        <pc:spChg chg="mod">
          <ac:chgData name="John Paserba" userId="77bd6c8a-d0c1-4fea-8705-0169f65d0c0e" providerId="ADAL" clId="{C6420D40-AA9B-4302-8FA9-FAB2466E064A}" dt="2025-07-25T05:13:58.167" v="2213" actId="20577"/>
          <ac:spMkLst>
            <pc:docMk/>
            <pc:sldMk cId="93880916" sldId="2147471773"/>
            <ac:spMk id="3328002" creationId="{00000000-0000-0000-0000-000000000000}"/>
          </ac:spMkLst>
        </pc:spChg>
      </pc:sldChg>
      <pc:sldChg chg="modSp add mod">
        <pc:chgData name="John Paserba" userId="77bd6c8a-d0c1-4fea-8705-0169f65d0c0e" providerId="ADAL" clId="{C6420D40-AA9B-4302-8FA9-FAB2466E064A}" dt="2025-07-25T05:20:43.187" v="2357" actId="20577"/>
        <pc:sldMkLst>
          <pc:docMk/>
          <pc:sldMk cId="2346600380" sldId="2147471774"/>
        </pc:sldMkLst>
        <pc:spChg chg="mod">
          <ac:chgData name="John Paserba" userId="77bd6c8a-d0c1-4fea-8705-0169f65d0c0e" providerId="ADAL" clId="{C6420D40-AA9B-4302-8FA9-FAB2466E064A}" dt="2025-07-25T05:20:43.187" v="2357" actId="20577"/>
          <ac:spMkLst>
            <pc:docMk/>
            <pc:sldMk cId="2346600380" sldId="2147471774"/>
            <ac:spMk id="9" creationId="{BAAF9788-3882-7FD4-A043-13E164D06B60}"/>
          </ac:spMkLst>
        </pc:spChg>
      </pc:sldChg>
      <pc:sldChg chg="delSp modSp add mod">
        <pc:chgData name="John Paserba" userId="77bd6c8a-d0c1-4fea-8705-0169f65d0c0e" providerId="ADAL" clId="{C6420D40-AA9B-4302-8FA9-FAB2466E064A}" dt="2025-07-25T05:33:02.240" v="2416" actId="478"/>
        <pc:sldMkLst>
          <pc:docMk/>
          <pc:sldMk cId="3977096975" sldId="2147471775"/>
        </pc:sldMkLst>
        <pc:spChg chg="del">
          <ac:chgData name="John Paserba" userId="77bd6c8a-d0c1-4fea-8705-0169f65d0c0e" providerId="ADAL" clId="{C6420D40-AA9B-4302-8FA9-FAB2466E064A}" dt="2025-07-25T05:33:02.240" v="2416" actId="478"/>
          <ac:spMkLst>
            <pc:docMk/>
            <pc:sldMk cId="3977096975" sldId="2147471775"/>
            <ac:spMk id="7" creationId="{00000000-0000-0000-0000-000000000000}"/>
          </ac:spMkLst>
        </pc:spChg>
        <pc:spChg chg="del">
          <ac:chgData name="John Paserba" userId="77bd6c8a-d0c1-4fea-8705-0169f65d0c0e" providerId="ADAL" clId="{C6420D40-AA9B-4302-8FA9-FAB2466E064A}" dt="2025-07-25T05:32:58.273" v="2415" actId="478"/>
          <ac:spMkLst>
            <pc:docMk/>
            <pc:sldMk cId="3977096975" sldId="2147471775"/>
            <ac:spMk id="17" creationId="{089B1281-79A8-42F9-A5E4-400470C4EB84}"/>
          </ac:spMkLst>
        </pc:spChg>
        <pc:spChg chg="mod">
          <ac:chgData name="John Paserba" userId="77bd6c8a-d0c1-4fea-8705-0169f65d0c0e" providerId="ADAL" clId="{C6420D40-AA9B-4302-8FA9-FAB2466E064A}" dt="2025-07-25T05:32:54.314" v="2414" actId="20577"/>
          <ac:spMkLst>
            <pc:docMk/>
            <pc:sldMk cId="3977096975" sldId="2147471775"/>
            <ac:spMk id="19" creationId="{00000000-0000-0000-0000-000000000000}"/>
          </ac:spMkLst>
        </pc:spChg>
        <pc:graphicFrameChg chg="del">
          <ac:chgData name="John Paserba" userId="77bd6c8a-d0c1-4fea-8705-0169f65d0c0e" providerId="ADAL" clId="{C6420D40-AA9B-4302-8FA9-FAB2466E064A}" dt="2025-07-25T05:32:48.051" v="2410" actId="478"/>
          <ac:graphicFrameMkLst>
            <pc:docMk/>
            <pc:sldMk cId="3977096975" sldId="2147471775"/>
            <ac:graphicFrameMk id="11" creationId="{F3DED44F-C0EF-4935-A06B-3FC910885FD8}"/>
          </ac:graphicFrameMkLst>
        </pc:graphicFrameChg>
        <pc:graphicFrameChg chg="del">
          <ac:chgData name="John Paserba" userId="77bd6c8a-d0c1-4fea-8705-0169f65d0c0e" providerId="ADAL" clId="{C6420D40-AA9B-4302-8FA9-FAB2466E064A}" dt="2025-07-25T05:32:48.051" v="2410" actId="478"/>
          <ac:graphicFrameMkLst>
            <pc:docMk/>
            <pc:sldMk cId="3977096975" sldId="2147471775"/>
            <ac:graphicFrameMk id="23" creationId="{246D33A1-F41E-43A4-AAF9-44CABDCD04C2}"/>
          </ac:graphicFrameMkLst>
        </pc:graphicFrameChg>
        <pc:graphicFrameChg chg="del">
          <ac:chgData name="John Paserba" userId="77bd6c8a-d0c1-4fea-8705-0169f65d0c0e" providerId="ADAL" clId="{C6420D40-AA9B-4302-8FA9-FAB2466E064A}" dt="2025-07-25T05:32:45.361" v="2409" actId="478"/>
          <ac:graphicFrameMkLst>
            <pc:docMk/>
            <pc:sldMk cId="3977096975" sldId="2147471775"/>
            <ac:graphicFrameMk id="24" creationId="{15813888-BDE7-483A-B111-3A6C5F25E35B}"/>
          </ac:graphicFrameMkLst>
        </pc:graphicFrameChg>
        <pc:picChg chg="del">
          <ac:chgData name="John Paserba" userId="77bd6c8a-d0c1-4fea-8705-0169f65d0c0e" providerId="ADAL" clId="{C6420D40-AA9B-4302-8FA9-FAB2466E064A}" dt="2025-07-25T05:32:42.923" v="2408" actId="478"/>
          <ac:picMkLst>
            <pc:docMk/>
            <pc:sldMk cId="3977096975" sldId="2147471775"/>
            <ac:picMk id="2" creationId="{6B489679-5AA4-4E5F-B43F-E4E6752F3FBB}"/>
          </ac:picMkLst>
        </pc:picChg>
      </pc:sldChg>
    </pc:docChg>
  </pc:docChgLst>
  <pc:docChgLst>
    <pc:chgData name="John Paserba" userId="77bd6c8a-d0c1-4fea-8705-0169f65d0c0e" providerId="ADAL" clId="{A6128F38-4E41-492B-9A20-DD3EF30EF7A5}"/>
    <pc:docChg chg="undo redo custSel addSld delSld modSld sldOrd">
      <pc:chgData name="John Paserba" userId="77bd6c8a-d0c1-4fea-8705-0169f65d0c0e" providerId="ADAL" clId="{A6128F38-4E41-492B-9A20-DD3EF30EF7A5}" dt="2025-10-15T04:55:48.037" v="1217"/>
      <pc:docMkLst>
        <pc:docMk/>
      </pc:docMkLst>
      <pc:sldChg chg="delSp del mod">
        <pc:chgData name="John Paserba" userId="77bd6c8a-d0c1-4fea-8705-0169f65d0c0e" providerId="ADAL" clId="{A6128F38-4E41-492B-9A20-DD3EF30EF7A5}" dt="2025-10-15T04:08:14.853" v="735" actId="47"/>
        <pc:sldMkLst>
          <pc:docMk/>
          <pc:sldMk cId="4022853053" sldId="2147471138"/>
        </pc:sldMkLst>
        <pc:spChg chg="del">
          <ac:chgData name="John Paserba" userId="77bd6c8a-d0c1-4fea-8705-0169f65d0c0e" providerId="ADAL" clId="{A6128F38-4E41-492B-9A20-DD3EF30EF7A5}" dt="2025-10-15T04:06:12.061" v="724" actId="478"/>
          <ac:spMkLst>
            <pc:docMk/>
            <pc:sldMk cId="4022853053" sldId="2147471138"/>
            <ac:spMk id="14" creationId="{6E761FC8-9F26-4B09-BB08-C347C17E1554}"/>
          </ac:spMkLst>
        </pc:spChg>
      </pc:sldChg>
      <pc:sldChg chg="modSp mod">
        <pc:chgData name="John Paserba" userId="77bd6c8a-d0c1-4fea-8705-0169f65d0c0e" providerId="ADAL" clId="{A6128F38-4E41-492B-9A20-DD3EF30EF7A5}" dt="2025-10-15T03:13:50.610" v="415" actId="207"/>
        <pc:sldMkLst>
          <pc:docMk/>
          <pc:sldMk cId="2989192699" sldId="2147471182"/>
        </pc:sldMkLst>
        <pc:spChg chg="mod">
          <ac:chgData name="John Paserba" userId="77bd6c8a-d0c1-4fea-8705-0169f65d0c0e" providerId="ADAL" clId="{A6128F38-4E41-492B-9A20-DD3EF30EF7A5}" dt="2025-10-15T03:13:50.610" v="415" actId="207"/>
          <ac:spMkLst>
            <pc:docMk/>
            <pc:sldMk cId="2989192699" sldId="2147471182"/>
            <ac:spMk id="7" creationId="{1F854A07-2B15-D382-1601-B5B7A9F11842}"/>
          </ac:spMkLst>
        </pc:spChg>
      </pc:sldChg>
      <pc:sldChg chg="modSp mod">
        <pc:chgData name="John Paserba" userId="77bd6c8a-d0c1-4fea-8705-0169f65d0c0e" providerId="ADAL" clId="{A6128F38-4E41-492B-9A20-DD3EF30EF7A5}" dt="2025-10-15T03:13:54.059" v="416" actId="207"/>
        <pc:sldMkLst>
          <pc:docMk/>
          <pc:sldMk cId="720949376" sldId="2147471183"/>
        </pc:sldMkLst>
        <pc:spChg chg="mod">
          <ac:chgData name="John Paserba" userId="77bd6c8a-d0c1-4fea-8705-0169f65d0c0e" providerId="ADAL" clId="{A6128F38-4E41-492B-9A20-DD3EF30EF7A5}" dt="2025-10-15T03:13:47.910" v="414" actId="207"/>
          <ac:spMkLst>
            <pc:docMk/>
            <pc:sldMk cId="720949376" sldId="2147471183"/>
            <ac:spMk id="14" creationId="{CC554E5D-391F-B38E-DA3A-36F9649EDD12}"/>
          </ac:spMkLst>
        </pc:spChg>
        <pc:spChg chg="mod">
          <ac:chgData name="John Paserba" userId="77bd6c8a-d0c1-4fea-8705-0169f65d0c0e" providerId="ADAL" clId="{A6128F38-4E41-492B-9A20-DD3EF30EF7A5}" dt="2025-10-15T03:13:54.059" v="416" actId="207"/>
          <ac:spMkLst>
            <pc:docMk/>
            <pc:sldMk cId="720949376" sldId="2147471183"/>
            <ac:spMk id="15" creationId="{B88EFF8F-1C39-B356-7BEA-1B6D6BD26108}"/>
          </ac:spMkLst>
        </pc:spChg>
      </pc:sldChg>
      <pc:sldChg chg="addSp delSp modSp mod">
        <pc:chgData name="John Paserba" userId="77bd6c8a-d0c1-4fea-8705-0169f65d0c0e" providerId="ADAL" clId="{A6128F38-4E41-492B-9A20-DD3EF30EF7A5}" dt="2025-10-15T04:42:08.012" v="1138" actId="1036"/>
        <pc:sldMkLst>
          <pc:docMk/>
          <pc:sldMk cId="586829096" sldId="2147471185"/>
        </pc:sldMkLst>
        <pc:spChg chg="del mod">
          <ac:chgData name="John Paserba" userId="77bd6c8a-d0c1-4fea-8705-0169f65d0c0e" providerId="ADAL" clId="{A6128F38-4E41-492B-9A20-DD3EF30EF7A5}" dt="2025-10-15T04:38:16.893" v="1089" actId="478"/>
          <ac:spMkLst>
            <pc:docMk/>
            <pc:sldMk cId="586829096" sldId="2147471185"/>
            <ac:spMk id="14" creationId="{00000000-0000-0000-0000-000000000000}"/>
          </ac:spMkLst>
        </pc:spChg>
        <pc:spChg chg="del">
          <ac:chgData name="John Paserba" userId="77bd6c8a-d0c1-4fea-8705-0169f65d0c0e" providerId="ADAL" clId="{A6128F38-4E41-492B-9A20-DD3EF30EF7A5}" dt="2025-10-15T04:38:34.789" v="1092" actId="478"/>
          <ac:spMkLst>
            <pc:docMk/>
            <pc:sldMk cId="586829096" sldId="2147471185"/>
            <ac:spMk id="17" creationId="{AD677BD6-EC80-536C-73C3-86CFCE62A25E}"/>
          </ac:spMkLst>
        </pc:spChg>
        <pc:spChg chg="mod">
          <ac:chgData name="John Paserba" userId="77bd6c8a-d0c1-4fea-8705-0169f65d0c0e" providerId="ADAL" clId="{A6128F38-4E41-492B-9A20-DD3EF30EF7A5}" dt="2025-10-15T04:41:26.391" v="1126" actId="1035"/>
          <ac:spMkLst>
            <pc:docMk/>
            <pc:sldMk cId="586829096" sldId="2147471185"/>
            <ac:spMk id="19" creationId="{797C1998-5A37-448E-82DD-0AFCA5603D8B}"/>
          </ac:spMkLst>
        </pc:spChg>
        <pc:spChg chg="add del mod">
          <ac:chgData name="John Paserba" userId="77bd6c8a-d0c1-4fea-8705-0169f65d0c0e" providerId="ADAL" clId="{A6128F38-4E41-492B-9A20-DD3EF30EF7A5}" dt="2025-10-15T04:38:32.051" v="1091"/>
          <ac:spMkLst>
            <pc:docMk/>
            <pc:sldMk cId="586829096" sldId="2147471185"/>
            <ac:spMk id="20" creationId="{780B58DF-7050-43F3-ACE8-1519D4E71843}"/>
          </ac:spMkLst>
        </pc:spChg>
        <pc:spChg chg="add mod">
          <ac:chgData name="John Paserba" userId="77bd6c8a-d0c1-4fea-8705-0169f65d0c0e" providerId="ADAL" clId="{A6128F38-4E41-492B-9A20-DD3EF30EF7A5}" dt="2025-10-15T04:40:48.594" v="1119" actId="14100"/>
          <ac:spMkLst>
            <pc:docMk/>
            <pc:sldMk cId="586829096" sldId="2147471185"/>
            <ac:spMk id="22" creationId="{E285CF2D-C718-433A-9ADB-CF02886B15AB}"/>
          </ac:spMkLst>
        </pc:spChg>
        <pc:graphicFrameChg chg="del">
          <ac:chgData name="John Paserba" userId="77bd6c8a-d0c1-4fea-8705-0169f65d0c0e" providerId="ADAL" clId="{A6128F38-4E41-492B-9A20-DD3EF30EF7A5}" dt="2025-10-15T04:38:07.732" v="1088" actId="478"/>
          <ac:graphicFrameMkLst>
            <pc:docMk/>
            <pc:sldMk cId="586829096" sldId="2147471185"/>
            <ac:graphicFrameMk id="5" creationId="{00000000-0000-0000-0000-000000000000}"/>
          </ac:graphicFrameMkLst>
        </pc:graphicFrameChg>
        <pc:graphicFrameChg chg="del">
          <ac:chgData name="John Paserba" userId="77bd6c8a-d0c1-4fea-8705-0169f65d0c0e" providerId="ADAL" clId="{A6128F38-4E41-492B-9A20-DD3EF30EF7A5}" dt="2025-10-15T04:41:34.088" v="1127" actId="478"/>
          <ac:graphicFrameMkLst>
            <pc:docMk/>
            <pc:sldMk cId="586829096" sldId="2147471185"/>
            <ac:graphicFrameMk id="16" creationId="{F7282755-E93F-9D11-5137-ADEAE97DB6C8}"/>
          </ac:graphicFrameMkLst>
        </pc:graphicFrameChg>
        <pc:graphicFrameChg chg="add del mod">
          <ac:chgData name="John Paserba" userId="77bd6c8a-d0c1-4fea-8705-0169f65d0c0e" providerId="ADAL" clId="{A6128F38-4E41-492B-9A20-DD3EF30EF7A5}" dt="2025-10-15T04:38:32.051" v="1091"/>
          <ac:graphicFrameMkLst>
            <pc:docMk/>
            <pc:sldMk cId="586829096" sldId="2147471185"/>
            <ac:graphicFrameMk id="18" creationId="{AD784F9A-CE53-4A96-941A-B189B047F0E1}"/>
          </ac:graphicFrameMkLst>
        </pc:graphicFrameChg>
        <pc:graphicFrameChg chg="add mod">
          <ac:chgData name="John Paserba" userId="77bd6c8a-d0c1-4fea-8705-0169f65d0c0e" providerId="ADAL" clId="{A6128F38-4E41-492B-9A20-DD3EF30EF7A5}" dt="2025-10-15T04:38:37.012" v="1093"/>
          <ac:graphicFrameMkLst>
            <pc:docMk/>
            <pc:sldMk cId="586829096" sldId="2147471185"/>
            <ac:graphicFrameMk id="21" creationId="{A60E9BF1-5140-4E8C-B5DC-A41539EC2A86}"/>
          </ac:graphicFrameMkLst>
        </pc:graphicFrameChg>
        <pc:graphicFrameChg chg="add mod modGraphic">
          <ac:chgData name="John Paserba" userId="77bd6c8a-d0c1-4fea-8705-0169f65d0c0e" providerId="ADAL" clId="{A6128F38-4E41-492B-9A20-DD3EF30EF7A5}" dt="2025-10-15T04:42:08.012" v="1138" actId="1036"/>
          <ac:graphicFrameMkLst>
            <pc:docMk/>
            <pc:sldMk cId="586829096" sldId="2147471185"/>
            <ac:graphicFrameMk id="23" creationId="{5824833E-AA46-426B-8578-687B3D1DEA84}"/>
          </ac:graphicFrameMkLst>
        </pc:graphicFrameChg>
      </pc:sldChg>
      <pc:sldChg chg="modSp mod">
        <pc:chgData name="John Paserba" userId="77bd6c8a-d0c1-4fea-8705-0169f65d0c0e" providerId="ADAL" clId="{A6128F38-4E41-492B-9A20-DD3EF30EF7A5}" dt="2025-10-15T03:14:59.024" v="427" actId="20577"/>
        <pc:sldMkLst>
          <pc:docMk/>
          <pc:sldMk cId="3988688197" sldId="2147471187"/>
        </pc:sldMkLst>
        <pc:spChg chg="mod">
          <ac:chgData name="John Paserba" userId="77bd6c8a-d0c1-4fea-8705-0169f65d0c0e" providerId="ADAL" clId="{A6128F38-4E41-492B-9A20-DD3EF30EF7A5}" dt="2025-10-15T03:14:59.024" v="427" actId="20577"/>
          <ac:spMkLst>
            <pc:docMk/>
            <pc:sldMk cId="3988688197" sldId="2147471187"/>
            <ac:spMk id="5" creationId="{6F20F5EE-239B-245C-C76E-33E3340BDF30}"/>
          </ac:spMkLst>
        </pc:spChg>
      </pc:sldChg>
      <pc:sldChg chg="modSp mod">
        <pc:chgData name="John Paserba" userId="77bd6c8a-d0c1-4fea-8705-0169f65d0c0e" providerId="ADAL" clId="{A6128F38-4E41-492B-9A20-DD3EF30EF7A5}" dt="2025-10-15T03:15:11.512" v="428" actId="948"/>
        <pc:sldMkLst>
          <pc:docMk/>
          <pc:sldMk cId="226625141" sldId="2147471194"/>
        </pc:sldMkLst>
        <pc:spChg chg="mod">
          <ac:chgData name="John Paserba" userId="77bd6c8a-d0c1-4fea-8705-0169f65d0c0e" providerId="ADAL" clId="{A6128F38-4E41-492B-9A20-DD3EF30EF7A5}" dt="2025-10-15T03:15:11.512" v="428" actId="948"/>
          <ac:spMkLst>
            <pc:docMk/>
            <pc:sldMk cId="226625141" sldId="2147471194"/>
            <ac:spMk id="3" creationId="{E6993746-A424-4F09-867F-B919F4E18ECB}"/>
          </ac:spMkLst>
        </pc:spChg>
      </pc:sldChg>
      <pc:sldChg chg="modSp mod">
        <pc:chgData name="John Paserba" userId="77bd6c8a-d0c1-4fea-8705-0169f65d0c0e" providerId="ADAL" clId="{A6128F38-4E41-492B-9A20-DD3EF30EF7A5}" dt="2025-10-15T03:13:35.529" v="412" actId="207"/>
        <pc:sldMkLst>
          <pc:docMk/>
          <pc:sldMk cId="107756887" sldId="2147471201"/>
        </pc:sldMkLst>
        <pc:spChg chg="mod">
          <ac:chgData name="John Paserba" userId="77bd6c8a-d0c1-4fea-8705-0169f65d0c0e" providerId="ADAL" clId="{A6128F38-4E41-492B-9A20-DD3EF30EF7A5}" dt="2025-10-15T03:13:35.529" v="412" actId="207"/>
          <ac:spMkLst>
            <pc:docMk/>
            <pc:sldMk cId="107756887" sldId="2147471201"/>
            <ac:spMk id="3" creationId="{C7E63D57-1DFE-34B1-3170-34F96412855C}"/>
          </ac:spMkLst>
        </pc:spChg>
      </pc:sldChg>
      <pc:sldChg chg="modSp mod">
        <pc:chgData name="John Paserba" userId="77bd6c8a-d0c1-4fea-8705-0169f65d0c0e" providerId="ADAL" clId="{A6128F38-4E41-492B-9A20-DD3EF30EF7A5}" dt="2025-10-15T03:14:24.720" v="418" actId="948"/>
        <pc:sldMkLst>
          <pc:docMk/>
          <pc:sldMk cId="816824933" sldId="2147471310"/>
        </pc:sldMkLst>
        <pc:spChg chg="mod">
          <ac:chgData name="John Paserba" userId="77bd6c8a-d0c1-4fea-8705-0169f65d0c0e" providerId="ADAL" clId="{A6128F38-4E41-492B-9A20-DD3EF30EF7A5}" dt="2025-10-15T03:14:24.720" v="418" actId="948"/>
          <ac:spMkLst>
            <pc:docMk/>
            <pc:sldMk cId="816824933" sldId="2147471310"/>
            <ac:spMk id="3" creationId="{E6993746-A424-4F09-867F-B919F4E18ECB}"/>
          </ac:spMkLst>
        </pc:spChg>
      </pc:sldChg>
      <pc:sldChg chg="modSp mod">
        <pc:chgData name="John Paserba" userId="77bd6c8a-d0c1-4fea-8705-0169f65d0c0e" providerId="ADAL" clId="{A6128F38-4E41-492B-9A20-DD3EF30EF7A5}" dt="2025-10-15T03:54:42.716" v="631" actId="207"/>
        <pc:sldMkLst>
          <pc:docMk/>
          <pc:sldMk cId="2351575374" sldId="2147471318"/>
        </pc:sldMkLst>
        <pc:spChg chg="mod">
          <ac:chgData name="John Paserba" userId="77bd6c8a-d0c1-4fea-8705-0169f65d0c0e" providerId="ADAL" clId="{A6128F38-4E41-492B-9A20-DD3EF30EF7A5}" dt="2025-10-15T02:48:31.735" v="101" actId="179"/>
          <ac:spMkLst>
            <pc:docMk/>
            <pc:sldMk cId="2351575374" sldId="2147471318"/>
            <ac:spMk id="10" creationId="{C41643C0-F0EC-4F22-8023-69B558CD6FCB}"/>
          </ac:spMkLst>
        </pc:spChg>
        <pc:graphicFrameChg chg="mod">
          <ac:chgData name="John Paserba" userId="77bd6c8a-d0c1-4fea-8705-0169f65d0c0e" providerId="ADAL" clId="{A6128F38-4E41-492B-9A20-DD3EF30EF7A5}" dt="2025-10-15T03:54:42.716" v="631" actId="207"/>
          <ac:graphicFrameMkLst>
            <pc:docMk/>
            <pc:sldMk cId="2351575374" sldId="2147471318"/>
            <ac:graphicFrameMk id="5" creationId="{00000000-0000-0000-0000-000000000000}"/>
          </ac:graphicFrameMkLst>
        </pc:graphicFrameChg>
        <pc:graphicFrameChg chg="modGraphic">
          <ac:chgData name="John Paserba" userId="77bd6c8a-d0c1-4fea-8705-0169f65d0c0e" providerId="ADAL" clId="{A6128F38-4E41-492B-9A20-DD3EF30EF7A5}" dt="2025-10-15T02:49:22.796" v="105" actId="20577"/>
          <ac:graphicFrameMkLst>
            <pc:docMk/>
            <pc:sldMk cId="2351575374" sldId="2147471318"/>
            <ac:graphicFrameMk id="7" creationId="{3FA285DF-14FF-4E58-B4AA-7349E80126A6}"/>
          </ac:graphicFrameMkLst>
        </pc:graphicFrameChg>
        <pc:graphicFrameChg chg="modGraphic">
          <ac:chgData name="John Paserba" userId="77bd6c8a-d0c1-4fea-8705-0169f65d0c0e" providerId="ADAL" clId="{A6128F38-4E41-492B-9A20-DD3EF30EF7A5}" dt="2025-10-15T02:49:46.655" v="115" actId="20577"/>
          <ac:graphicFrameMkLst>
            <pc:docMk/>
            <pc:sldMk cId="2351575374" sldId="2147471318"/>
            <ac:graphicFrameMk id="9" creationId="{3B3B08A5-4470-463B-81EC-731E80F1025A}"/>
          </ac:graphicFrameMkLst>
        </pc:graphicFrameChg>
      </pc:sldChg>
      <pc:sldChg chg="modSp mod">
        <pc:chgData name="John Paserba" userId="77bd6c8a-d0c1-4fea-8705-0169f65d0c0e" providerId="ADAL" clId="{A6128F38-4E41-492B-9A20-DD3EF30EF7A5}" dt="2025-10-15T04:44:10.845" v="1160" actId="20577"/>
        <pc:sldMkLst>
          <pc:docMk/>
          <pc:sldMk cId="195241491" sldId="2147471370"/>
        </pc:sldMkLst>
        <pc:spChg chg="mod">
          <ac:chgData name="John Paserba" userId="77bd6c8a-d0c1-4fea-8705-0169f65d0c0e" providerId="ADAL" clId="{A6128F38-4E41-492B-9A20-DD3EF30EF7A5}" dt="2025-10-15T04:44:10.845" v="1160" actId="20577"/>
          <ac:spMkLst>
            <pc:docMk/>
            <pc:sldMk cId="195241491" sldId="2147471370"/>
            <ac:spMk id="3" creationId="{E6993746-A424-4F09-867F-B919F4E18ECB}"/>
          </ac:spMkLst>
        </pc:spChg>
        <pc:spChg chg="mod">
          <ac:chgData name="John Paserba" userId="77bd6c8a-d0c1-4fea-8705-0169f65d0c0e" providerId="ADAL" clId="{A6128F38-4E41-492B-9A20-DD3EF30EF7A5}" dt="2025-10-15T04:43:55.120" v="1140" actId="20577"/>
          <ac:spMkLst>
            <pc:docMk/>
            <pc:sldMk cId="195241491" sldId="2147471370"/>
            <ac:spMk id="3328002" creationId="{00000000-0000-0000-0000-000000000000}"/>
          </ac:spMkLst>
        </pc:spChg>
      </pc:sldChg>
      <pc:sldChg chg="modSp mod">
        <pc:chgData name="John Paserba" userId="77bd6c8a-d0c1-4fea-8705-0169f65d0c0e" providerId="ADAL" clId="{A6128F38-4E41-492B-9A20-DD3EF30EF7A5}" dt="2025-10-15T03:15:46.177" v="432" actId="948"/>
        <pc:sldMkLst>
          <pc:docMk/>
          <pc:sldMk cId="37534917" sldId="2147471383"/>
        </pc:sldMkLst>
        <pc:spChg chg="mod">
          <ac:chgData name="John Paserba" userId="77bd6c8a-d0c1-4fea-8705-0169f65d0c0e" providerId="ADAL" clId="{A6128F38-4E41-492B-9A20-DD3EF30EF7A5}" dt="2025-10-15T03:15:46.177" v="432" actId="948"/>
          <ac:spMkLst>
            <pc:docMk/>
            <pc:sldMk cId="37534917" sldId="2147471383"/>
            <ac:spMk id="8" creationId="{237249FE-3C94-F063-0EDC-F718C885375A}"/>
          </ac:spMkLst>
        </pc:spChg>
      </pc:sldChg>
      <pc:sldChg chg="modSp mod">
        <pc:chgData name="John Paserba" userId="77bd6c8a-d0c1-4fea-8705-0169f65d0c0e" providerId="ADAL" clId="{A6128F38-4E41-492B-9A20-DD3EF30EF7A5}" dt="2025-10-15T03:22:52.484" v="491" actId="20577"/>
        <pc:sldMkLst>
          <pc:docMk/>
          <pc:sldMk cId="3510514369" sldId="2147471403"/>
        </pc:sldMkLst>
        <pc:spChg chg="mod">
          <ac:chgData name="John Paserba" userId="77bd6c8a-d0c1-4fea-8705-0169f65d0c0e" providerId="ADAL" clId="{A6128F38-4E41-492B-9A20-DD3EF30EF7A5}" dt="2025-10-15T03:22:52.484" v="491" actId="20577"/>
          <ac:spMkLst>
            <pc:docMk/>
            <pc:sldMk cId="3510514369" sldId="2147471403"/>
            <ac:spMk id="3" creationId="{E6993746-A424-4F09-867F-B919F4E18ECB}"/>
          </ac:spMkLst>
        </pc:spChg>
      </pc:sldChg>
      <pc:sldChg chg="modSp mod">
        <pc:chgData name="John Paserba" userId="77bd6c8a-d0c1-4fea-8705-0169f65d0c0e" providerId="ADAL" clId="{A6128F38-4E41-492B-9A20-DD3EF30EF7A5}" dt="2025-10-15T04:54:24.946" v="1207" actId="20577"/>
        <pc:sldMkLst>
          <pc:docMk/>
          <pc:sldMk cId="920816538" sldId="2147471419"/>
        </pc:sldMkLst>
        <pc:spChg chg="mod">
          <ac:chgData name="John Paserba" userId="77bd6c8a-d0c1-4fea-8705-0169f65d0c0e" providerId="ADAL" clId="{A6128F38-4E41-492B-9A20-DD3EF30EF7A5}" dt="2025-10-15T04:54:24.946" v="1207" actId="20577"/>
          <ac:spMkLst>
            <pc:docMk/>
            <pc:sldMk cId="920816538" sldId="2147471419"/>
            <ac:spMk id="3328002" creationId="{00000000-0000-0000-0000-000000000000}"/>
          </ac:spMkLst>
        </pc:spChg>
      </pc:sldChg>
      <pc:sldChg chg="del">
        <pc:chgData name="John Paserba" userId="77bd6c8a-d0c1-4fea-8705-0169f65d0c0e" providerId="ADAL" clId="{A6128F38-4E41-492B-9A20-DD3EF30EF7A5}" dt="2025-10-15T04:25:42.303" v="1006" actId="47"/>
        <pc:sldMkLst>
          <pc:docMk/>
          <pc:sldMk cId="3275254523" sldId="2147471420"/>
        </pc:sldMkLst>
      </pc:sldChg>
      <pc:sldChg chg="del">
        <pc:chgData name="John Paserba" userId="77bd6c8a-d0c1-4fea-8705-0169f65d0c0e" providerId="ADAL" clId="{A6128F38-4E41-492B-9A20-DD3EF30EF7A5}" dt="2025-10-15T04:25:43.536" v="1007" actId="47"/>
        <pc:sldMkLst>
          <pc:docMk/>
          <pc:sldMk cId="2976868708" sldId="2147471422"/>
        </pc:sldMkLst>
      </pc:sldChg>
      <pc:sldChg chg="addSp delSp modSp mod ord">
        <pc:chgData name="John Paserba" userId="77bd6c8a-d0c1-4fea-8705-0169f65d0c0e" providerId="ADAL" clId="{A6128F38-4E41-492B-9A20-DD3EF30EF7A5}" dt="2025-10-15T04:29:35.646" v="1024"/>
        <pc:sldMkLst>
          <pc:docMk/>
          <pc:sldMk cId="1511705425" sldId="2147471423"/>
        </pc:sldMkLst>
        <pc:spChg chg="add del">
          <ac:chgData name="John Paserba" userId="77bd6c8a-d0c1-4fea-8705-0169f65d0c0e" providerId="ADAL" clId="{A6128F38-4E41-492B-9A20-DD3EF30EF7A5}" dt="2025-10-15T04:22:22.215" v="989" actId="478"/>
          <ac:spMkLst>
            <pc:docMk/>
            <pc:sldMk cId="1511705425" sldId="2147471423"/>
            <ac:spMk id="5" creationId="{29A6365B-BD5D-4726-B3D3-DD56ECE84B9B}"/>
          </ac:spMkLst>
        </pc:spChg>
        <pc:spChg chg="mod">
          <ac:chgData name="John Paserba" userId="77bd6c8a-d0c1-4fea-8705-0169f65d0c0e" providerId="ADAL" clId="{A6128F38-4E41-492B-9A20-DD3EF30EF7A5}" dt="2025-10-15T04:19:39.003" v="982" actId="27636"/>
          <ac:spMkLst>
            <pc:docMk/>
            <pc:sldMk cId="1511705425" sldId="2147471423"/>
            <ac:spMk id="19" creationId="{00000000-0000-0000-0000-000000000000}"/>
          </ac:spMkLst>
        </pc:spChg>
        <pc:graphicFrameChg chg="add del mod modGraphic">
          <ac:chgData name="John Paserba" userId="77bd6c8a-d0c1-4fea-8705-0169f65d0c0e" providerId="ADAL" clId="{A6128F38-4E41-492B-9A20-DD3EF30EF7A5}" dt="2025-10-15T04:26:51.397" v="1008" actId="478"/>
          <ac:graphicFrameMkLst>
            <pc:docMk/>
            <pc:sldMk cId="1511705425" sldId="2147471423"/>
            <ac:graphicFrameMk id="2" creationId="{87D17866-46FB-4B76-BB9B-4035E483516D}"/>
          </ac:graphicFrameMkLst>
        </pc:graphicFrameChg>
        <pc:graphicFrameChg chg="add del modGraphic">
          <ac:chgData name="John Paserba" userId="77bd6c8a-d0c1-4fea-8705-0169f65d0c0e" providerId="ADAL" clId="{A6128F38-4E41-492B-9A20-DD3EF30EF7A5}" dt="2025-10-15T04:22:21.619" v="988" actId="478"/>
          <ac:graphicFrameMkLst>
            <pc:docMk/>
            <pc:sldMk cId="1511705425" sldId="2147471423"/>
            <ac:graphicFrameMk id="3" creationId="{CF19C05E-3F7B-499E-9DBB-624652EE4E86}"/>
          </ac:graphicFrameMkLst>
        </pc:graphicFrameChg>
        <pc:graphicFrameChg chg="add del mod modGraphic">
          <ac:chgData name="John Paserba" userId="77bd6c8a-d0c1-4fea-8705-0169f65d0c0e" providerId="ADAL" clId="{A6128F38-4E41-492B-9A20-DD3EF30EF7A5}" dt="2025-10-15T04:27:03.796" v="1012" actId="478"/>
          <ac:graphicFrameMkLst>
            <pc:docMk/>
            <pc:sldMk cId="1511705425" sldId="2147471423"/>
            <ac:graphicFrameMk id="6" creationId="{148EF892-07F4-488A-9F2A-904AD9417C28}"/>
          </ac:graphicFrameMkLst>
        </pc:graphicFrameChg>
        <pc:graphicFrameChg chg="add del mod">
          <ac:chgData name="John Paserba" userId="77bd6c8a-d0c1-4fea-8705-0169f65d0c0e" providerId="ADAL" clId="{A6128F38-4E41-492B-9A20-DD3EF30EF7A5}" dt="2025-10-15T04:28:10.197" v="1014" actId="21"/>
          <ac:graphicFrameMkLst>
            <pc:docMk/>
            <pc:sldMk cId="1511705425" sldId="2147471423"/>
            <ac:graphicFrameMk id="7" creationId="{4D5B309F-6D37-434A-8B7C-725C263C9131}"/>
          </ac:graphicFrameMkLst>
        </pc:graphicFrameChg>
        <pc:picChg chg="add mod">
          <ac:chgData name="John Paserba" userId="77bd6c8a-d0c1-4fea-8705-0169f65d0c0e" providerId="ADAL" clId="{A6128F38-4E41-492B-9A20-DD3EF30EF7A5}" dt="2025-10-15T04:28:54.132" v="1019" actId="1076"/>
          <ac:picMkLst>
            <pc:docMk/>
            <pc:sldMk cId="1511705425" sldId="2147471423"/>
            <ac:picMk id="8" creationId="{1E23C858-5D32-450A-9695-9FFF54092E12}"/>
          </ac:picMkLst>
        </pc:picChg>
      </pc:sldChg>
      <pc:sldChg chg="modSp del">
        <pc:chgData name="John Paserba" userId="77bd6c8a-d0c1-4fea-8705-0169f65d0c0e" providerId="ADAL" clId="{A6128F38-4E41-492B-9A20-DD3EF30EF7A5}" dt="2025-10-15T04:13:26.610" v="771" actId="47"/>
        <pc:sldMkLst>
          <pc:docMk/>
          <pc:sldMk cId="623707261" sldId="2147471425"/>
        </pc:sldMkLst>
        <pc:graphicFrameChg chg="mod">
          <ac:chgData name="John Paserba" userId="77bd6c8a-d0c1-4fea-8705-0169f65d0c0e" providerId="ADAL" clId="{A6128F38-4E41-492B-9A20-DD3EF30EF7A5}" dt="2025-10-15T04:12:49.411" v="765" actId="207"/>
          <ac:graphicFrameMkLst>
            <pc:docMk/>
            <pc:sldMk cId="623707261" sldId="2147471425"/>
            <ac:graphicFrameMk id="6" creationId="{00000000-0000-0000-0000-000000000000}"/>
          </ac:graphicFrameMkLst>
        </pc:graphicFrameChg>
        <pc:graphicFrameChg chg="mod">
          <ac:chgData name="John Paserba" userId="77bd6c8a-d0c1-4fea-8705-0169f65d0c0e" providerId="ADAL" clId="{A6128F38-4E41-492B-9A20-DD3EF30EF7A5}" dt="2025-10-15T04:12:52.592" v="766" actId="207"/>
          <ac:graphicFrameMkLst>
            <pc:docMk/>
            <pc:sldMk cId="623707261" sldId="2147471425"/>
            <ac:graphicFrameMk id="25" creationId="{363FF738-45F2-416D-A967-558AFCC255CE}"/>
          </ac:graphicFrameMkLst>
        </pc:graphicFrameChg>
      </pc:sldChg>
      <pc:sldChg chg="del">
        <pc:chgData name="John Paserba" userId="77bd6c8a-d0c1-4fea-8705-0169f65d0c0e" providerId="ADAL" clId="{A6128F38-4E41-492B-9A20-DD3EF30EF7A5}" dt="2025-10-15T04:11:35.983" v="764" actId="47"/>
        <pc:sldMkLst>
          <pc:docMk/>
          <pc:sldMk cId="3658783816" sldId="2147471428"/>
        </pc:sldMkLst>
      </pc:sldChg>
      <pc:sldChg chg="modSp mod">
        <pc:chgData name="John Paserba" userId="77bd6c8a-d0c1-4fea-8705-0169f65d0c0e" providerId="ADAL" clId="{A6128F38-4E41-492B-9A20-DD3EF30EF7A5}" dt="2025-10-15T03:06:51.122" v="343" actId="1076"/>
        <pc:sldMkLst>
          <pc:docMk/>
          <pc:sldMk cId="2193624052" sldId="2147471501"/>
        </pc:sldMkLst>
        <pc:spChg chg="mod">
          <ac:chgData name="John Paserba" userId="77bd6c8a-d0c1-4fea-8705-0169f65d0c0e" providerId="ADAL" clId="{A6128F38-4E41-492B-9A20-DD3EF30EF7A5}" dt="2025-10-15T03:06:51.122" v="343" actId="1076"/>
          <ac:spMkLst>
            <pc:docMk/>
            <pc:sldMk cId="2193624052" sldId="2147471501"/>
            <ac:spMk id="2" creationId="{C3EBFEE7-85C0-1766-2514-225A25D053AC}"/>
          </ac:spMkLst>
        </pc:spChg>
      </pc:sldChg>
      <pc:sldChg chg="modSp">
        <pc:chgData name="John Paserba" userId="77bd6c8a-d0c1-4fea-8705-0169f65d0c0e" providerId="ADAL" clId="{A6128F38-4E41-492B-9A20-DD3EF30EF7A5}" dt="2025-10-15T03:05:40.229" v="335"/>
        <pc:sldMkLst>
          <pc:docMk/>
          <pc:sldMk cId="1528537165" sldId="2147471545"/>
        </pc:sldMkLst>
        <pc:spChg chg="mod">
          <ac:chgData name="John Paserba" userId="77bd6c8a-d0c1-4fea-8705-0169f65d0c0e" providerId="ADAL" clId="{A6128F38-4E41-492B-9A20-DD3EF30EF7A5}" dt="2025-10-15T03:05:40.229" v="335"/>
          <ac:spMkLst>
            <pc:docMk/>
            <pc:sldMk cId="1528537165" sldId="2147471545"/>
            <ac:spMk id="12" creationId="{7637F54C-2D4B-44A5-B3F7-1642BB564316}"/>
          </ac:spMkLst>
        </pc:spChg>
      </pc:sldChg>
      <pc:sldChg chg="del">
        <pc:chgData name="John Paserba" userId="77bd6c8a-d0c1-4fea-8705-0169f65d0c0e" providerId="ADAL" clId="{A6128F38-4E41-492B-9A20-DD3EF30EF7A5}" dt="2025-10-15T03:04:02.758" v="328" actId="47"/>
        <pc:sldMkLst>
          <pc:docMk/>
          <pc:sldMk cId="599989515" sldId="2147471562"/>
        </pc:sldMkLst>
      </pc:sldChg>
      <pc:sldChg chg="del">
        <pc:chgData name="John Paserba" userId="77bd6c8a-d0c1-4fea-8705-0169f65d0c0e" providerId="ADAL" clId="{A6128F38-4E41-492B-9A20-DD3EF30EF7A5}" dt="2025-10-15T03:04:02.758" v="328" actId="47"/>
        <pc:sldMkLst>
          <pc:docMk/>
          <pc:sldMk cId="3848360745" sldId="2147471564"/>
        </pc:sldMkLst>
      </pc:sldChg>
      <pc:sldChg chg="modSp del">
        <pc:chgData name="John Paserba" userId="77bd6c8a-d0c1-4fea-8705-0169f65d0c0e" providerId="ADAL" clId="{A6128F38-4E41-492B-9A20-DD3EF30EF7A5}" dt="2025-10-15T04:00:12.039" v="668" actId="47"/>
        <pc:sldMkLst>
          <pc:docMk/>
          <pc:sldMk cId="4056519351" sldId="2147471625"/>
        </pc:sldMkLst>
        <pc:graphicFrameChg chg="mod">
          <ac:chgData name="John Paserba" userId="77bd6c8a-d0c1-4fea-8705-0169f65d0c0e" providerId="ADAL" clId="{A6128F38-4E41-492B-9A20-DD3EF30EF7A5}" dt="2025-10-15T03:55:13.849" v="635" actId="207"/>
          <ac:graphicFrameMkLst>
            <pc:docMk/>
            <pc:sldMk cId="4056519351" sldId="2147471625"/>
            <ac:graphicFrameMk id="5" creationId="{00000000-0000-0000-0000-000000000000}"/>
          </ac:graphicFrameMkLst>
        </pc:graphicFrameChg>
        <pc:graphicFrameChg chg="mod">
          <ac:chgData name="John Paserba" userId="77bd6c8a-d0c1-4fea-8705-0169f65d0c0e" providerId="ADAL" clId="{A6128F38-4E41-492B-9A20-DD3EF30EF7A5}" dt="2025-10-15T03:55:21.189" v="637" actId="207"/>
          <ac:graphicFrameMkLst>
            <pc:docMk/>
            <pc:sldMk cId="4056519351" sldId="2147471625"/>
            <ac:graphicFrameMk id="6" creationId="{00000000-0000-0000-0000-000000000000}"/>
          </ac:graphicFrameMkLst>
        </pc:graphicFrameChg>
      </pc:sldChg>
      <pc:sldChg chg="del">
        <pc:chgData name="John Paserba" userId="77bd6c8a-d0c1-4fea-8705-0169f65d0c0e" providerId="ADAL" clId="{A6128F38-4E41-492B-9A20-DD3EF30EF7A5}" dt="2025-10-15T03:04:02.758" v="328" actId="47"/>
        <pc:sldMkLst>
          <pc:docMk/>
          <pc:sldMk cId="2068436623" sldId="2147471665"/>
        </pc:sldMkLst>
      </pc:sldChg>
      <pc:sldChg chg="modSp mod">
        <pc:chgData name="John Paserba" userId="77bd6c8a-d0c1-4fea-8705-0169f65d0c0e" providerId="ADAL" clId="{A6128F38-4E41-492B-9A20-DD3EF30EF7A5}" dt="2025-10-15T03:05:25.341" v="333"/>
        <pc:sldMkLst>
          <pc:docMk/>
          <pc:sldMk cId="2660546268" sldId="2147471669"/>
        </pc:sldMkLst>
        <pc:spChg chg="mod">
          <ac:chgData name="John Paserba" userId="77bd6c8a-d0c1-4fea-8705-0169f65d0c0e" providerId="ADAL" clId="{A6128F38-4E41-492B-9A20-DD3EF30EF7A5}" dt="2025-10-15T03:05:25.341" v="333"/>
          <ac:spMkLst>
            <pc:docMk/>
            <pc:sldMk cId="2660546268" sldId="2147471669"/>
            <ac:spMk id="8" creationId="{37CEEF7E-3CE8-42D1-AEB0-A2514859CE49}"/>
          </ac:spMkLst>
        </pc:spChg>
      </pc:sldChg>
      <pc:sldChg chg="del">
        <pc:chgData name="John Paserba" userId="77bd6c8a-d0c1-4fea-8705-0169f65d0c0e" providerId="ADAL" clId="{A6128F38-4E41-492B-9A20-DD3EF30EF7A5}" dt="2025-10-15T03:08:35.281" v="357" actId="47"/>
        <pc:sldMkLst>
          <pc:docMk/>
          <pc:sldMk cId="1790755209" sldId="2147471672"/>
        </pc:sldMkLst>
      </pc:sldChg>
      <pc:sldChg chg="addSp delSp mod">
        <pc:chgData name="John Paserba" userId="77bd6c8a-d0c1-4fea-8705-0169f65d0c0e" providerId="ADAL" clId="{A6128F38-4E41-492B-9A20-DD3EF30EF7A5}" dt="2025-10-15T02:52:06.964" v="120"/>
        <pc:sldMkLst>
          <pc:docMk/>
          <pc:sldMk cId="3727219174" sldId="2147471683"/>
        </pc:sldMkLst>
        <pc:picChg chg="add">
          <ac:chgData name="John Paserba" userId="77bd6c8a-d0c1-4fea-8705-0169f65d0c0e" providerId="ADAL" clId="{A6128F38-4E41-492B-9A20-DD3EF30EF7A5}" dt="2025-10-15T02:52:06.964" v="120"/>
          <ac:picMkLst>
            <pc:docMk/>
            <pc:sldMk cId="3727219174" sldId="2147471683"/>
            <ac:picMk id="2" creationId="{23780E5A-D20E-4BA3-A7D1-18465F1BADB2}"/>
          </ac:picMkLst>
        </pc:picChg>
        <pc:picChg chg="del">
          <ac:chgData name="John Paserba" userId="77bd6c8a-d0c1-4fea-8705-0169f65d0c0e" providerId="ADAL" clId="{A6128F38-4E41-492B-9A20-DD3EF30EF7A5}" dt="2025-10-15T02:04:48.726" v="1" actId="478"/>
          <ac:picMkLst>
            <pc:docMk/>
            <pc:sldMk cId="3727219174" sldId="2147471683"/>
            <ac:picMk id="5" creationId="{7DC97514-8C89-420E-907F-8B5C310A980B}"/>
          </ac:picMkLst>
        </pc:picChg>
      </pc:sldChg>
      <pc:sldChg chg="addSp delSp mod">
        <pc:chgData name="John Paserba" userId="77bd6c8a-d0c1-4fea-8705-0169f65d0c0e" providerId="ADAL" clId="{A6128F38-4E41-492B-9A20-DD3EF30EF7A5}" dt="2025-10-15T02:52:19.860" v="121"/>
        <pc:sldMkLst>
          <pc:docMk/>
          <pc:sldMk cId="333539668" sldId="2147471684"/>
        </pc:sldMkLst>
        <pc:picChg chg="add">
          <ac:chgData name="John Paserba" userId="77bd6c8a-d0c1-4fea-8705-0169f65d0c0e" providerId="ADAL" clId="{A6128F38-4E41-492B-9A20-DD3EF30EF7A5}" dt="2025-10-15T02:52:19.860" v="121"/>
          <ac:picMkLst>
            <pc:docMk/>
            <pc:sldMk cId="333539668" sldId="2147471684"/>
            <ac:picMk id="2" creationId="{731EB756-C87C-4F66-A300-D410FBC4CE4E}"/>
          </ac:picMkLst>
        </pc:picChg>
        <pc:picChg chg="del">
          <ac:chgData name="John Paserba" userId="77bd6c8a-d0c1-4fea-8705-0169f65d0c0e" providerId="ADAL" clId="{A6128F38-4E41-492B-9A20-DD3EF30EF7A5}" dt="2025-10-15T02:04:50.798" v="2" actId="478"/>
          <ac:picMkLst>
            <pc:docMk/>
            <pc:sldMk cId="333539668" sldId="2147471684"/>
            <ac:picMk id="2" creationId="{CF78092B-72FD-490C-8942-AE983B4C16A9}"/>
          </ac:picMkLst>
        </pc:picChg>
      </pc:sldChg>
      <pc:sldChg chg="addSp delSp mod">
        <pc:chgData name="John Paserba" userId="77bd6c8a-d0c1-4fea-8705-0169f65d0c0e" providerId="ADAL" clId="{A6128F38-4E41-492B-9A20-DD3EF30EF7A5}" dt="2025-10-15T02:52:34.527" v="122"/>
        <pc:sldMkLst>
          <pc:docMk/>
          <pc:sldMk cId="1741024592" sldId="2147471685"/>
        </pc:sldMkLst>
        <pc:picChg chg="del">
          <ac:chgData name="John Paserba" userId="77bd6c8a-d0c1-4fea-8705-0169f65d0c0e" providerId="ADAL" clId="{A6128F38-4E41-492B-9A20-DD3EF30EF7A5}" dt="2025-10-15T02:04:52.860" v="3" actId="478"/>
          <ac:picMkLst>
            <pc:docMk/>
            <pc:sldMk cId="1741024592" sldId="2147471685"/>
            <ac:picMk id="2" creationId="{35DB8B8D-C2D8-4ABE-A7F2-C54E1048360D}"/>
          </ac:picMkLst>
        </pc:picChg>
        <pc:picChg chg="add">
          <ac:chgData name="John Paserba" userId="77bd6c8a-d0c1-4fea-8705-0169f65d0c0e" providerId="ADAL" clId="{A6128F38-4E41-492B-9A20-DD3EF30EF7A5}" dt="2025-10-15T02:52:34.527" v="122"/>
          <ac:picMkLst>
            <pc:docMk/>
            <pc:sldMk cId="1741024592" sldId="2147471685"/>
            <ac:picMk id="2" creationId="{4AE75CAF-6D29-4746-A2D5-8D38F0CBAB15}"/>
          </ac:picMkLst>
        </pc:picChg>
      </pc:sldChg>
      <pc:sldChg chg="modSp mod">
        <pc:chgData name="John Paserba" userId="77bd6c8a-d0c1-4fea-8705-0169f65d0c0e" providerId="ADAL" clId="{A6128F38-4E41-492B-9A20-DD3EF30EF7A5}" dt="2025-10-15T03:15:31.221" v="430" actId="948"/>
        <pc:sldMkLst>
          <pc:docMk/>
          <pc:sldMk cId="3394760255" sldId="2147471697"/>
        </pc:sldMkLst>
        <pc:spChg chg="mod">
          <ac:chgData name="John Paserba" userId="77bd6c8a-d0c1-4fea-8705-0169f65d0c0e" providerId="ADAL" clId="{A6128F38-4E41-492B-9A20-DD3EF30EF7A5}" dt="2025-10-15T03:15:31.221" v="430" actId="948"/>
          <ac:spMkLst>
            <pc:docMk/>
            <pc:sldMk cId="3394760255" sldId="2147471697"/>
            <ac:spMk id="9" creationId="{33E1701B-7F94-6789-3C6A-A428042FCAA4}"/>
          </ac:spMkLst>
        </pc:spChg>
      </pc:sldChg>
      <pc:sldChg chg="delSp modSp mod">
        <pc:chgData name="John Paserba" userId="77bd6c8a-d0c1-4fea-8705-0169f65d0c0e" providerId="ADAL" clId="{A6128F38-4E41-492B-9A20-DD3EF30EF7A5}" dt="2025-10-15T03:54:48.890" v="632" actId="207"/>
        <pc:sldMkLst>
          <pc:docMk/>
          <pc:sldMk cId="249611834" sldId="2147471698"/>
        </pc:sldMkLst>
        <pc:spChg chg="del">
          <ac:chgData name="John Paserba" userId="77bd6c8a-d0c1-4fea-8705-0169f65d0c0e" providerId="ADAL" clId="{A6128F38-4E41-492B-9A20-DD3EF30EF7A5}" dt="2025-10-15T03:43:38.268" v="580" actId="478"/>
          <ac:spMkLst>
            <pc:docMk/>
            <pc:sldMk cId="249611834" sldId="2147471698"/>
            <ac:spMk id="2" creationId="{1558630C-4C98-4D17-8546-970AAC7F98C2}"/>
          </ac:spMkLst>
        </pc:spChg>
        <pc:spChg chg="del mod">
          <ac:chgData name="John Paserba" userId="77bd6c8a-d0c1-4fea-8705-0169f65d0c0e" providerId="ADAL" clId="{A6128F38-4E41-492B-9A20-DD3EF30EF7A5}" dt="2025-10-15T03:41:02.476" v="571" actId="478"/>
          <ac:spMkLst>
            <pc:docMk/>
            <pc:sldMk cId="249611834" sldId="2147471698"/>
            <ac:spMk id="12" creationId="{1700755D-345B-46CD-84C7-0F0FA4384C36}"/>
          </ac:spMkLst>
        </pc:spChg>
        <pc:spChg chg="mod">
          <ac:chgData name="John Paserba" userId="77bd6c8a-d0c1-4fea-8705-0169f65d0c0e" providerId="ADAL" clId="{A6128F38-4E41-492B-9A20-DD3EF30EF7A5}" dt="2025-10-15T03:48:36.193" v="612" actId="20577"/>
          <ac:spMkLst>
            <pc:docMk/>
            <pc:sldMk cId="249611834" sldId="2147471698"/>
            <ac:spMk id="15" creationId="{9597AFFD-AF8F-46BB-8331-D7B7C48AEBCB}"/>
          </ac:spMkLst>
        </pc:spChg>
        <pc:graphicFrameChg chg="modGraphic">
          <ac:chgData name="John Paserba" userId="77bd6c8a-d0c1-4fea-8705-0169f65d0c0e" providerId="ADAL" clId="{A6128F38-4E41-492B-9A20-DD3EF30EF7A5}" dt="2025-10-15T03:45:13.949" v="600" actId="20577"/>
          <ac:graphicFrameMkLst>
            <pc:docMk/>
            <pc:sldMk cId="249611834" sldId="2147471698"/>
            <ac:graphicFrameMk id="11" creationId="{F3DED44F-C0EF-4935-A06B-3FC910885FD8}"/>
          </ac:graphicFrameMkLst>
        </pc:graphicFrameChg>
        <pc:graphicFrameChg chg="modGraphic">
          <ac:chgData name="John Paserba" userId="77bd6c8a-d0c1-4fea-8705-0169f65d0c0e" providerId="ADAL" clId="{A6128F38-4E41-492B-9A20-DD3EF30EF7A5}" dt="2025-10-15T03:45:23.613" v="606" actId="20577"/>
          <ac:graphicFrameMkLst>
            <pc:docMk/>
            <pc:sldMk cId="249611834" sldId="2147471698"/>
            <ac:graphicFrameMk id="23" creationId="{246D33A1-F41E-43A4-AAF9-44CABDCD04C2}"/>
          </ac:graphicFrameMkLst>
        </pc:graphicFrameChg>
        <pc:graphicFrameChg chg="mod">
          <ac:chgData name="John Paserba" userId="77bd6c8a-d0c1-4fea-8705-0169f65d0c0e" providerId="ADAL" clId="{A6128F38-4E41-492B-9A20-DD3EF30EF7A5}" dt="2025-10-15T03:54:48.890" v="632" actId="207"/>
          <ac:graphicFrameMkLst>
            <pc:docMk/>
            <pc:sldMk cId="249611834" sldId="2147471698"/>
            <ac:graphicFrameMk id="24" creationId="{15813888-BDE7-483A-B111-3A6C5F25E35B}"/>
          </ac:graphicFrameMkLst>
        </pc:graphicFrameChg>
      </pc:sldChg>
      <pc:sldChg chg="modSp mod">
        <pc:chgData name="John Paserba" userId="77bd6c8a-d0c1-4fea-8705-0169f65d0c0e" providerId="ADAL" clId="{A6128F38-4E41-492B-9A20-DD3EF30EF7A5}" dt="2025-10-15T03:16:00.509" v="433" actId="948"/>
        <pc:sldMkLst>
          <pc:docMk/>
          <pc:sldMk cId="2200909925" sldId="2147471699"/>
        </pc:sldMkLst>
        <pc:spChg chg="mod">
          <ac:chgData name="John Paserba" userId="77bd6c8a-d0c1-4fea-8705-0169f65d0c0e" providerId="ADAL" clId="{A6128F38-4E41-492B-9A20-DD3EF30EF7A5}" dt="2025-10-15T03:16:00.509" v="433" actId="948"/>
          <ac:spMkLst>
            <pc:docMk/>
            <pc:sldMk cId="2200909925" sldId="2147471699"/>
            <ac:spMk id="7" creationId="{C96D8A9C-5A17-B267-A346-88623ED07DA2}"/>
          </ac:spMkLst>
        </pc:spChg>
      </pc:sldChg>
      <pc:sldChg chg="modSp mod">
        <pc:chgData name="John Paserba" userId="77bd6c8a-d0c1-4fea-8705-0169f65d0c0e" providerId="ADAL" clId="{A6128F38-4E41-492B-9A20-DD3EF30EF7A5}" dt="2025-10-15T03:17:25.214" v="446" actId="20577"/>
        <pc:sldMkLst>
          <pc:docMk/>
          <pc:sldMk cId="1201248736" sldId="2147471701"/>
        </pc:sldMkLst>
        <pc:spChg chg="mod">
          <ac:chgData name="John Paserba" userId="77bd6c8a-d0c1-4fea-8705-0169f65d0c0e" providerId="ADAL" clId="{A6128F38-4E41-492B-9A20-DD3EF30EF7A5}" dt="2025-10-15T03:17:25.214" v="446" actId="20577"/>
          <ac:spMkLst>
            <pc:docMk/>
            <pc:sldMk cId="1201248736" sldId="2147471701"/>
            <ac:spMk id="11" creationId="{2240B85E-3F8A-A80E-9B97-81DE6BF6AE1A}"/>
          </ac:spMkLst>
        </pc:spChg>
      </pc:sldChg>
      <pc:sldChg chg="modSp mod">
        <pc:chgData name="John Paserba" userId="77bd6c8a-d0c1-4fea-8705-0169f65d0c0e" providerId="ADAL" clId="{A6128F38-4E41-492B-9A20-DD3EF30EF7A5}" dt="2025-10-15T03:17:39.174" v="447" actId="948"/>
        <pc:sldMkLst>
          <pc:docMk/>
          <pc:sldMk cId="456085429" sldId="2147471702"/>
        </pc:sldMkLst>
        <pc:spChg chg="mod">
          <ac:chgData name="John Paserba" userId="77bd6c8a-d0c1-4fea-8705-0169f65d0c0e" providerId="ADAL" clId="{A6128F38-4E41-492B-9A20-DD3EF30EF7A5}" dt="2025-10-15T03:17:39.174" v="447" actId="948"/>
          <ac:spMkLst>
            <pc:docMk/>
            <pc:sldMk cId="456085429" sldId="2147471702"/>
            <ac:spMk id="11" creationId="{B976DB2D-6AAF-6427-E53A-330409DE95EC}"/>
          </ac:spMkLst>
        </pc:spChg>
      </pc:sldChg>
      <pc:sldChg chg="modSp mod">
        <pc:chgData name="John Paserba" userId="77bd6c8a-d0c1-4fea-8705-0169f65d0c0e" providerId="ADAL" clId="{A6128F38-4E41-492B-9A20-DD3EF30EF7A5}" dt="2025-10-15T03:19:13.077" v="461" actId="948"/>
        <pc:sldMkLst>
          <pc:docMk/>
          <pc:sldMk cId="2597162896" sldId="2147471704"/>
        </pc:sldMkLst>
        <pc:spChg chg="mod">
          <ac:chgData name="John Paserba" userId="77bd6c8a-d0c1-4fea-8705-0169f65d0c0e" providerId="ADAL" clId="{A6128F38-4E41-492B-9A20-DD3EF30EF7A5}" dt="2025-10-15T03:19:13.077" v="461" actId="948"/>
          <ac:spMkLst>
            <pc:docMk/>
            <pc:sldMk cId="2597162896" sldId="2147471704"/>
            <ac:spMk id="11" creationId="{6D4FA0A3-D6CC-450C-4580-5DD757B6D00F}"/>
          </ac:spMkLst>
        </pc:spChg>
      </pc:sldChg>
      <pc:sldChg chg="del">
        <pc:chgData name="John Paserba" userId="77bd6c8a-d0c1-4fea-8705-0169f65d0c0e" providerId="ADAL" clId="{A6128F38-4E41-492B-9A20-DD3EF30EF7A5}" dt="2025-10-15T03:04:02.758" v="328" actId="47"/>
        <pc:sldMkLst>
          <pc:docMk/>
          <pc:sldMk cId="2461146040" sldId="2147471706"/>
        </pc:sldMkLst>
      </pc:sldChg>
      <pc:sldChg chg="del">
        <pc:chgData name="John Paserba" userId="77bd6c8a-d0c1-4fea-8705-0169f65d0c0e" providerId="ADAL" clId="{A6128F38-4E41-492B-9A20-DD3EF30EF7A5}" dt="2025-10-15T03:04:02.758" v="328" actId="47"/>
        <pc:sldMkLst>
          <pc:docMk/>
          <pc:sldMk cId="4015560649" sldId="2147471707"/>
        </pc:sldMkLst>
      </pc:sldChg>
      <pc:sldChg chg="del">
        <pc:chgData name="John Paserba" userId="77bd6c8a-d0c1-4fea-8705-0169f65d0c0e" providerId="ADAL" clId="{A6128F38-4E41-492B-9A20-DD3EF30EF7A5}" dt="2025-10-15T03:04:02.758" v="328" actId="47"/>
        <pc:sldMkLst>
          <pc:docMk/>
          <pc:sldMk cId="2761295630" sldId="2147471708"/>
        </pc:sldMkLst>
      </pc:sldChg>
      <pc:sldChg chg="del">
        <pc:chgData name="John Paserba" userId="77bd6c8a-d0c1-4fea-8705-0169f65d0c0e" providerId="ADAL" clId="{A6128F38-4E41-492B-9A20-DD3EF30EF7A5}" dt="2025-10-15T03:04:02.758" v="328" actId="47"/>
        <pc:sldMkLst>
          <pc:docMk/>
          <pc:sldMk cId="1774082266" sldId="2147471711"/>
        </pc:sldMkLst>
      </pc:sldChg>
      <pc:sldChg chg="modSp">
        <pc:chgData name="John Paserba" userId="77bd6c8a-d0c1-4fea-8705-0169f65d0c0e" providerId="ADAL" clId="{A6128F38-4E41-492B-9A20-DD3EF30EF7A5}" dt="2025-10-15T03:05:33.750" v="334"/>
        <pc:sldMkLst>
          <pc:docMk/>
          <pc:sldMk cId="1020101525" sldId="2147471724"/>
        </pc:sldMkLst>
        <pc:spChg chg="mod">
          <ac:chgData name="John Paserba" userId="77bd6c8a-d0c1-4fea-8705-0169f65d0c0e" providerId="ADAL" clId="{A6128F38-4E41-492B-9A20-DD3EF30EF7A5}" dt="2025-10-15T03:05:33.750" v="334"/>
          <ac:spMkLst>
            <pc:docMk/>
            <pc:sldMk cId="1020101525" sldId="2147471724"/>
            <ac:spMk id="8" creationId="{37CEEF7E-3CE8-42D1-AEB0-A2514859CE49}"/>
          </ac:spMkLst>
        </pc:spChg>
      </pc:sldChg>
      <pc:sldChg chg="modSp mod">
        <pc:chgData name="John Paserba" userId="77bd6c8a-d0c1-4fea-8705-0169f65d0c0e" providerId="ADAL" clId="{A6128F38-4E41-492B-9A20-DD3EF30EF7A5}" dt="2025-10-15T03:05:52.308" v="337"/>
        <pc:sldMkLst>
          <pc:docMk/>
          <pc:sldMk cId="2339610385" sldId="2147471725"/>
        </pc:sldMkLst>
        <pc:spChg chg="mod">
          <ac:chgData name="John Paserba" userId="77bd6c8a-d0c1-4fea-8705-0169f65d0c0e" providerId="ADAL" clId="{A6128F38-4E41-492B-9A20-DD3EF30EF7A5}" dt="2025-10-15T03:05:52.308" v="337"/>
          <ac:spMkLst>
            <pc:docMk/>
            <pc:sldMk cId="2339610385" sldId="2147471725"/>
            <ac:spMk id="12" creationId="{7637F54C-2D4B-44A5-B3F7-1642BB564316}"/>
          </ac:spMkLst>
        </pc:spChg>
      </pc:sldChg>
      <pc:sldChg chg="modSp">
        <pc:chgData name="John Paserba" userId="77bd6c8a-d0c1-4fea-8705-0169f65d0c0e" providerId="ADAL" clId="{A6128F38-4E41-492B-9A20-DD3EF30EF7A5}" dt="2025-10-15T03:54:34.992" v="630" actId="207"/>
        <pc:sldMkLst>
          <pc:docMk/>
          <pc:sldMk cId="717567624" sldId="2147471726"/>
        </pc:sldMkLst>
        <pc:graphicFrameChg chg="mod">
          <ac:chgData name="John Paserba" userId="77bd6c8a-d0c1-4fea-8705-0169f65d0c0e" providerId="ADAL" clId="{A6128F38-4E41-492B-9A20-DD3EF30EF7A5}" dt="2025-10-15T03:54:34.992" v="630" actId="207"/>
          <ac:graphicFrameMkLst>
            <pc:docMk/>
            <pc:sldMk cId="717567624" sldId="2147471726"/>
            <ac:graphicFrameMk id="2" creationId="{00000000-0000-0000-0000-000000000000}"/>
          </ac:graphicFrameMkLst>
        </pc:graphicFrameChg>
      </pc:sldChg>
      <pc:sldChg chg="modSp">
        <pc:chgData name="John Paserba" userId="77bd6c8a-d0c1-4fea-8705-0169f65d0c0e" providerId="ADAL" clId="{A6128F38-4E41-492B-9A20-DD3EF30EF7A5}" dt="2025-10-15T03:06:09.488" v="339"/>
        <pc:sldMkLst>
          <pc:docMk/>
          <pc:sldMk cId="115478721" sldId="2147471727"/>
        </pc:sldMkLst>
        <pc:spChg chg="mod">
          <ac:chgData name="John Paserba" userId="77bd6c8a-d0c1-4fea-8705-0169f65d0c0e" providerId="ADAL" clId="{A6128F38-4E41-492B-9A20-DD3EF30EF7A5}" dt="2025-10-15T03:06:09.488" v="339"/>
          <ac:spMkLst>
            <pc:docMk/>
            <pc:sldMk cId="115478721" sldId="2147471727"/>
            <ac:spMk id="8" creationId="{37CEEF7E-3CE8-42D1-AEB0-A2514859CE49}"/>
          </ac:spMkLst>
        </pc:spChg>
      </pc:sldChg>
      <pc:sldChg chg="modSp">
        <pc:chgData name="John Paserba" userId="77bd6c8a-d0c1-4fea-8705-0169f65d0c0e" providerId="ADAL" clId="{A6128F38-4E41-492B-9A20-DD3EF30EF7A5}" dt="2025-10-15T03:05:46.962" v="336"/>
        <pc:sldMkLst>
          <pc:docMk/>
          <pc:sldMk cId="1154339187" sldId="2147471728"/>
        </pc:sldMkLst>
        <pc:spChg chg="mod">
          <ac:chgData name="John Paserba" userId="77bd6c8a-d0c1-4fea-8705-0169f65d0c0e" providerId="ADAL" clId="{A6128F38-4E41-492B-9A20-DD3EF30EF7A5}" dt="2025-10-15T03:05:46.962" v="336"/>
          <ac:spMkLst>
            <pc:docMk/>
            <pc:sldMk cId="1154339187" sldId="2147471728"/>
            <ac:spMk id="12" creationId="{7637F54C-2D4B-44A5-B3F7-1642BB564316}"/>
          </ac:spMkLst>
        </pc:spChg>
      </pc:sldChg>
      <pc:sldChg chg="modSp del">
        <pc:chgData name="John Paserba" userId="77bd6c8a-d0c1-4fea-8705-0169f65d0c0e" providerId="ADAL" clId="{A6128F38-4E41-492B-9A20-DD3EF30EF7A5}" dt="2025-10-15T04:03:24.881" v="720" actId="47"/>
        <pc:sldMkLst>
          <pc:docMk/>
          <pc:sldMk cId="3336411070" sldId="2147471730"/>
        </pc:sldMkLst>
        <pc:graphicFrameChg chg="mod">
          <ac:chgData name="John Paserba" userId="77bd6c8a-d0c1-4fea-8705-0169f65d0c0e" providerId="ADAL" clId="{A6128F38-4E41-492B-9A20-DD3EF30EF7A5}" dt="2025-10-15T04:01:19.459" v="669" actId="207"/>
          <ac:graphicFrameMkLst>
            <pc:docMk/>
            <pc:sldMk cId="3336411070" sldId="2147471730"/>
            <ac:graphicFrameMk id="5" creationId="{9391C65F-78D6-9D22-0ABC-DD7546919A8D}"/>
          </ac:graphicFrameMkLst>
        </pc:graphicFrameChg>
        <pc:graphicFrameChg chg="mod">
          <ac:chgData name="John Paserba" userId="77bd6c8a-d0c1-4fea-8705-0169f65d0c0e" providerId="ADAL" clId="{A6128F38-4E41-492B-9A20-DD3EF30EF7A5}" dt="2025-10-15T04:01:24.511" v="670" actId="207"/>
          <ac:graphicFrameMkLst>
            <pc:docMk/>
            <pc:sldMk cId="3336411070" sldId="2147471730"/>
            <ac:graphicFrameMk id="6" creationId="{01D51632-9DAE-4295-47D8-D8EB1FF545A9}"/>
          </ac:graphicFrameMkLst>
        </pc:graphicFrameChg>
      </pc:sldChg>
      <pc:sldChg chg="modSp mod">
        <pc:chgData name="John Paserba" userId="77bd6c8a-d0c1-4fea-8705-0169f65d0c0e" providerId="ADAL" clId="{A6128F38-4E41-492B-9A20-DD3EF30EF7A5}" dt="2025-10-15T04:03:48.007" v="722" actId="20577"/>
        <pc:sldMkLst>
          <pc:docMk/>
          <pc:sldMk cId="3331998248" sldId="2147471752"/>
        </pc:sldMkLst>
        <pc:spChg chg="mod">
          <ac:chgData name="John Paserba" userId="77bd6c8a-d0c1-4fea-8705-0169f65d0c0e" providerId="ADAL" clId="{A6128F38-4E41-492B-9A20-DD3EF30EF7A5}" dt="2025-10-15T04:03:48.007" v="722" actId="20577"/>
          <ac:spMkLst>
            <pc:docMk/>
            <pc:sldMk cId="3331998248" sldId="2147471752"/>
            <ac:spMk id="3328002" creationId="{4A4DC470-200A-A958-446F-A666A2011047}"/>
          </ac:spMkLst>
        </pc:spChg>
      </pc:sldChg>
      <pc:sldChg chg="del">
        <pc:chgData name="John Paserba" userId="77bd6c8a-d0c1-4fea-8705-0169f65d0c0e" providerId="ADAL" clId="{A6128F38-4E41-492B-9A20-DD3EF30EF7A5}" dt="2025-10-15T02:50:34.802" v="116" actId="47"/>
        <pc:sldMkLst>
          <pc:docMk/>
          <pc:sldMk cId="977263133" sldId="2147471789"/>
        </pc:sldMkLst>
      </pc:sldChg>
      <pc:sldChg chg="addSp delSp modSp mod">
        <pc:chgData name="John Paserba" userId="77bd6c8a-d0c1-4fea-8705-0169f65d0c0e" providerId="ADAL" clId="{A6128F38-4E41-492B-9A20-DD3EF30EF7A5}" dt="2025-10-15T02:51:51.079" v="119"/>
        <pc:sldMkLst>
          <pc:docMk/>
          <pc:sldMk cId="3524733822" sldId="2147471790"/>
        </pc:sldMkLst>
        <pc:graphicFrameChg chg="add del mod">
          <ac:chgData name="John Paserba" userId="77bd6c8a-d0c1-4fea-8705-0169f65d0c0e" providerId="ADAL" clId="{A6128F38-4E41-492B-9A20-DD3EF30EF7A5}" dt="2025-10-15T02:51:49.301" v="118"/>
          <ac:graphicFrameMkLst>
            <pc:docMk/>
            <pc:sldMk cId="3524733822" sldId="2147471790"/>
            <ac:graphicFrameMk id="2" creationId="{FD3D5FD0-EC5B-40F8-B9B0-8994939160C0}"/>
          </ac:graphicFrameMkLst>
        </pc:graphicFrameChg>
        <pc:picChg chg="add">
          <ac:chgData name="John Paserba" userId="77bd6c8a-d0c1-4fea-8705-0169f65d0c0e" providerId="ADAL" clId="{A6128F38-4E41-492B-9A20-DD3EF30EF7A5}" dt="2025-10-15T02:51:51.079" v="119"/>
          <ac:picMkLst>
            <pc:docMk/>
            <pc:sldMk cId="3524733822" sldId="2147471790"/>
            <ac:picMk id="3" creationId="{BA5A0B30-7D49-4CA5-99CD-C2D14B866A87}"/>
          </ac:picMkLst>
        </pc:picChg>
        <pc:picChg chg="del">
          <ac:chgData name="John Paserba" userId="77bd6c8a-d0c1-4fea-8705-0169f65d0c0e" providerId="ADAL" clId="{A6128F38-4E41-492B-9A20-DD3EF30EF7A5}" dt="2025-10-15T02:04:43.317" v="0" actId="478"/>
          <ac:picMkLst>
            <pc:docMk/>
            <pc:sldMk cId="3524733822" sldId="2147471790"/>
            <ac:picMk id="4" creationId="{B1CBE247-346A-47ED-B273-F9BEA0875FBE}"/>
          </ac:picMkLst>
        </pc:picChg>
      </pc:sldChg>
      <pc:sldChg chg="delSp modSp mod">
        <pc:chgData name="John Paserba" userId="77bd6c8a-d0c1-4fea-8705-0169f65d0c0e" providerId="ADAL" clId="{A6128F38-4E41-492B-9A20-DD3EF30EF7A5}" dt="2025-10-15T03:02:54.850" v="310" actId="20577"/>
        <pc:sldMkLst>
          <pc:docMk/>
          <pc:sldMk cId="4011912219" sldId="2147471796"/>
        </pc:sldMkLst>
        <pc:spChg chg="mod">
          <ac:chgData name="John Paserba" userId="77bd6c8a-d0c1-4fea-8705-0169f65d0c0e" providerId="ADAL" clId="{A6128F38-4E41-492B-9A20-DD3EF30EF7A5}" dt="2025-10-15T03:02:54.850" v="310" actId="20577"/>
          <ac:spMkLst>
            <pc:docMk/>
            <pc:sldMk cId="4011912219" sldId="2147471796"/>
            <ac:spMk id="3" creationId="{E6993746-A424-4F09-867F-B919F4E18ECB}"/>
          </ac:spMkLst>
        </pc:spChg>
        <pc:spChg chg="del">
          <ac:chgData name="John Paserba" userId="77bd6c8a-d0c1-4fea-8705-0169f65d0c0e" providerId="ADAL" clId="{A6128F38-4E41-492B-9A20-DD3EF30EF7A5}" dt="2025-10-15T02:53:25.411" v="124" actId="478"/>
          <ac:spMkLst>
            <pc:docMk/>
            <pc:sldMk cId="4011912219" sldId="2147471796"/>
            <ac:spMk id="12" creationId="{5E65637B-AE32-4DE1-B79B-5D711C760442}"/>
          </ac:spMkLst>
        </pc:spChg>
        <pc:spChg chg="mod">
          <ac:chgData name="John Paserba" userId="77bd6c8a-d0c1-4fea-8705-0169f65d0c0e" providerId="ADAL" clId="{A6128F38-4E41-492B-9A20-DD3EF30EF7A5}" dt="2025-10-15T02:53:30.398" v="125" actId="20577"/>
          <ac:spMkLst>
            <pc:docMk/>
            <pc:sldMk cId="4011912219" sldId="2147471796"/>
            <ac:spMk id="3328002" creationId="{00000000-0000-0000-0000-000000000000}"/>
          </ac:spMkLst>
        </pc:spChg>
      </pc:sldChg>
      <pc:sldChg chg="delSp modSp mod">
        <pc:chgData name="John Paserba" userId="77bd6c8a-d0c1-4fea-8705-0169f65d0c0e" providerId="ADAL" clId="{A6128F38-4E41-492B-9A20-DD3EF30EF7A5}" dt="2025-10-15T03:03:11.806" v="319" actId="20577"/>
        <pc:sldMkLst>
          <pc:docMk/>
          <pc:sldMk cId="1045465934" sldId="2147471797"/>
        </pc:sldMkLst>
        <pc:spChg chg="mod">
          <ac:chgData name="John Paserba" userId="77bd6c8a-d0c1-4fea-8705-0169f65d0c0e" providerId="ADAL" clId="{A6128F38-4E41-492B-9A20-DD3EF30EF7A5}" dt="2025-10-15T03:03:11.806" v="319" actId="20577"/>
          <ac:spMkLst>
            <pc:docMk/>
            <pc:sldMk cId="1045465934" sldId="2147471797"/>
            <ac:spMk id="3" creationId="{E6993746-A424-4F09-867F-B919F4E18ECB}"/>
          </ac:spMkLst>
        </pc:spChg>
        <pc:spChg chg="del">
          <ac:chgData name="John Paserba" userId="77bd6c8a-d0c1-4fea-8705-0169f65d0c0e" providerId="ADAL" clId="{A6128F38-4E41-492B-9A20-DD3EF30EF7A5}" dt="2025-10-15T03:03:01.840" v="311" actId="478"/>
          <ac:spMkLst>
            <pc:docMk/>
            <pc:sldMk cId="1045465934" sldId="2147471797"/>
            <ac:spMk id="12" creationId="{FAEDE767-0E96-402C-9127-279147D19B95}"/>
          </ac:spMkLst>
        </pc:spChg>
      </pc:sldChg>
      <pc:sldChg chg="modSp mod">
        <pc:chgData name="John Paserba" userId="77bd6c8a-d0c1-4fea-8705-0169f65d0c0e" providerId="ADAL" clId="{A6128F38-4E41-492B-9A20-DD3EF30EF7A5}" dt="2025-10-15T03:03:53.792" v="327" actId="255"/>
        <pc:sldMkLst>
          <pc:docMk/>
          <pc:sldMk cId="813813943" sldId="2147471798"/>
        </pc:sldMkLst>
        <pc:spChg chg="mod">
          <ac:chgData name="John Paserba" userId="77bd6c8a-d0c1-4fea-8705-0169f65d0c0e" providerId="ADAL" clId="{A6128F38-4E41-492B-9A20-DD3EF30EF7A5}" dt="2025-10-15T03:03:53.792" v="327" actId="255"/>
          <ac:spMkLst>
            <pc:docMk/>
            <pc:sldMk cId="813813943" sldId="2147471798"/>
            <ac:spMk id="3" creationId="{E6993746-A424-4F09-867F-B919F4E18ECB}"/>
          </ac:spMkLst>
        </pc:spChg>
      </pc:sldChg>
      <pc:sldChg chg="modSp mod">
        <pc:chgData name="John Paserba" userId="77bd6c8a-d0c1-4fea-8705-0169f65d0c0e" providerId="ADAL" clId="{A6128F38-4E41-492B-9A20-DD3EF30EF7A5}" dt="2025-10-15T04:51:55.424" v="1204" actId="1037"/>
        <pc:sldMkLst>
          <pc:docMk/>
          <pc:sldMk cId="1100047433" sldId="2147471802"/>
        </pc:sldMkLst>
        <pc:spChg chg="mod">
          <ac:chgData name="John Paserba" userId="77bd6c8a-d0c1-4fea-8705-0169f65d0c0e" providerId="ADAL" clId="{A6128F38-4E41-492B-9A20-DD3EF30EF7A5}" dt="2025-10-15T04:51:55.424" v="1204" actId="1037"/>
          <ac:spMkLst>
            <pc:docMk/>
            <pc:sldMk cId="1100047433" sldId="2147471802"/>
            <ac:spMk id="3" creationId="{52387DE1-233A-4DA4-90CD-86A87F67B248}"/>
          </ac:spMkLst>
        </pc:spChg>
        <pc:graphicFrameChg chg="mod">
          <ac:chgData name="John Paserba" userId="77bd6c8a-d0c1-4fea-8705-0169f65d0c0e" providerId="ADAL" clId="{A6128F38-4E41-492B-9A20-DD3EF30EF7A5}" dt="2025-10-15T02:45:58.211" v="92" actId="1038"/>
          <ac:graphicFrameMkLst>
            <pc:docMk/>
            <pc:sldMk cId="1100047433" sldId="2147471802"/>
            <ac:graphicFrameMk id="2" creationId="{DC5099DB-E32D-4104-BCAA-50D2853A3BC4}"/>
          </ac:graphicFrameMkLst>
        </pc:graphicFrameChg>
      </pc:sldChg>
      <pc:sldChg chg="modSp">
        <pc:chgData name="John Paserba" userId="77bd6c8a-d0c1-4fea-8705-0169f65d0c0e" providerId="ADAL" clId="{A6128F38-4E41-492B-9A20-DD3EF30EF7A5}" dt="2025-10-15T04:44:26.646" v="1161"/>
        <pc:sldMkLst>
          <pc:docMk/>
          <pc:sldMk cId="4089811063" sldId="2147471805"/>
        </pc:sldMkLst>
        <pc:spChg chg="mod">
          <ac:chgData name="John Paserba" userId="77bd6c8a-d0c1-4fea-8705-0169f65d0c0e" providerId="ADAL" clId="{A6128F38-4E41-492B-9A20-DD3EF30EF7A5}" dt="2025-10-15T04:44:26.646" v="1161"/>
          <ac:spMkLst>
            <pc:docMk/>
            <pc:sldMk cId="4089811063" sldId="2147471805"/>
            <ac:spMk id="3328002" creationId="{00000000-0000-0000-0000-000000000000}"/>
          </ac:spMkLst>
        </pc:spChg>
      </pc:sldChg>
      <pc:sldChg chg="modSp">
        <pc:chgData name="John Paserba" userId="77bd6c8a-d0c1-4fea-8705-0169f65d0c0e" providerId="ADAL" clId="{A6128F38-4E41-492B-9A20-DD3EF30EF7A5}" dt="2025-10-15T03:06:01.594" v="338"/>
        <pc:sldMkLst>
          <pc:docMk/>
          <pc:sldMk cId="3105101276" sldId="2147471822"/>
        </pc:sldMkLst>
        <pc:spChg chg="mod">
          <ac:chgData name="John Paserba" userId="77bd6c8a-d0c1-4fea-8705-0169f65d0c0e" providerId="ADAL" clId="{A6128F38-4E41-492B-9A20-DD3EF30EF7A5}" dt="2025-10-15T03:06:01.594" v="338"/>
          <ac:spMkLst>
            <pc:docMk/>
            <pc:sldMk cId="3105101276" sldId="2147471822"/>
            <ac:spMk id="12" creationId="{7637F54C-2D4B-44A5-B3F7-1642BB564316}"/>
          </ac:spMkLst>
        </pc:spChg>
      </pc:sldChg>
      <pc:sldChg chg="modSp mod">
        <pc:chgData name="John Paserba" userId="77bd6c8a-d0c1-4fea-8705-0169f65d0c0e" providerId="ADAL" clId="{A6128F38-4E41-492B-9A20-DD3EF30EF7A5}" dt="2025-10-15T03:23:07.876" v="492" actId="20577"/>
        <pc:sldMkLst>
          <pc:docMk/>
          <pc:sldMk cId="2934761795" sldId="2147471828"/>
        </pc:sldMkLst>
        <pc:spChg chg="mod">
          <ac:chgData name="John Paserba" userId="77bd6c8a-d0c1-4fea-8705-0169f65d0c0e" providerId="ADAL" clId="{A6128F38-4E41-492B-9A20-DD3EF30EF7A5}" dt="2025-10-15T03:23:07.876" v="492" actId="20577"/>
          <ac:spMkLst>
            <pc:docMk/>
            <pc:sldMk cId="2934761795" sldId="2147471828"/>
            <ac:spMk id="3" creationId="{E6993746-A424-4F09-867F-B919F4E18ECB}"/>
          </ac:spMkLst>
        </pc:spChg>
      </pc:sldChg>
      <pc:sldChg chg="addSp delSp modSp mod">
        <pc:chgData name="John Paserba" userId="77bd6c8a-d0c1-4fea-8705-0169f65d0c0e" providerId="ADAL" clId="{A6128F38-4E41-492B-9A20-DD3EF30EF7A5}" dt="2025-10-15T03:52:15.634" v="618"/>
        <pc:sldMkLst>
          <pc:docMk/>
          <pc:sldMk cId="4015630486" sldId="2147471840"/>
        </pc:sldMkLst>
        <pc:spChg chg="del">
          <ac:chgData name="John Paserba" userId="77bd6c8a-d0c1-4fea-8705-0169f65d0c0e" providerId="ADAL" clId="{A6128F38-4E41-492B-9A20-DD3EF30EF7A5}" dt="2025-10-15T03:35:22.425" v="494" actId="478"/>
          <ac:spMkLst>
            <pc:docMk/>
            <pc:sldMk cId="4015630486" sldId="2147471840"/>
            <ac:spMk id="27" creationId="{6158D58D-1D15-4FFC-BCF2-54FE9CBF8103}"/>
          </ac:spMkLst>
        </pc:spChg>
        <pc:spChg chg="add mod">
          <ac:chgData name="John Paserba" userId="77bd6c8a-d0c1-4fea-8705-0169f65d0c0e" providerId="ADAL" clId="{A6128F38-4E41-492B-9A20-DD3EF30EF7A5}" dt="2025-10-15T03:40:22.199" v="554" actId="20577"/>
          <ac:spMkLst>
            <pc:docMk/>
            <pc:sldMk cId="4015630486" sldId="2147471840"/>
            <ac:spMk id="28" creationId="{A7F2B84C-531A-4A84-87EA-D1D6C5F74EC8}"/>
          </ac:spMkLst>
        </pc:spChg>
        <pc:spChg chg="del">
          <ac:chgData name="John Paserba" userId="77bd6c8a-d0c1-4fea-8705-0169f65d0c0e" providerId="ADAL" clId="{A6128F38-4E41-492B-9A20-DD3EF30EF7A5}" dt="2025-10-15T03:33:58.258" v="493" actId="478"/>
          <ac:spMkLst>
            <pc:docMk/>
            <pc:sldMk cId="4015630486" sldId="2147471840"/>
            <ac:spMk id="29" creationId="{831B857A-93B6-4539-B937-5D2A1A9489F8}"/>
          </ac:spMkLst>
        </pc:spChg>
        <pc:graphicFrameChg chg="mod">
          <ac:chgData name="John Paserba" userId="77bd6c8a-d0c1-4fea-8705-0169f65d0c0e" providerId="ADAL" clId="{A6128F38-4E41-492B-9A20-DD3EF30EF7A5}" dt="2025-10-15T03:52:15.634" v="618"/>
          <ac:graphicFrameMkLst>
            <pc:docMk/>
            <pc:sldMk cId="4015630486" sldId="2147471840"/>
            <ac:graphicFrameMk id="14" creationId="{00000000-0000-0000-0000-000000000000}"/>
          </ac:graphicFrameMkLst>
        </pc:graphicFrameChg>
        <pc:graphicFrameChg chg="mod">
          <ac:chgData name="John Paserba" userId="77bd6c8a-d0c1-4fea-8705-0169f65d0c0e" providerId="ADAL" clId="{A6128F38-4E41-492B-9A20-DD3EF30EF7A5}" dt="2025-10-15T03:52:13.751" v="617"/>
          <ac:graphicFrameMkLst>
            <pc:docMk/>
            <pc:sldMk cId="4015630486" sldId="2147471840"/>
            <ac:graphicFrameMk id="17" creationId="{56F1947A-A87B-47AE-A49D-C3183B9A0338}"/>
          </ac:graphicFrameMkLst>
        </pc:graphicFrameChg>
      </pc:sldChg>
      <pc:sldChg chg="del">
        <pc:chgData name="John Paserba" userId="77bd6c8a-d0c1-4fea-8705-0169f65d0c0e" providerId="ADAL" clId="{A6128F38-4E41-492B-9A20-DD3EF30EF7A5}" dt="2025-10-15T03:49:46.720" v="613" actId="47"/>
        <pc:sldMkLst>
          <pc:docMk/>
          <pc:sldMk cId="1082585286" sldId="2147471841"/>
        </pc:sldMkLst>
      </pc:sldChg>
      <pc:sldChg chg="addSp delSp modSp mod">
        <pc:chgData name="John Paserba" userId="77bd6c8a-d0c1-4fea-8705-0169f65d0c0e" providerId="ADAL" clId="{A6128F38-4E41-492B-9A20-DD3EF30EF7A5}" dt="2025-10-15T04:53:43.555" v="1205" actId="12"/>
        <pc:sldMkLst>
          <pc:docMk/>
          <pc:sldMk cId="3887683762" sldId="2147471842"/>
        </pc:sldMkLst>
        <pc:spChg chg="mod">
          <ac:chgData name="John Paserba" userId="77bd6c8a-d0c1-4fea-8705-0169f65d0c0e" providerId="ADAL" clId="{A6128F38-4E41-492B-9A20-DD3EF30EF7A5}" dt="2025-10-15T04:00:01.333" v="666" actId="20577"/>
          <ac:spMkLst>
            <pc:docMk/>
            <pc:sldMk cId="3887683762" sldId="2147471842"/>
            <ac:spMk id="2" creationId="{00000000-0000-0000-0000-000000000000}"/>
          </ac:spMkLst>
        </pc:spChg>
        <pc:spChg chg="add del mod">
          <ac:chgData name="John Paserba" userId="77bd6c8a-d0c1-4fea-8705-0169f65d0c0e" providerId="ADAL" clId="{A6128F38-4E41-492B-9A20-DD3EF30EF7A5}" dt="2025-10-15T04:53:43.555" v="1205" actId="12"/>
          <ac:spMkLst>
            <pc:docMk/>
            <pc:sldMk cId="3887683762" sldId="2147471842"/>
            <ac:spMk id="13" creationId="{E04F9E07-578D-4AFB-873E-82B17B555C1E}"/>
          </ac:spMkLst>
        </pc:spChg>
        <pc:spChg chg="add del mod">
          <ac:chgData name="John Paserba" userId="77bd6c8a-d0c1-4fea-8705-0169f65d0c0e" providerId="ADAL" clId="{A6128F38-4E41-492B-9A20-DD3EF30EF7A5}" dt="2025-10-15T03:57:47.344" v="643"/>
          <ac:spMkLst>
            <pc:docMk/>
            <pc:sldMk cId="3887683762" sldId="2147471842"/>
            <ac:spMk id="21" creationId="{4691499C-ED3D-4963-B879-63EED15F9853}"/>
          </ac:spMkLst>
        </pc:spChg>
        <pc:graphicFrameChg chg="mod">
          <ac:chgData name="John Paserba" userId="77bd6c8a-d0c1-4fea-8705-0169f65d0c0e" providerId="ADAL" clId="{A6128F38-4E41-492B-9A20-DD3EF30EF7A5}" dt="2025-10-15T03:55:30.899" v="639" actId="207"/>
          <ac:graphicFrameMkLst>
            <pc:docMk/>
            <pc:sldMk cId="3887683762" sldId="2147471842"/>
            <ac:graphicFrameMk id="5" creationId="{00000000-0000-0000-0000-000000000000}"/>
          </ac:graphicFrameMkLst>
        </pc:graphicFrameChg>
        <pc:graphicFrameChg chg="mod">
          <ac:chgData name="John Paserba" userId="77bd6c8a-d0c1-4fea-8705-0169f65d0c0e" providerId="ADAL" clId="{A6128F38-4E41-492B-9A20-DD3EF30EF7A5}" dt="2025-10-15T03:55:28.994" v="638" actId="207"/>
          <ac:graphicFrameMkLst>
            <pc:docMk/>
            <pc:sldMk cId="3887683762" sldId="2147471842"/>
            <ac:graphicFrameMk id="6" creationId="{00000000-0000-0000-0000-000000000000}"/>
          </ac:graphicFrameMkLst>
        </pc:graphicFrameChg>
      </pc:sldChg>
      <pc:sldChg chg="modSp del">
        <pc:chgData name="John Paserba" userId="77bd6c8a-d0c1-4fea-8705-0169f65d0c0e" providerId="ADAL" clId="{A6128F38-4E41-492B-9A20-DD3EF30EF7A5}" dt="2025-10-15T04:35:22.264" v="1080" actId="2696"/>
        <pc:sldMkLst>
          <pc:docMk/>
          <pc:sldMk cId="1909838323" sldId="2147471844"/>
        </pc:sldMkLst>
        <pc:graphicFrameChg chg="mod">
          <ac:chgData name="John Paserba" userId="77bd6c8a-d0c1-4fea-8705-0169f65d0c0e" providerId="ADAL" clId="{A6128F38-4E41-492B-9A20-DD3EF30EF7A5}" dt="2025-10-15T04:34:58.541" v="1079"/>
          <ac:graphicFrameMkLst>
            <pc:docMk/>
            <pc:sldMk cId="1909838323" sldId="2147471844"/>
            <ac:graphicFrameMk id="15" creationId="{69018FA5-0D80-44F6-A17C-B282D097795C}"/>
          </ac:graphicFrameMkLst>
        </pc:graphicFrameChg>
      </pc:sldChg>
      <pc:sldChg chg="modSp del mod">
        <pc:chgData name="John Paserba" userId="77bd6c8a-d0c1-4fea-8705-0169f65d0c0e" providerId="ADAL" clId="{A6128F38-4E41-492B-9A20-DD3EF30EF7A5}" dt="2025-10-15T04:38:49.204" v="1094" actId="47"/>
        <pc:sldMkLst>
          <pc:docMk/>
          <pc:sldMk cId="3295776831" sldId="2147471844"/>
        </pc:sldMkLst>
        <pc:spChg chg="mod">
          <ac:chgData name="John Paserba" userId="77bd6c8a-d0c1-4fea-8705-0169f65d0c0e" providerId="ADAL" clId="{A6128F38-4E41-492B-9A20-DD3EF30EF7A5}" dt="2025-10-15T04:37:23.407" v="1087" actId="20577"/>
          <ac:spMkLst>
            <pc:docMk/>
            <pc:sldMk cId="3295776831" sldId="2147471844"/>
            <ac:spMk id="16" creationId="{C9A47489-DC99-4904-A596-7AF89E458C38}"/>
          </ac:spMkLst>
        </pc:spChg>
      </pc:sldChg>
      <pc:sldChg chg="del">
        <pc:chgData name="John Paserba" userId="77bd6c8a-d0c1-4fea-8705-0169f65d0c0e" providerId="ADAL" clId="{A6128F38-4E41-492B-9A20-DD3EF30EF7A5}" dt="2025-10-15T04:06:07.990" v="723" actId="47"/>
        <pc:sldMkLst>
          <pc:docMk/>
          <pc:sldMk cId="248069441" sldId="2147471845"/>
        </pc:sldMkLst>
      </pc:sldChg>
      <pc:sldChg chg="modSp mod">
        <pc:chgData name="John Paserba" userId="77bd6c8a-d0c1-4fea-8705-0169f65d0c0e" providerId="ADAL" clId="{A6128F38-4E41-492B-9A20-DD3EF30EF7A5}" dt="2025-10-15T04:32:29.359" v="1078" actId="20577"/>
        <pc:sldMkLst>
          <pc:docMk/>
          <pc:sldMk cId="1797580026" sldId="2147471846"/>
        </pc:sldMkLst>
        <pc:spChg chg="mod">
          <ac:chgData name="John Paserba" userId="77bd6c8a-d0c1-4fea-8705-0169f65d0c0e" providerId="ADAL" clId="{A6128F38-4E41-492B-9A20-DD3EF30EF7A5}" dt="2025-10-15T04:32:19.318" v="1077" actId="6549"/>
          <ac:spMkLst>
            <pc:docMk/>
            <pc:sldMk cId="1797580026" sldId="2147471846"/>
            <ac:spMk id="21" creationId="{AE762D9E-9375-48FB-9027-C352FEDE0E4C}"/>
          </ac:spMkLst>
        </pc:spChg>
        <pc:spChg chg="mod">
          <ac:chgData name="John Paserba" userId="77bd6c8a-d0c1-4fea-8705-0169f65d0c0e" providerId="ADAL" clId="{A6128F38-4E41-492B-9A20-DD3EF30EF7A5}" dt="2025-10-15T04:32:29.359" v="1078" actId="20577"/>
          <ac:spMkLst>
            <pc:docMk/>
            <pc:sldMk cId="1797580026" sldId="2147471846"/>
            <ac:spMk id="23" creationId="{04E7A64D-C920-43AC-AA61-4720A182E729}"/>
          </ac:spMkLst>
        </pc:spChg>
      </pc:sldChg>
      <pc:sldChg chg="del">
        <pc:chgData name="John Paserba" userId="77bd6c8a-d0c1-4fea-8705-0169f65d0c0e" providerId="ADAL" clId="{A6128F38-4E41-492B-9A20-DD3EF30EF7A5}" dt="2025-10-15T02:46:10.258" v="93" actId="47"/>
        <pc:sldMkLst>
          <pc:docMk/>
          <pc:sldMk cId="3859739026" sldId="2147471848"/>
        </pc:sldMkLst>
      </pc:sldChg>
      <pc:sldChg chg="delSp modSp mod">
        <pc:chgData name="John Paserba" userId="77bd6c8a-d0c1-4fea-8705-0169f65d0c0e" providerId="ADAL" clId="{A6128F38-4E41-492B-9A20-DD3EF30EF7A5}" dt="2025-10-15T04:31:06.334" v="1063" actId="20577"/>
        <pc:sldMkLst>
          <pc:docMk/>
          <pc:sldMk cId="795209985" sldId="2147471850"/>
        </pc:sldMkLst>
        <pc:spChg chg="mod">
          <ac:chgData name="John Paserba" userId="77bd6c8a-d0c1-4fea-8705-0169f65d0c0e" providerId="ADAL" clId="{A6128F38-4E41-492B-9A20-DD3EF30EF7A5}" dt="2025-10-15T04:31:06.334" v="1063" actId="20577"/>
          <ac:spMkLst>
            <pc:docMk/>
            <pc:sldMk cId="795209985" sldId="2147471850"/>
            <ac:spMk id="5" creationId="{6F20F5EE-239B-245C-C76E-33E3340BDF30}"/>
          </ac:spMkLst>
        </pc:spChg>
        <pc:spChg chg="del">
          <ac:chgData name="John Paserba" userId="77bd6c8a-d0c1-4fea-8705-0169f65d0c0e" providerId="ADAL" clId="{A6128F38-4E41-492B-9A20-DD3EF30EF7A5}" dt="2025-10-15T04:17:50.986" v="843" actId="478"/>
          <ac:spMkLst>
            <pc:docMk/>
            <pc:sldMk cId="795209985" sldId="2147471850"/>
            <ac:spMk id="6" creationId="{CA0EEF84-599F-40C0-BA80-63701F820D8C}"/>
          </ac:spMkLst>
        </pc:spChg>
        <pc:spChg chg="mod">
          <ac:chgData name="John Paserba" userId="77bd6c8a-d0c1-4fea-8705-0169f65d0c0e" providerId="ADAL" clId="{A6128F38-4E41-492B-9A20-DD3EF30EF7A5}" dt="2025-10-15T04:17:20.540" v="829"/>
          <ac:spMkLst>
            <pc:docMk/>
            <pc:sldMk cId="795209985" sldId="2147471850"/>
            <ac:spMk id="3328002" creationId="{00000000-0000-0000-0000-000000000000}"/>
          </ac:spMkLst>
        </pc:spChg>
      </pc:sldChg>
      <pc:sldChg chg="del">
        <pc:chgData name="John Paserba" userId="77bd6c8a-d0c1-4fea-8705-0169f65d0c0e" providerId="ADAL" clId="{A6128F38-4E41-492B-9A20-DD3EF30EF7A5}" dt="2025-10-15T03:04:02.758" v="328" actId="47"/>
        <pc:sldMkLst>
          <pc:docMk/>
          <pc:sldMk cId="1403970950" sldId="2147471868"/>
        </pc:sldMkLst>
      </pc:sldChg>
      <pc:sldChg chg="del">
        <pc:chgData name="John Paserba" userId="77bd6c8a-d0c1-4fea-8705-0169f65d0c0e" providerId="ADAL" clId="{A6128F38-4E41-492B-9A20-DD3EF30EF7A5}" dt="2025-10-15T03:04:02.758" v="328" actId="47"/>
        <pc:sldMkLst>
          <pc:docMk/>
          <pc:sldMk cId="1560344356" sldId="2147471869"/>
        </pc:sldMkLst>
      </pc:sldChg>
      <pc:sldChg chg="del">
        <pc:chgData name="John Paserba" userId="77bd6c8a-d0c1-4fea-8705-0169f65d0c0e" providerId="ADAL" clId="{A6128F38-4E41-492B-9A20-DD3EF30EF7A5}" dt="2025-10-15T03:04:02.758" v="328" actId="47"/>
        <pc:sldMkLst>
          <pc:docMk/>
          <pc:sldMk cId="4071523654" sldId="2147471870"/>
        </pc:sldMkLst>
      </pc:sldChg>
      <pc:sldChg chg="modSp mod ord">
        <pc:chgData name="John Paserba" userId="77bd6c8a-d0c1-4fea-8705-0169f65d0c0e" providerId="ADAL" clId="{A6128F38-4E41-492B-9A20-DD3EF30EF7A5}" dt="2025-10-15T04:55:48.037" v="1217"/>
        <pc:sldMkLst>
          <pc:docMk/>
          <pc:sldMk cId="2805556490" sldId="2147471874"/>
        </pc:sldMkLst>
        <pc:spChg chg="mod">
          <ac:chgData name="John Paserba" userId="77bd6c8a-d0c1-4fea-8705-0169f65d0c0e" providerId="ADAL" clId="{A6128F38-4E41-492B-9A20-DD3EF30EF7A5}" dt="2025-10-15T03:07:05.345" v="351" actId="20577"/>
          <ac:spMkLst>
            <pc:docMk/>
            <pc:sldMk cId="2805556490" sldId="2147471874"/>
            <ac:spMk id="9" creationId="{A403911F-E33B-4F6F-933A-99D0A2535E13}"/>
          </ac:spMkLst>
        </pc:spChg>
        <pc:spChg chg="mod">
          <ac:chgData name="John Paserba" userId="77bd6c8a-d0c1-4fea-8705-0169f65d0c0e" providerId="ADAL" clId="{A6128F38-4E41-492B-9A20-DD3EF30EF7A5}" dt="2025-10-15T04:55:48.037" v="1217"/>
          <ac:spMkLst>
            <pc:docMk/>
            <pc:sldMk cId="2805556490" sldId="2147471874"/>
            <ac:spMk id="3328002" creationId="{00000000-0000-0000-0000-000000000000}"/>
          </ac:spMkLst>
        </pc:spChg>
      </pc:sldChg>
      <pc:sldChg chg="modSp mod">
        <pc:chgData name="John Paserba" userId="77bd6c8a-d0c1-4fea-8705-0169f65d0c0e" providerId="ADAL" clId="{A6128F38-4E41-492B-9A20-DD3EF30EF7A5}" dt="2025-10-15T04:55:15.109" v="1214" actId="20577"/>
        <pc:sldMkLst>
          <pc:docMk/>
          <pc:sldMk cId="2269281244" sldId="2147471875"/>
        </pc:sldMkLst>
        <pc:spChg chg="mod">
          <ac:chgData name="John Paserba" userId="77bd6c8a-d0c1-4fea-8705-0169f65d0c0e" providerId="ADAL" clId="{A6128F38-4E41-492B-9A20-DD3EF30EF7A5}" dt="2025-10-15T03:09:08.433" v="397" actId="20577"/>
          <ac:spMkLst>
            <pc:docMk/>
            <pc:sldMk cId="2269281244" sldId="2147471875"/>
            <ac:spMk id="9" creationId="{A403911F-E33B-4F6F-933A-99D0A2535E13}"/>
          </ac:spMkLst>
        </pc:spChg>
        <pc:spChg chg="mod">
          <ac:chgData name="John Paserba" userId="77bd6c8a-d0c1-4fea-8705-0169f65d0c0e" providerId="ADAL" clId="{A6128F38-4E41-492B-9A20-DD3EF30EF7A5}" dt="2025-10-15T04:55:15.109" v="1214" actId="20577"/>
          <ac:spMkLst>
            <pc:docMk/>
            <pc:sldMk cId="2269281244" sldId="2147471875"/>
            <ac:spMk id="3328002" creationId="{00000000-0000-0000-0000-000000000000}"/>
          </ac:spMkLst>
        </pc:spChg>
      </pc:sldChg>
      <pc:sldChg chg="modSp mod">
        <pc:chgData name="John Paserba" userId="77bd6c8a-d0c1-4fea-8705-0169f65d0c0e" providerId="ADAL" clId="{A6128F38-4E41-492B-9A20-DD3EF30EF7A5}" dt="2025-10-15T03:18:45.262" v="457" actId="115"/>
        <pc:sldMkLst>
          <pc:docMk/>
          <pc:sldMk cId="43637399" sldId="2147471876"/>
        </pc:sldMkLst>
        <pc:spChg chg="mod">
          <ac:chgData name="John Paserba" userId="77bd6c8a-d0c1-4fea-8705-0169f65d0c0e" providerId="ADAL" clId="{A6128F38-4E41-492B-9A20-DD3EF30EF7A5}" dt="2025-10-15T03:18:45.262" v="457" actId="115"/>
          <ac:spMkLst>
            <pc:docMk/>
            <pc:sldMk cId="43637399" sldId="2147471876"/>
            <ac:spMk id="11" creationId="{89ED99B8-54B3-2858-5858-7D800B2A466B}"/>
          </ac:spMkLst>
        </pc:spChg>
      </pc:sldChg>
      <pc:sldChg chg="modSp mod">
        <pc:chgData name="John Paserba" userId="77bd6c8a-d0c1-4fea-8705-0169f65d0c0e" providerId="ADAL" clId="{A6128F38-4E41-492B-9A20-DD3EF30EF7A5}" dt="2025-10-15T03:19:37.439" v="465" actId="207"/>
        <pc:sldMkLst>
          <pc:docMk/>
          <pc:sldMk cId="2362021607" sldId="2147471877"/>
        </pc:sldMkLst>
        <pc:spChg chg="mod">
          <ac:chgData name="John Paserba" userId="77bd6c8a-d0c1-4fea-8705-0169f65d0c0e" providerId="ADAL" clId="{A6128F38-4E41-492B-9A20-DD3EF30EF7A5}" dt="2025-10-15T03:19:37.439" v="465" actId="207"/>
          <ac:spMkLst>
            <pc:docMk/>
            <pc:sldMk cId="2362021607" sldId="2147471877"/>
            <ac:spMk id="11" creationId="{041C9C5F-956A-62F8-5692-EBD637F9CA14}"/>
          </ac:spMkLst>
        </pc:spChg>
      </pc:sldChg>
      <pc:sldChg chg="modSp mod">
        <pc:chgData name="John Paserba" userId="77bd6c8a-d0c1-4fea-8705-0169f65d0c0e" providerId="ADAL" clId="{A6128F38-4E41-492B-9A20-DD3EF30EF7A5}" dt="2025-10-15T03:20:36.661" v="475" actId="1076"/>
        <pc:sldMkLst>
          <pc:docMk/>
          <pc:sldMk cId="2029220160" sldId="2147471878"/>
        </pc:sldMkLst>
        <pc:spChg chg="mod">
          <ac:chgData name="John Paserba" userId="77bd6c8a-d0c1-4fea-8705-0169f65d0c0e" providerId="ADAL" clId="{A6128F38-4E41-492B-9A20-DD3EF30EF7A5}" dt="2025-10-15T03:20:36.661" v="475" actId="1076"/>
          <ac:spMkLst>
            <pc:docMk/>
            <pc:sldMk cId="2029220160" sldId="2147471878"/>
            <ac:spMk id="14" creationId="{BE873208-CFB3-EC14-CE1C-AA516F70F1F2}"/>
          </ac:spMkLst>
        </pc:spChg>
      </pc:sldChg>
      <pc:sldChg chg="modSp mod">
        <pc:chgData name="John Paserba" userId="77bd6c8a-d0c1-4fea-8705-0169f65d0c0e" providerId="ADAL" clId="{A6128F38-4E41-492B-9A20-DD3EF30EF7A5}" dt="2025-10-15T03:21:03.865" v="479" actId="179"/>
        <pc:sldMkLst>
          <pc:docMk/>
          <pc:sldMk cId="1958876136" sldId="2147471879"/>
        </pc:sldMkLst>
        <pc:spChg chg="mod">
          <ac:chgData name="John Paserba" userId="77bd6c8a-d0c1-4fea-8705-0169f65d0c0e" providerId="ADAL" clId="{A6128F38-4E41-492B-9A20-DD3EF30EF7A5}" dt="2025-10-15T03:21:03.865" v="479" actId="179"/>
          <ac:spMkLst>
            <pc:docMk/>
            <pc:sldMk cId="1958876136" sldId="2147471879"/>
            <ac:spMk id="9" creationId="{82343B83-828C-8FAE-CD82-1D04A33738D3}"/>
          </ac:spMkLst>
        </pc:spChg>
      </pc:sldChg>
      <pc:sldChg chg="modSp mod">
        <pc:chgData name="John Paserba" userId="77bd6c8a-d0c1-4fea-8705-0169f65d0c0e" providerId="ADAL" clId="{A6128F38-4E41-492B-9A20-DD3EF30EF7A5}" dt="2025-10-15T03:21:36.066" v="485" actId="948"/>
        <pc:sldMkLst>
          <pc:docMk/>
          <pc:sldMk cId="2090766154" sldId="2147471880"/>
        </pc:sldMkLst>
        <pc:spChg chg="mod">
          <ac:chgData name="John Paserba" userId="77bd6c8a-d0c1-4fea-8705-0169f65d0c0e" providerId="ADAL" clId="{A6128F38-4E41-492B-9A20-DD3EF30EF7A5}" dt="2025-10-15T03:21:36.066" v="485" actId="948"/>
          <ac:spMkLst>
            <pc:docMk/>
            <pc:sldMk cId="2090766154" sldId="2147471880"/>
            <ac:spMk id="9" creationId="{33E1701B-7F94-6789-3C6A-A428042FCAA4}"/>
          </ac:spMkLst>
        </pc:spChg>
      </pc:sldChg>
      <pc:sldChg chg="del">
        <pc:chgData name="John Paserba" userId="77bd6c8a-d0c1-4fea-8705-0169f65d0c0e" providerId="ADAL" clId="{A6128F38-4E41-492B-9A20-DD3EF30EF7A5}" dt="2025-10-15T02:53:20.142" v="123" actId="47"/>
        <pc:sldMkLst>
          <pc:docMk/>
          <pc:sldMk cId="2212209976" sldId="2147471882"/>
        </pc:sldMkLst>
      </pc:sldChg>
      <pc:sldChg chg="addSp delSp modSp mod">
        <pc:chgData name="John Paserba" userId="77bd6c8a-d0c1-4fea-8705-0169f65d0c0e" providerId="ADAL" clId="{A6128F38-4E41-492B-9A20-DD3EF30EF7A5}" dt="2025-10-15T04:54:54.282" v="1210" actId="1076"/>
        <pc:sldMkLst>
          <pc:docMk/>
          <pc:sldMk cId="3413890278" sldId="2147471882"/>
        </pc:sldMkLst>
        <pc:spChg chg="mod">
          <ac:chgData name="John Paserba" userId="77bd6c8a-d0c1-4fea-8705-0169f65d0c0e" providerId="ADAL" clId="{A6128F38-4E41-492B-9A20-DD3EF30EF7A5}" dt="2025-10-15T04:54:43.959" v="1208" actId="20577"/>
          <ac:spMkLst>
            <pc:docMk/>
            <pc:sldMk cId="3413890278" sldId="2147471882"/>
            <ac:spMk id="2" creationId="{24EFA49A-D6F0-94EB-2E4A-46AC510574DD}"/>
          </ac:spMkLst>
        </pc:spChg>
        <pc:spChg chg="add del mod">
          <ac:chgData name="John Paserba" userId="77bd6c8a-d0c1-4fea-8705-0169f65d0c0e" providerId="ADAL" clId="{A6128F38-4E41-492B-9A20-DD3EF30EF7A5}" dt="2025-10-15T03:08:15.088" v="353" actId="478"/>
          <ac:spMkLst>
            <pc:docMk/>
            <pc:sldMk cId="3413890278" sldId="2147471882"/>
            <ac:spMk id="4" creationId="{3E59BC65-86A6-4537-B2DF-C507BAB83272}"/>
          </ac:spMkLst>
        </pc:spChg>
        <pc:picChg chg="del">
          <ac:chgData name="John Paserba" userId="77bd6c8a-d0c1-4fea-8705-0169f65d0c0e" providerId="ADAL" clId="{A6128F38-4E41-492B-9A20-DD3EF30EF7A5}" dt="2025-10-15T03:08:12.293" v="352" actId="478"/>
          <ac:picMkLst>
            <pc:docMk/>
            <pc:sldMk cId="3413890278" sldId="2147471882"/>
            <ac:picMk id="7" creationId="{75E7D175-AF52-434A-8AF8-313DB1D6F5E8}"/>
          </ac:picMkLst>
        </pc:picChg>
        <pc:picChg chg="add mod">
          <ac:chgData name="John Paserba" userId="77bd6c8a-d0c1-4fea-8705-0169f65d0c0e" providerId="ADAL" clId="{A6128F38-4E41-492B-9A20-DD3EF30EF7A5}" dt="2025-10-15T04:54:54.282" v="1210" actId="1076"/>
          <ac:picMkLst>
            <pc:docMk/>
            <pc:sldMk cId="3413890278" sldId="2147471882"/>
            <ac:picMk id="8" creationId="{1487C9B7-8BAC-499D-9494-39A690170ADF}"/>
          </ac:picMkLst>
        </pc:picChg>
      </pc:sldChg>
      <pc:sldChg chg="modSp mod">
        <pc:chgData name="John Paserba" userId="77bd6c8a-d0c1-4fea-8705-0169f65d0c0e" providerId="ADAL" clId="{A6128F38-4E41-492B-9A20-DD3EF30EF7A5}" dt="2025-10-15T03:56:59.731" v="640" actId="6549"/>
        <pc:sldMkLst>
          <pc:docMk/>
          <pc:sldMk cId="3695867305" sldId="2147471883"/>
        </pc:sldMkLst>
        <pc:spChg chg="mod">
          <ac:chgData name="John Paserba" userId="77bd6c8a-d0c1-4fea-8705-0169f65d0c0e" providerId="ADAL" clId="{A6128F38-4E41-492B-9A20-DD3EF30EF7A5}" dt="2025-10-15T03:56:59.731" v="640" actId="6549"/>
          <ac:spMkLst>
            <pc:docMk/>
            <pc:sldMk cId="3695867305" sldId="2147471883"/>
            <ac:spMk id="2" creationId="{00000000-0000-0000-0000-000000000000}"/>
          </ac:spMkLst>
        </pc:spChg>
        <pc:graphicFrameChg chg="mod">
          <ac:chgData name="John Paserba" userId="77bd6c8a-d0c1-4fea-8705-0169f65d0c0e" providerId="ADAL" clId="{A6128F38-4E41-492B-9A20-DD3EF30EF7A5}" dt="2025-10-15T03:55:04.278" v="633" actId="207"/>
          <ac:graphicFrameMkLst>
            <pc:docMk/>
            <pc:sldMk cId="3695867305" sldId="2147471883"/>
            <ac:graphicFrameMk id="5" creationId="{00000000-0000-0000-0000-000000000000}"/>
          </ac:graphicFrameMkLst>
        </pc:graphicFrameChg>
        <pc:graphicFrameChg chg="mod">
          <ac:chgData name="John Paserba" userId="77bd6c8a-d0c1-4fea-8705-0169f65d0c0e" providerId="ADAL" clId="{A6128F38-4E41-492B-9A20-DD3EF30EF7A5}" dt="2025-10-15T03:55:08.967" v="634" actId="207"/>
          <ac:graphicFrameMkLst>
            <pc:docMk/>
            <pc:sldMk cId="3695867305" sldId="2147471883"/>
            <ac:graphicFrameMk id="6" creationId="{00000000-0000-0000-0000-000000000000}"/>
          </ac:graphicFrameMkLst>
        </pc:graphicFrameChg>
      </pc:sldChg>
      <pc:sldChg chg="modSp mod">
        <pc:chgData name="John Paserba" userId="77bd6c8a-d0c1-4fea-8705-0169f65d0c0e" providerId="ADAL" clId="{A6128F38-4E41-492B-9A20-DD3EF30EF7A5}" dt="2025-10-15T04:03:19.184" v="719" actId="20577"/>
        <pc:sldMkLst>
          <pc:docMk/>
          <pc:sldMk cId="2578400383" sldId="2147471884"/>
        </pc:sldMkLst>
        <pc:spChg chg="mod">
          <ac:chgData name="John Paserba" userId="77bd6c8a-d0c1-4fea-8705-0169f65d0c0e" providerId="ADAL" clId="{A6128F38-4E41-492B-9A20-DD3EF30EF7A5}" dt="2025-10-15T04:03:19.184" v="719" actId="20577"/>
          <ac:spMkLst>
            <pc:docMk/>
            <pc:sldMk cId="2578400383" sldId="2147471884"/>
            <ac:spMk id="2" creationId="{00000000-0000-0000-0000-000000000000}"/>
          </ac:spMkLst>
        </pc:spChg>
        <pc:spChg chg="mod">
          <ac:chgData name="John Paserba" userId="77bd6c8a-d0c1-4fea-8705-0169f65d0c0e" providerId="ADAL" clId="{A6128F38-4E41-492B-9A20-DD3EF30EF7A5}" dt="2025-10-15T04:03:09.521" v="718" actId="20577"/>
          <ac:spMkLst>
            <pc:docMk/>
            <pc:sldMk cId="2578400383" sldId="2147471884"/>
            <ac:spMk id="16" creationId="{759C4904-0FA0-4EBD-88DA-83F872C4DC37}"/>
          </ac:spMkLst>
        </pc:spChg>
      </pc:sldChg>
      <pc:sldChg chg="modSp mod">
        <pc:chgData name="John Paserba" userId="77bd6c8a-d0c1-4fea-8705-0169f65d0c0e" providerId="ADAL" clId="{A6128F38-4E41-492B-9A20-DD3EF30EF7A5}" dt="2025-10-15T04:11:03.448" v="763" actId="20577"/>
        <pc:sldMkLst>
          <pc:docMk/>
          <pc:sldMk cId="1629667996" sldId="2147471885"/>
        </pc:sldMkLst>
        <pc:spChg chg="mod">
          <ac:chgData name="John Paserba" userId="77bd6c8a-d0c1-4fea-8705-0169f65d0c0e" providerId="ADAL" clId="{A6128F38-4E41-492B-9A20-DD3EF30EF7A5}" dt="2025-10-15T04:08:23.416" v="738" actId="20577"/>
          <ac:spMkLst>
            <pc:docMk/>
            <pc:sldMk cId="1629667996" sldId="2147471885"/>
            <ac:spMk id="2" creationId="{00000000-0000-0000-0000-000000000000}"/>
          </ac:spMkLst>
        </pc:spChg>
        <pc:spChg chg="mod">
          <ac:chgData name="John Paserba" userId="77bd6c8a-d0c1-4fea-8705-0169f65d0c0e" providerId="ADAL" clId="{A6128F38-4E41-492B-9A20-DD3EF30EF7A5}" dt="2025-10-15T04:11:03.448" v="763" actId="20577"/>
          <ac:spMkLst>
            <pc:docMk/>
            <pc:sldMk cId="1629667996" sldId="2147471885"/>
            <ac:spMk id="23" creationId="{A50ED7DC-BB8D-4DF5-B0DB-B4962591C9D4}"/>
          </ac:spMkLst>
        </pc:spChg>
      </pc:sldChg>
      <pc:sldChg chg="add ord">
        <pc:chgData name="John Paserba" userId="77bd6c8a-d0c1-4fea-8705-0169f65d0c0e" providerId="ADAL" clId="{A6128F38-4E41-492B-9A20-DD3EF30EF7A5}" dt="2025-10-15T04:29:26.193" v="1022"/>
        <pc:sldMkLst>
          <pc:docMk/>
          <pc:sldMk cId="1142811799" sldId="2147471888"/>
        </pc:sldMkLst>
      </pc:sldChg>
      <pc:sldMasterChg chg="delSldLayout">
        <pc:chgData name="John Paserba" userId="77bd6c8a-d0c1-4fea-8705-0169f65d0c0e" providerId="ADAL" clId="{A6128F38-4E41-492B-9A20-DD3EF30EF7A5}" dt="2025-10-15T03:08:35.281" v="357" actId="47"/>
        <pc:sldMasterMkLst>
          <pc:docMk/>
          <pc:sldMasterMk cId="3145953692" sldId="2147483841"/>
        </pc:sldMasterMkLst>
        <pc:sldLayoutChg chg="del">
          <pc:chgData name="John Paserba" userId="77bd6c8a-d0c1-4fea-8705-0169f65d0c0e" providerId="ADAL" clId="{A6128F38-4E41-492B-9A20-DD3EF30EF7A5}" dt="2025-10-15T03:08:35.281" v="357" actId="47"/>
          <pc:sldLayoutMkLst>
            <pc:docMk/>
            <pc:sldMasterMk cId="3145953692" sldId="2147483841"/>
            <pc:sldLayoutMk cId="600485770" sldId="2147483844"/>
          </pc:sldLayoutMkLst>
        </pc:sldLayoutChg>
      </pc:sldMasterChg>
    </pc:docChg>
  </pc:docChgLst>
  <pc:docChgLst>
    <pc:chgData name="John Paserba" userId="77bd6c8a-d0c1-4fea-8705-0169f65d0c0e" providerId="ADAL" clId="{1001C0DD-7E82-4F82-A846-3EE15D16FE9F}"/>
    <pc:docChg chg="undo custSel addSld delSld modSld sldOrd delMainMaster">
      <pc:chgData name="John Paserba" userId="77bd6c8a-d0c1-4fea-8705-0169f65d0c0e" providerId="ADAL" clId="{1001C0DD-7E82-4F82-A846-3EE15D16FE9F}" dt="2025-11-09T20:48:35.252" v="1432"/>
      <pc:docMkLst>
        <pc:docMk/>
      </pc:docMkLst>
      <pc:sldChg chg="modSp add del mod">
        <pc:chgData name="John Paserba" userId="77bd6c8a-d0c1-4fea-8705-0169f65d0c0e" providerId="ADAL" clId="{1001C0DD-7E82-4F82-A846-3EE15D16FE9F}" dt="2025-11-09T19:25:19.766" v="105" actId="2711"/>
        <pc:sldMkLst>
          <pc:docMk/>
          <pc:sldMk cId="4008929667" sldId="691"/>
        </pc:sldMkLst>
        <pc:spChg chg="mod">
          <ac:chgData name="John Paserba" userId="77bd6c8a-d0c1-4fea-8705-0169f65d0c0e" providerId="ADAL" clId="{1001C0DD-7E82-4F82-A846-3EE15D16FE9F}" dt="2025-11-09T19:25:17.821" v="104" actId="2711"/>
          <ac:spMkLst>
            <pc:docMk/>
            <pc:sldMk cId="4008929667" sldId="691"/>
            <ac:spMk id="4" creationId="{857C52E9-D0F5-A0C1-6B9F-A48AC4511F27}"/>
          </ac:spMkLst>
        </pc:spChg>
        <pc:spChg chg="mod">
          <ac:chgData name="John Paserba" userId="77bd6c8a-d0c1-4fea-8705-0169f65d0c0e" providerId="ADAL" clId="{1001C0DD-7E82-4F82-A846-3EE15D16FE9F}" dt="2025-11-09T19:25:19.766" v="105" actId="2711"/>
          <ac:spMkLst>
            <pc:docMk/>
            <pc:sldMk cId="4008929667" sldId="691"/>
            <ac:spMk id="6" creationId="{7BCE8F1B-D19E-7D94-7917-B396168B1C5E}"/>
          </ac:spMkLst>
        </pc:spChg>
      </pc:sldChg>
      <pc:sldChg chg="modSp add del mod">
        <pc:chgData name="John Paserba" userId="77bd6c8a-d0c1-4fea-8705-0169f65d0c0e" providerId="ADAL" clId="{1001C0DD-7E82-4F82-A846-3EE15D16FE9F}" dt="2025-11-09T19:25:52.091" v="108" actId="2711"/>
        <pc:sldMkLst>
          <pc:docMk/>
          <pc:sldMk cId="216267857" sldId="750"/>
        </pc:sldMkLst>
        <pc:spChg chg="mod">
          <ac:chgData name="John Paserba" userId="77bd6c8a-d0c1-4fea-8705-0169f65d0c0e" providerId="ADAL" clId="{1001C0DD-7E82-4F82-A846-3EE15D16FE9F}" dt="2025-11-09T19:25:42.140" v="107" actId="207"/>
          <ac:spMkLst>
            <pc:docMk/>
            <pc:sldMk cId="216267857" sldId="750"/>
            <ac:spMk id="9" creationId="{FFAB0659-3DA2-B58D-324D-6380861012A7}"/>
          </ac:spMkLst>
        </pc:spChg>
        <pc:spChg chg="mod">
          <ac:chgData name="John Paserba" userId="77bd6c8a-d0c1-4fea-8705-0169f65d0c0e" providerId="ADAL" clId="{1001C0DD-7E82-4F82-A846-3EE15D16FE9F}" dt="2025-11-09T19:25:52.091" v="108" actId="2711"/>
          <ac:spMkLst>
            <pc:docMk/>
            <pc:sldMk cId="216267857" sldId="750"/>
            <ac:spMk id="279" creationId="{53605EEE-BE55-2430-8D07-A80D87F51352}"/>
          </ac:spMkLst>
        </pc:spChg>
      </pc:sldChg>
      <pc:sldChg chg="del">
        <pc:chgData name="John Paserba" userId="77bd6c8a-d0c1-4fea-8705-0169f65d0c0e" providerId="ADAL" clId="{1001C0DD-7E82-4F82-A846-3EE15D16FE9F}" dt="2025-11-09T19:27:25.660" v="194" actId="47"/>
        <pc:sldMkLst>
          <pc:docMk/>
          <pc:sldMk cId="1580111595" sldId="752"/>
        </pc:sldMkLst>
      </pc:sldChg>
      <pc:sldChg chg="del">
        <pc:chgData name="John Paserba" userId="77bd6c8a-d0c1-4fea-8705-0169f65d0c0e" providerId="ADAL" clId="{1001C0DD-7E82-4F82-A846-3EE15D16FE9F}" dt="2025-11-09T19:40:35.362" v="357" actId="47"/>
        <pc:sldMkLst>
          <pc:docMk/>
          <pc:sldMk cId="4172477377" sldId="2147471078"/>
        </pc:sldMkLst>
      </pc:sldChg>
      <pc:sldChg chg="del">
        <pc:chgData name="John Paserba" userId="77bd6c8a-d0c1-4fea-8705-0169f65d0c0e" providerId="ADAL" clId="{1001C0DD-7E82-4F82-A846-3EE15D16FE9F}" dt="2025-11-09T19:40:35.362" v="357" actId="47"/>
        <pc:sldMkLst>
          <pc:docMk/>
          <pc:sldMk cId="354132065" sldId="2147471079"/>
        </pc:sldMkLst>
      </pc:sldChg>
      <pc:sldChg chg="del">
        <pc:chgData name="John Paserba" userId="77bd6c8a-d0c1-4fea-8705-0169f65d0c0e" providerId="ADAL" clId="{1001C0DD-7E82-4F82-A846-3EE15D16FE9F}" dt="2025-11-09T19:40:35.362" v="357" actId="47"/>
        <pc:sldMkLst>
          <pc:docMk/>
          <pc:sldMk cId="1460316880" sldId="2147471099"/>
        </pc:sldMkLst>
      </pc:sldChg>
      <pc:sldChg chg="del">
        <pc:chgData name="John Paserba" userId="77bd6c8a-d0c1-4fea-8705-0169f65d0c0e" providerId="ADAL" clId="{1001C0DD-7E82-4F82-A846-3EE15D16FE9F}" dt="2025-11-09T19:40:35.362" v="357" actId="47"/>
        <pc:sldMkLst>
          <pc:docMk/>
          <pc:sldMk cId="3317265708" sldId="2147471104"/>
        </pc:sldMkLst>
      </pc:sldChg>
      <pc:sldChg chg="del">
        <pc:chgData name="John Paserba" userId="77bd6c8a-d0c1-4fea-8705-0169f65d0c0e" providerId="ADAL" clId="{1001C0DD-7E82-4F82-A846-3EE15D16FE9F}" dt="2025-11-09T19:40:35.362" v="357" actId="47"/>
        <pc:sldMkLst>
          <pc:docMk/>
          <pc:sldMk cId="2589779508" sldId="2147471116"/>
        </pc:sldMkLst>
      </pc:sldChg>
      <pc:sldChg chg="modSp mod">
        <pc:chgData name="John Paserba" userId="77bd6c8a-d0c1-4fea-8705-0169f65d0c0e" providerId="ADAL" clId="{1001C0DD-7E82-4F82-A846-3EE15D16FE9F}" dt="2025-11-09T18:56:56.884" v="37" actId="1076"/>
        <pc:sldMkLst>
          <pc:docMk/>
          <pc:sldMk cId="3260108025" sldId="2147471143"/>
        </pc:sldMkLst>
        <pc:spChg chg="mod">
          <ac:chgData name="John Paserba" userId="77bd6c8a-d0c1-4fea-8705-0169f65d0c0e" providerId="ADAL" clId="{1001C0DD-7E82-4F82-A846-3EE15D16FE9F}" dt="2025-11-09T18:56:54.810" v="36" actId="255"/>
          <ac:spMkLst>
            <pc:docMk/>
            <pc:sldMk cId="3260108025" sldId="2147471143"/>
            <ac:spMk id="12" creationId="{F45E667D-D9ED-4BE1-999E-2A4766484A8F}"/>
          </ac:spMkLst>
        </pc:spChg>
        <pc:spChg chg="mod">
          <ac:chgData name="John Paserba" userId="77bd6c8a-d0c1-4fea-8705-0169f65d0c0e" providerId="ADAL" clId="{1001C0DD-7E82-4F82-A846-3EE15D16FE9F}" dt="2025-11-09T18:56:56.884" v="37" actId="1076"/>
          <ac:spMkLst>
            <pc:docMk/>
            <pc:sldMk cId="3260108025" sldId="2147471143"/>
            <ac:spMk id="43" creationId="{ED1898D7-B64C-C5FA-7660-FD1B62F07C3E}"/>
          </ac:spMkLst>
        </pc:spChg>
      </pc:sldChg>
      <pc:sldChg chg="del">
        <pc:chgData name="John Paserba" userId="77bd6c8a-d0c1-4fea-8705-0169f65d0c0e" providerId="ADAL" clId="{1001C0DD-7E82-4F82-A846-3EE15D16FE9F}" dt="2025-11-09T19:40:56.994" v="359" actId="47"/>
        <pc:sldMkLst>
          <pc:docMk/>
          <pc:sldMk cId="2772247767" sldId="2147471154"/>
        </pc:sldMkLst>
      </pc:sldChg>
      <pc:sldChg chg="del">
        <pc:chgData name="John Paserba" userId="77bd6c8a-d0c1-4fea-8705-0169f65d0c0e" providerId="ADAL" clId="{1001C0DD-7E82-4F82-A846-3EE15D16FE9F}" dt="2025-11-09T19:40:28.877" v="356" actId="47"/>
        <pc:sldMkLst>
          <pc:docMk/>
          <pc:sldMk cId="3259153746" sldId="2147471155"/>
        </pc:sldMkLst>
      </pc:sldChg>
      <pc:sldChg chg="del">
        <pc:chgData name="John Paserba" userId="77bd6c8a-d0c1-4fea-8705-0169f65d0c0e" providerId="ADAL" clId="{1001C0DD-7E82-4F82-A846-3EE15D16FE9F}" dt="2025-11-09T19:40:35.362" v="357" actId="47"/>
        <pc:sldMkLst>
          <pc:docMk/>
          <pc:sldMk cId="1347561772" sldId="2147471156"/>
        </pc:sldMkLst>
      </pc:sldChg>
      <pc:sldChg chg="del">
        <pc:chgData name="John Paserba" userId="77bd6c8a-d0c1-4fea-8705-0169f65d0c0e" providerId="ADAL" clId="{1001C0DD-7E82-4F82-A846-3EE15D16FE9F}" dt="2025-11-09T19:40:28.877" v="356" actId="47"/>
        <pc:sldMkLst>
          <pc:docMk/>
          <pc:sldMk cId="370409829" sldId="2147471166"/>
        </pc:sldMkLst>
      </pc:sldChg>
      <pc:sldChg chg="del">
        <pc:chgData name="John Paserba" userId="77bd6c8a-d0c1-4fea-8705-0169f65d0c0e" providerId="ADAL" clId="{1001C0DD-7E82-4F82-A846-3EE15D16FE9F}" dt="2025-11-09T19:40:56.994" v="359" actId="47"/>
        <pc:sldMkLst>
          <pc:docMk/>
          <pc:sldMk cId="2989192699" sldId="2147471182"/>
        </pc:sldMkLst>
      </pc:sldChg>
      <pc:sldChg chg="del">
        <pc:chgData name="John Paserba" userId="77bd6c8a-d0c1-4fea-8705-0169f65d0c0e" providerId="ADAL" clId="{1001C0DD-7E82-4F82-A846-3EE15D16FE9F}" dt="2025-11-09T19:40:56.994" v="359" actId="47"/>
        <pc:sldMkLst>
          <pc:docMk/>
          <pc:sldMk cId="720949376" sldId="2147471183"/>
        </pc:sldMkLst>
      </pc:sldChg>
      <pc:sldChg chg="del">
        <pc:chgData name="John Paserba" userId="77bd6c8a-d0c1-4fea-8705-0169f65d0c0e" providerId="ADAL" clId="{1001C0DD-7E82-4F82-A846-3EE15D16FE9F}" dt="2025-11-09T19:40:56.994" v="359" actId="47"/>
        <pc:sldMkLst>
          <pc:docMk/>
          <pc:sldMk cId="586829096" sldId="2147471185"/>
        </pc:sldMkLst>
      </pc:sldChg>
      <pc:sldChg chg="del">
        <pc:chgData name="John Paserba" userId="77bd6c8a-d0c1-4fea-8705-0169f65d0c0e" providerId="ADAL" clId="{1001C0DD-7E82-4F82-A846-3EE15D16FE9F}" dt="2025-11-09T19:40:56.994" v="359" actId="47"/>
        <pc:sldMkLst>
          <pc:docMk/>
          <pc:sldMk cId="3988688197" sldId="2147471187"/>
        </pc:sldMkLst>
      </pc:sldChg>
      <pc:sldChg chg="del">
        <pc:chgData name="John Paserba" userId="77bd6c8a-d0c1-4fea-8705-0169f65d0c0e" providerId="ADAL" clId="{1001C0DD-7E82-4F82-A846-3EE15D16FE9F}" dt="2025-11-09T19:40:56.994" v="359" actId="47"/>
        <pc:sldMkLst>
          <pc:docMk/>
          <pc:sldMk cId="226625141" sldId="2147471194"/>
        </pc:sldMkLst>
      </pc:sldChg>
      <pc:sldChg chg="del">
        <pc:chgData name="John Paserba" userId="77bd6c8a-d0c1-4fea-8705-0169f65d0c0e" providerId="ADAL" clId="{1001C0DD-7E82-4F82-A846-3EE15D16FE9F}" dt="2025-11-09T19:40:56.994" v="359" actId="47"/>
        <pc:sldMkLst>
          <pc:docMk/>
          <pc:sldMk cId="162267870" sldId="2147471195"/>
        </pc:sldMkLst>
      </pc:sldChg>
      <pc:sldChg chg="del">
        <pc:chgData name="John Paserba" userId="77bd6c8a-d0c1-4fea-8705-0169f65d0c0e" providerId="ADAL" clId="{1001C0DD-7E82-4F82-A846-3EE15D16FE9F}" dt="2025-11-09T19:40:56.994" v="359" actId="47"/>
        <pc:sldMkLst>
          <pc:docMk/>
          <pc:sldMk cId="107756887" sldId="2147471201"/>
        </pc:sldMkLst>
      </pc:sldChg>
      <pc:sldChg chg="del">
        <pc:chgData name="John Paserba" userId="77bd6c8a-d0c1-4fea-8705-0169f65d0c0e" providerId="ADAL" clId="{1001C0DD-7E82-4F82-A846-3EE15D16FE9F}" dt="2025-11-09T19:40:28.877" v="356" actId="47"/>
        <pc:sldMkLst>
          <pc:docMk/>
          <pc:sldMk cId="4206072105" sldId="2147471204"/>
        </pc:sldMkLst>
      </pc:sldChg>
      <pc:sldChg chg="del">
        <pc:chgData name="John Paserba" userId="77bd6c8a-d0c1-4fea-8705-0169f65d0c0e" providerId="ADAL" clId="{1001C0DD-7E82-4F82-A846-3EE15D16FE9F}" dt="2025-11-09T19:40:28.877" v="356" actId="47"/>
        <pc:sldMkLst>
          <pc:docMk/>
          <pc:sldMk cId="1192964890" sldId="2147471206"/>
        </pc:sldMkLst>
      </pc:sldChg>
      <pc:sldChg chg="del">
        <pc:chgData name="John Paserba" userId="77bd6c8a-d0c1-4fea-8705-0169f65d0c0e" providerId="ADAL" clId="{1001C0DD-7E82-4F82-A846-3EE15D16FE9F}" dt="2025-11-09T19:40:28.877" v="356" actId="47"/>
        <pc:sldMkLst>
          <pc:docMk/>
          <pc:sldMk cId="2073588275" sldId="2147471207"/>
        </pc:sldMkLst>
      </pc:sldChg>
      <pc:sldChg chg="del">
        <pc:chgData name="John Paserba" userId="77bd6c8a-d0c1-4fea-8705-0169f65d0c0e" providerId="ADAL" clId="{1001C0DD-7E82-4F82-A846-3EE15D16FE9F}" dt="2025-11-09T19:40:28.877" v="356" actId="47"/>
        <pc:sldMkLst>
          <pc:docMk/>
          <pc:sldMk cId="92281981" sldId="2147471248"/>
        </pc:sldMkLst>
      </pc:sldChg>
      <pc:sldChg chg="del">
        <pc:chgData name="John Paserba" userId="77bd6c8a-d0c1-4fea-8705-0169f65d0c0e" providerId="ADAL" clId="{1001C0DD-7E82-4F82-A846-3EE15D16FE9F}" dt="2025-11-09T19:40:15.090" v="354" actId="47"/>
        <pc:sldMkLst>
          <pc:docMk/>
          <pc:sldMk cId="1030336954" sldId="2147471252"/>
        </pc:sldMkLst>
      </pc:sldChg>
      <pc:sldChg chg="del">
        <pc:chgData name="John Paserba" userId="77bd6c8a-d0c1-4fea-8705-0169f65d0c0e" providerId="ADAL" clId="{1001C0DD-7E82-4F82-A846-3EE15D16FE9F}" dt="2025-11-09T19:40:56.994" v="359" actId="47"/>
        <pc:sldMkLst>
          <pc:docMk/>
          <pc:sldMk cId="816824933" sldId="2147471310"/>
        </pc:sldMkLst>
      </pc:sldChg>
      <pc:sldChg chg="del">
        <pc:chgData name="John Paserba" userId="77bd6c8a-d0c1-4fea-8705-0169f65d0c0e" providerId="ADAL" clId="{1001C0DD-7E82-4F82-A846-3EE15D16FE9F}" dt="2025-11-09T19:26:59.591" v="137" actId="47"/>
        <pc:sldMkLst>
          <pc:docMk/>
          <pc:sldMk cId="2351575374" sldId="2147471318"/>
        </pc:sldMkLst>
      </pc:sldChg>
      <pc:sldChg chg="del">
        <pc:chgData name="John Paserba" userId="77bd6c8a-d0c1-4fea-8705-0169f65d0c0e" providerId="ADAL" clId="{1001C0DD-7E82-4F82-A846-3EE15D16FE9F}" dt="2025-11-09T19:26:38.307" v="124" actId="47"/>
        <pc:sldMkLst>
          <pc:docMk/>
          <pc:sldMk cId="90357567" sldId="2147471320"/>
        </pc:sldMkLst>
      </pc:sldChg>
      <pc:sldChg chg="delSp modSp mod">
        <pc:chgData name="John Paserba" userId="77bd6c8a-d0c1-4fea-8705-0169f65d0c0e" providerId="ADAL" clId="{1001C0DD-7E82-4F82-A846-3EE15D16FE9F}" dt="2025-11-09T20:47:58.364" v="1428" actId="478"/>
        <pc:sldMkLst>
          <pc:docMk/>
          <pc:sldMk cId="1297502678" sldId="2147471320"/>
        </pc:sldMkLst>
        <pc:spChg chg="del">
          <ac:chgData name="John Paserba" userId="77bd6c8a-d0c1-4fea-8705-0169f65d0c0e" providerId="ADAL" clId="{1001C0DD-7E82-4F82-A846-3EE15D16FE9F}" dt="2025-11-09T20:47:58.364" v="1428" actId="478"/>
          <ac:spMkLst>
            <pc:docMk/>
            <pc:sldMk cId="1297502678" sldId="2147471320"/>
            <ac:spMk id="113" creationId="{427368A1-671D-47C7-A9A8-870282C73503}"/>
          </ac:spMkLst>
        </pc:spChg>
        <pc:spChg chg="mod">
          <ac:chgData name="John Paserba" userId="77bd6c8a-d0c1-4fea-8705-0169f65d0c0e" providerId="ADAL" clId="{1001C0DD-7E82-4F82-A846-3EE15D16FE9F}" dt="2025-11-09T20:47:51.541" v="1427"/>
          <ac:spMkLst>
            <pc:docMk/>
            <pc:sldMk cId="1297502678" sldId="2147471320"/>
            <ac:spMk id="3328002" creationId="{00000000-0000-0000-0000-000000000000}"/>
          </ac:spMkLst>
        </pc:spChg>
      </pc:sldChg>
      <pc:sldChg chg="delSp modSp mod">
        <pc:chgData name="John Paserba" userId="77bd6c8a-d0c1-4fea-8705-0169f65d0c0e" providerId="ADAL" clId="{1001C0DD-7E82-4F82-A846-3EE15D16FE9F}" dt="2025-11-09T20:15:16.205" v="1393" actId="255"/>
        <pc:sldMkLst>
          <pc:docMk/>
          <pc:sldMk cId="4256397748" sldId="2147471321"/>
        </pc:sldMkLst>
        <pc:spChg chg="mod">
          <ac:chgData name="John Paserba" userId="77bd6c8a-d0c1-4fea-8705-0169f65d0c0e" providerId="ADAL" clId="{1001C0DD-7E82-4F82-A846-3EE15D16FE9F}" dt="2025-11-09T20:07:49.089" v="1221" actId="1035"/>
          <ac:spMkLst>
            <pc:docMk/>
            <pc:sldMk cId="4256397748" sldId="2147471321"/>
            <ac:spMk id="8" creationId="{D9195898-5299-4EF8-BA1B-10F685FBCF58}"/>
          </ac:spMkLst>
        </pc:spChg>
        <pc:spChg chg="mod">
          <ac:chgData name="John Paserba" userId="77bd6c8a-d0c1-4fea-8705-0169f65d0c0e" providerId="ADAL" clId="{1001C0DD-7E82-4F82-A846-3EE15D16FE9F}" dt="2025-11-09T20:07:49.089" v="1221" actId="1035"/>
          <ac:spMkLst>
            <pc:docMk/>
            <pc:sldMk cId="4256397748" sldId="2147471321"/>
            <ac:spMk id="26" creationId="{9E5216DD-3428-4CC1-B191-E4C31A1AB698}"/>
          </ac:spMkLst>
        </pc:spChg>
        <pc:spChg chg="del">
          <ac:chgData name="John Paserba" userId="77bd6c8a-d0c1-4fea-8705-0169f65d0c0e" providerId="ADAL" clId="{1001C0DD-7E82-4F82-A846-3EE15D16FE9F}" dt="2025-11-09T20:07:33.817" v="1191" actId="478"/>
          <ac:spMkLst>
            <pc:docMk/>
            <pc:sldMk cId="4256397748" sldId="2147471321"/>
            <ac:spMk id="28" creationId="{A88BACB2-79AC-4791-B745-A80CFE9818F7}"/>
          </ac:spMkLst>
        </pc:spChg>
        <pc:spChg chg="del">
          <ac:chgData name="John Paserba" userId="77bd6c8a-d0c1-4fea-8705-0169f65d0c0e" providerId="ADAL" clId="{1001C0DD-7E82-4F82-A846-3EE15D16FE9F}" dt="2025-11-09T20:07:32.358" v="1190" actId="478"/>
          <ac:spMkLst>
            <pc:docMk/>
            <pc:sldMk cId="4256397748" sldId="2147471321"/>
            <ac:spMk id="29" creationId="{3310CC3D-DFAF-4E0E-879B-596C8D8E0456}"/>
          </ac:spMkLst>
        </pc:spChg>
        <pc:spChg chg="del">
          <ac:chgData name="John Paserba" userId="77bd6c8a-d0c1-4fea-8705-0169f65d0c0e" providerId="ADAL" clId="{1001C0DD-7E82-4F82-A846-3EE15D16FE9F}" dt="2025-11-09T20:07:36.563" v="1193" actId="478"/>
          <ac:spMkLst>
            <pc:docMk/>
            <pc:sldMk cId="4256397748" sldId="2147471321"/>
            <ac:spMk id="30" creationId="{CE034884-F4BF-41DF-B4B7-045F1886A436}"/>
          </ac:spMkLst>
        </pc:spChg>
        <pc:spChg chg="mod">
          <ac:chgData name="John Paserba" userId="77bd6c8a-d0c1-4fea-8705-0169f65d0c0e" providerId="ADAL" clId="{1001C0DD-7E82-4F82-A846-3EE15D16FE9F}" dt="2025-11-09T20:07:49.089" v="1221" actId="1035"/>
          <ac:spMkLst>
            <pc:docMk/>
            <pc:sldMk cId="4256397748" sldId="2147471321"/>
            <ac:spMk id="31" creationId="{7CE2E0D4-A484-4EEE-A3CD-40EBAA93FB39}"/>
          </ac:spMkLst>
        </pc:spChg>
        <pc:spChg chg="del">
          <ac:chgData name="John Paserba" userId="77bd6c8a-d0c1-4fea-8705-0169f65d0c0e" providerId="ADAL" clId="{1001C0DD-7E82-4F82-A846-3EE15D16FE9F}" dt="2025-11-09T20:07:42.850" v="1196" actId="478"/>
          <ac:spMkLst>
            <pc:docMk/>
            <pc:sldMk cId="4256397748" sldId="2147471321"/>
            <ac:spMk id="33" creationId="{95C4CD81-E3A9-4D43-A9A8-0F7D6A5EE886}"/>
          </ac:spMkLst>
        </pc:spChg>
        <pc:spChg chg="del">
          <ac:chgData name="John Paserba" userId="77bd6c8a-d0c1-4fea-8705-0169f65d0c0e" providerId="ADAL" clId="{1001C0DD-7E82-4F82-A846-3EE15D16FE9F}" dt="2025-11-09T20:07:39.363" v="1195" actId="478"/>
          <ac:spMkLst>
            <pc:docMk/>
            <pc:sldMk cId="4256397748" sldId="2147471321"/>
            <ac:spMk id="35" creationId="{48EFB141-552A-4C9B-8E06-76CED0EC5AE9}"/>
          </ac:spMkLst>
        </pc:spChg>
        <pc:spChg chg="del">
          <ac:chgData name="John Paserba" userId="77bd6c8a-d0c1-4fea-8705-0169f65d0c0e" providerId="ADAL" clId="{1001C0DD-7E82-4F82-A846-3EE15D16FE9F}" dt="2025-11-09T20:07:37.727" v="1194" actId="478"/>
          <ac:spMkLst>
            <pc:docMk/>
            <pc:sldMk cId="4256397748" sldId="2147471321"/>
            <ac:spMk id="36" creationId="{8A9FFA2F-7369-4C7A-B1AC-4176A64740A0}"/>
          </ac:spMkLst>
        </pc:spChg>
        <pc:spChg chg="del">
          <ac:chgData name="John Paserba" userId="77bd6c8a-d0c1-4fea-8705-0169f65d0c0e" providerId="ADAL" clId="{1001C0DD-7E82-4F82-A846-3EE15D16FE9F}" dt="2025-11-09T20:07:35.326" v="1192" actId="478"/>
          <ac:spMkLst>
            <pc:docMk/>
            <pc:sldMk cId="4256397748" sldId="2147471321"/>
            <ac:spMk id="37" creationId="{419239C7-34FC-4324-8CB2-47D875FB2537}"/>
          </ac:spMkLst>
        </pc:spChg>
        <pc:spChg chg="mod">
          <ac:chgData name="John Paserba" userId="77bd6c8a-d0c1-4fea-8705-0169f65d0c0e" providerId="ADAL" clId="{1001C0DD-7E82-4F82-A846-3EE15D16FE9F}" dt="2025-11-09T20:07:49.089" v="1221" actId="1035"/>
          <ac:spMkLst>
            <pc:docMk/>
            <pc:sldMk cId="4256397748" sldId="2147471321"/>
            <ac:spMk id="41" creationId="{0391F3E9-FE03-4488-9040-30160BBBE407}"/>
          </ac:spMkLst>
        </pc:spChg>
        <pc:spChg chg="mod">
          <ac:chgData name="John Paserba" userId="77bd6c8a-d0c1-4fea-8705-0169f65d0c0e" providerId="ADAL" clId="{1001C0DD-7E82-4F82-A846-3EE15D16FE9F}" dt="2025-11-09T20:07:49.089" v="1221" actId="1035"/>
          <ac:spMkLst>
            <pc:docMk/>
            <pc:sldMk cId="4256397748" sldId="2147471321"/>
            <ac:spMk id="42" creationId="{DEC395BF-A0C6-44F3-94AB-79ED335A43E3}"/>
          </ac:spMkLst>
        </pc:spChg>
        <pc:spChg chg="mod">
          <ac:chgData name="John Paserba" userId="77bd6c8a-d0c1-4fea-8705-0169f65d0c0e" providerId="ADAL" clId="{1001C0DD-7E82-4F82-A846-3EE15D16FE9F}" dt="2025-11-09T20:07:49.089" v="1221" actId="1035"/>
          <ac:spMkLst>
            <pc:docMk/>
            <pc:sldMk cId="4256397748" sldId="2147471321"/>
            <ac:spMk id="71" creationId="{996B0B4C-BAA1-4BD7-A2B3-2838EA5DFE70}"/>
          </ac:spMkLst>
        </pc:spChg>
        <pc:spChg chg="mod">
          <ac:chgData name="John Paserba" userId="77bd6c8a-d0c1-4fea-8705-0169f65d0c0e" providerId="ADAL" clId="{1001C0DD-7E82-4F82-A846-3EE15D16FE9F}" dt="2025-11-09T20:07:49.089" v="1221" actId="1035"/>
          <ac:spMkLst>
            <pc:docMk/>
            <pc:sldMk cId="4256397748" sldId="2147471321"/>
            <ac:spMk id="73" creationId="{5E31E2D5-F65B-4252-B584-D813496F6BF5}"/>
          </ac:spMkLst>
        </pc:spChg>
        <pc:spChg chg="mod">
          <ac:chgData name="John Paserba" userId="77bd6c8a-d0c1-4fea-8705-0169f65d0c0e" providerId="ADAL" clId="{1001C0DD-7E82-4F82-A846-3EE15D16FE9F}" dt="2025-11-09T20:07:49.089" v="1221" actId="1035"/>
          <ac:spMkLst>
            <pc:docMk/>
            <pc:sldMk cId="4256397748" sldId="2147471321"/>
            <ac:spMk id="76" creationId="{B58E03A9-379B-4616-B255-E1562CE8B1CA}"/>
          </ac:spMkLst>
        </pc:spChg>
        <pc:spChg chg="mod">
          <ac:chgData name="John Paserba" userId="77bd6c8a-d0c1-4fea-8705-0169f65d0c0e" providerId="ADAL" clId="{1001C0DD-7E82-4F82-A846-3EE15D16FE9F}" dt="2025-11-09T20:07:49.089" v="1221" actId="1035"/>
          <ac:spMkLst>
            <pc:docMk/>
            <pc:sldMk cId="4256397748" sldId="2147471321"/>
            <ac:spMk id="77" creationId="{8C927CEA-3A7B-41E7-9EC6-006111B98A37}"/>
          </ac:spMkLst>
        </pc:spChg>
        <pc:spChg chg="mod">
          <ac:chgData name="John Paserba" userId="77bd6c8a-d0c1-4fea-8705-0169f65d0c0e" providerId="ADAL" clId="{1001C0DD-7E82-4F82-A846-3EE15D16FE9F}" dt="2025-11-09T20:15:16.205" v="1393" actId="255"/>
          <ac:spMkLst>
            <pc:docMk/>
            <pc:sldMk cId="4256397748" sldId="2147471321"/>
            <ac:spMk id="3328002" creationId="{00000000-0000-0000-0000-000000000000}"/>
          </ac:spMkLst>
        </pc:spChg>
        <pc:cxnChg chg="mod">
          <ac:chgData name="John Paserba" userId="77bd6c8a-d0c1-4fea-8705-0169f65d0c0e" providerId="ADAL" clId="{1001C0DD-7E82-4F82-A846-3EE15D16FE9F}" dt="2025-11-09T20:07:49.089" v="1221" actId="1035"/>
          <ac:cxnSpMkLst>
            <pc:docMk/>
            <pc:sldMk cId="4256397748" sldId="2147471321"/>
            <ac:cxnSpMk id="9" creationId="{2AA56A86-FFF7-4460-A812-023AD6682815}"/>
          </ac:cxnSpMkLst>
        </pc:cxnChg>
        <pc:cxnChg chg="mod">
          <ac:chgData name="John Paserba" userId="77bd6c8a-d0c1-4fea-8705-0169f65d0c0e" providerId="ADAL" clId="{1001C0DD-7E82-4F82-A846-3EE15D16FE9F}" dt="2025-11-09T20:07:49.089" v="1221" actId="1035"/>
          <ac:cxnSpMkLst>
            <pc:docMk/>
            <pc:sldMk cId="4256397748" sldId="2147471321"/>
            <ac:cxnSpMk id="17" creationId="{C94596DB-EB06-45F5-BB61-077B7156CE8B}"/>
          </ac:cxnSpMkLst>
        </pc:cxnChg>
        <pc:cxnChg chg="mod">
          <ac:chgData name="John Paserba" userId="77bd6c8a-d0c1-4fea-8705-0169f65d0c0e" providerId="ADAL" clId="{1001C0DD-7E82-4F82-A846-3EE15D16FE9F}" dt="2025-11-09T20:07:49.089" v="1221" actId="1035"/>
          <ac:cxnSpMkLst>
            <pc:docMk/>
            <pc:sldMk cId="4256397748" sldId="2147471321"/>
            <ac:cxnSpMk id="18" creationId="{C75191F2-5B7B-49FB-A4FA-AE33AF936DE2}"/>
          </ac:cxnSpMkLst>
        </pc:cxnChg>
        <pc:cxnChg chg="mod">
          <ac:chgData name="John Paserba" userId="77bd6c8a-d0c1-4fea-8705-0169f65d0c0e" providerId="ADAL" clId="{1001C0DD-7E82-4F82-A846-3EE15D16FE9F}" dt="2025-11-09T20:07:49.089" v="1221" actId="1035"/>
          <ac:cxnSpMkLst>
            <pc:docMk/>
            <pc:sldMk cId="4256397748" sldId="2147471321"/>
            <ac:cxnSpMk id="21" creationId="{DE90DA11-E245-45D7-A625-58237103C7F7}"/>
          </ac:cxnSpMkLst>
        </pc:cxnChg>
        <pc:cxnChg chg="mod">
          <ac:chgData name="John Paserba" userId="77bd6c8a-d0c1-4fea-8705-0169f65d0c0e" providerId="ADAL" clId="{1001C0DD-7E82-4F82-A846-3EE15D16FE9F}" dt="2025-11-09T20:07:49.089" v="1221" actId="1035"/>
          <ac:cxnSpMkLst>
            <pc:docMk/>
            <pc:sldMk cId="4256397748" sldId="2147471321"/>
            <ac:cxnSpMk id="25" creationId="{A8D7D701-0665-40E5-899F-F2E392362F6F}"/>
          </ac:cxnSpMkLst>
        </pc:cxnChg>
        <pc:cxnChg chg="mod">
          <ac:chgData name="John Paserba" userId="77bd6c8a-d0c1-4fea-8705-0169f65d0c0e" providerId="ADAL" clId="{1001C0DD-7E82-4F82-A846-3EE15D16FE9F}" dt="2025-11-09T20:07:49.089" v="1221" actId="1035"/>
          <ac:cxnSpMkLst>
            <pc:docMk/>
            <pc:sldMk cId="4256397748" sldId="2147471321"/>
            <ac:cxnSpMk id="32" creationId="{D454831B-79CE-4F78-A82F-3958C4230B9A}"/>
          </ac:cxnSpMkLst>
        </pc:cxnChg>
        <pc:cxnChg chg="mod">
          <ac:chgData name="John Paserba" userId="77bd6c8a-d0c1-4fea-8705-0169f65d0c0e" providerId="ADAL" clId="{1001C0DD-7E82-4F82-A846-3EE15D16FE9F}" dt="2025-11-09T20:07:49.089" v="1221" actId="1035"/>
          <ac:cxnSpMkLst>
            <pc:docMk/>
            <pc:sldMk cId="4256397748" sldId="2147471321"/>
            <ac:cxnSpMk id="34" creationId="{13B6E52D-7281-4067-BEC8-B2C9234D3E41}"/>
          </ac:cxnSpMkLst>
        </pc:cxnChg>
        <pc:cxnChg chg="mod">
          <ac:chgData name="John Paserba" userId="77bd6c8a-d0c1-4fea-8705-0169f65d0c0e" providerId="ADAL" clId="{1001C0DD-7E82-4F82-A846-3EE15D16FE9F}" dt="2025-11-09T20:07:49.089" v="1221" actId="1035"/>
          <ac:cxnSpMkLst>
            <pc:docMk/>
            <pc:sldMk cId="4256397748" sldId="2147471321"/>
            <ac:cxnSpMk id="39" creationId="{C8E7A9A6-113D-4239-A84A-35DFF27E6716}"/>
          </ac:cxnSpMkLst>
        </pc:cxnChg>
        <pc:cxnChg chg="mod">
          <ac:chgData name="John Paserba" userId="77bd6c8a-d0c1-4fea-8705-0169f65d0c0e" providerId="ADAL" clId="{1001C0DD-7E82-4F82-A846-3EE15D16FE9F}" dt="2025-11-09T20:07:49.089" v="1221" actId="1035"/>
          <ac:cxnSpMkLst>
            <pc:docMk/>
            <pc:sldMk cId="4256397748" sldId="2147471321"/>
            <ac:cxnSpMk id="85" creationId="{CCD7E179-8168-4C33-9AAF-A0C2952E27F2}"/>
          </ac:cxnSpMkLst>
        </pc:cxnChg>
        <pc:cxnChg chg="mod">
          <ac:chgData name="John Paserba" userId="77bd6c8a-d0c1-4fea-8705-0169f65d0c0e" providerId="ADAL" clId="{1001C0DD-7E82-4F82-A846-3EE15D16FE9F}" dt="2025-11-09T20:07:49.089" v="1221" actId="1035"/>
          <ac:cxnSpMkLst>
            <pc:docMk/>
            <pc:sldMk cId="4256397748" sldId="2147471321"/>
            <ac:cxnSpMk id="86" creationId="{F0958FC6-5556-4A81-972E-1441B41B8A17}"/>
          </ac:cxnSpMkLst>
        </pc:cxnChg>
        <pc:cxnChg chg="mod">
          <ac:chgData name="John Paserba" userId="77bd6c8a-d0c1-4fea-8705-0169f65d0c0e" providerId="ADAL" clId="{1001C0DD-7E82-4F82-A846-3EE15D16FE9F}" dt="2025-11-09T20:07:49.089" v="1221" actId="1035"/>
          <ac:cxnSpMkLst>
            <pc:docMk/>
            <pc:sldMk cId="4256397748" sldId="2147471321"/>
            <ac:cxnSpMk id="87" creationId="{0E0F8FB4-530E-4A05-8667-9ECBE72C8C60}"/>
          </ac:cxnSpMkLst>
        </pc:cxnChg>
        <pc:cxnChg chg="mod">
          <ac:chgData name="John Paserba" userId="77bd6c8a-d0c1-4fea-8705-0169f65d0c0e" providerId="ADAL" clId="{1001C0DD-7E82-4F82-A846-3EE15D16FE9F}" dt="2025-11-09T20:07:49.089" v="1221" actId="1035"/>
          <ac:cxnSpMkLst>
            <pc:docMk/>
            <pc:sldMk cId="4256397748" sldId="2147471321"/>
            <ac:cxnSpMk id="90" creationId="{12311308-2A5C-4AAB-BB2B-940BB335FBBE}"/>
          </ac:cxnSpMkLst>
        </pc:cxnChg>
        <pc:cxnChg chg="mod">
          <ac:chgData name="John Paserba" userId="77bd6c8a-d0c1-4fea-8705-0169f65d0c0e" providerId="ADAL" clId="{1001C0DD-7E82-4F82-A846-3EE15D16FE9F}" dt="2025-11-09T20:07:49.089" v="1221" actId="1035"/>
          <ac:cxnSpMkLst>
            <pc:docMk/>
            <pc:sldMk cId="4256397748" sldId="2147471321"/>
            <ac:cxnSpMk id="3328006" creationId="{04AC13BC-FA01-4F9F-8BA9-A9BBB2620114}"/>
          </ac:cxnSpMkLst>
        </pc:cxnChg>
      </pc:sldChg>
      <pc:sldChg chg="delSp modSp mod">
        <pc:chgData name="John Paserba" userId="77bd6c8a-d0c1-4fea-8705-0169f65d0c0e" providerId="ADAL" clId="{1001C0DD-7E82-4F82-A846-3EE15D16FE9F}" dt="2025-11-09T20:14:21.311" v="1381" actId="255"/>
        <pc:sldMkLst>
          <pc:docMk/>
          <pc:sldMk cId="1962783679" sldId="2147471322"/>
        </pc:sldMkLst>
        <pc:spChg chg="mod">
          <ac:chgData name="John Paserba" userId="77bd6c8a-d0c1-4fea-8705-0169f65d0c0e" providerId="ADAL" clId="{1001C0DD-7E82-4F82-A846-3EE15D16FE9F}" dt="2025-11-09T20:10:43.008" v="1351" actId="1037"/>
          <ac:spMkLst>
            <pc:docMk/>
            <pc:sldMk cId="1962783679" sldId="2147471322"/>
            <ac:spMk id="8" creationId="{D9195898-5299-4EF8-BA1B-10F685FBCF58}"/>
          </ac:spMkLst>
        </pc:spChg>
        <pc:spChg chg="mod">
          <ac:chgData name="John Paserba" userId="77bd6c8a-d0c1-4fea-8705-0169f65d0c0e" providerId="ADAL" clId="{1001C0DD-7E82-4F82-A846-3EE15D16FE9F}" dt="2025-11-09T20:10:43.008" v="1351" actId="1037"/>
          <ac:spMkLst>
            <pc:docMk/>
            <pc:sldMk cId="1962783679" sldId="2147471322"/>
            <ac:spMk id="26" creationId="{17061C6B-CF83-4188-AABA-EBE6EF40254D}"/>
          </ac:spMkLst>
        </pc:spChg>
        <pc:spChg chg="del">
          <ac:chgData name="John Paserba" userId="77bd6c8a-d0c1-4fea-8705-0169f65d0c0e" providerId="ADAL" clId="{1001C0DD-7E82-4F82-A846-3EE15D16FE9F}" dt="2025-11-09T20:10:32.589" v="1321" actId="478"/>
          <ac:spMkLst>
            <pc:docMk/>
            <pc:sldMk cId="1962783679" sldId="2147471322"/>
            <ac:spMk id="28" creationId="{4F92E70D-BA60-4430-83C6-B59848FA4159}"/>
          </ac:spMkLst>
        </pc:spChg>
        <pc:spChg chg="mod">
          <ac:chgData name="John Paserba" userId="77bd6c8a-d0c1-4fea-8705-0169f65d0c0e" providerId="ADAL" clId="{1001C0DD-7E82-4F82-A846-3EE15D16FE9F}" dt="2025-11-09T20:10:43.008" v="1351" actId="1037"/>
          <ac:spMkLst>
            <pc:docMk/>
            <pc:sldMk cId="1962783679" sldId="2147471322"/>
            <ac:spMk id="29" creationId="{B8F07880-E0B1-4552-9A92-3C2C26BD146D}"/>
          </ac:spMkLst>
        </pc:spChg>
        <pc:spChg chg="mod">
          <ac:chgData name="John Paserba" userId="77bd6c8a-d0c1-4fea-8705-0169f65d0c0e" providerId="ADAL" clId="{1001C0DD-7E82-4F82-A846-3EE15D16FE9F}" dt="2025-11-09T20:10:43.008" v="1351" actId="1037"/>
          <ac:spMkLst>
            <pc:docMk/>
            <pc:sldMk cId="1962783679" sldId="2147471322"/>
            <ac:spMk id="33" creationId="{03B8975E-6B75-4855-A95D-AE55E0662430}"/>
          </ac:spMkLst>
        </pc:spChg>
        <pc:spChg chg="del">
          <ac:chgData name="John Paserba" userId="77bd6c8a-d0c1-4fea-8705-0169f65d0c0e" providerId="ADAL" clId="{1001C0DD-7E82-4F82-A846-3EE15D16FE9F}" dt="2025-11-09T20:10:29.154" v="1318" actId="478"/>
          <ac:spMkLst>
            <pc:docMk/>
            <pc:sldMk cId="1962783679" sldId="2147471322"/>
            <ac:spMk id="38" creationId="{05C4A12E-F4D5-4EFE-A557-87F5F5EC8E95}"/>
          </ac:spMkLst>
        </pc:spChg>
        <pc:spChg chg="del">
          <ac:chgData name="John Paserba" userId="77bd6c8a-d0c1-4fea-8705-0169f65d0c0e" providerId="ADAL" clId="{1001C0DD-7E82-4F82-A846-3EE15D16FE9F}" dt="2025-11-09T20:10:31.569" v="1320" actId="478"/>
          <ac:spMkLst>
            <pc:docMk/>
            <pc:sldMk cId="1962783679" sldId="2147471322"/>
            <ac:spMk id="39" creationId="{0A34E8E2-4D0B-4FF0-A44C-E293C3DD448F}"/>
          </ac:spMkLst>
        </pc:spChg>
        <pc:spChg chg="del">
          <ac:chgData name="John Paserba" userId="77bd6c8a-d0c1-4fea-8705-0169f65d0c0e" providerId="ADAL" clId="{1001C0DD-7E82-4F82-A846-3EE15D16FE9F}" dt="2025-11-09T20:10:30.555" v="1319" actId="478"/>
          <ac:spMkLst>
            <pc:docMk/>
            <pc:sldMk cId="1962783679" sldId="2147471322"/>
            <ac:spMk id="40" creationId="{D1ADB7C1-456A-476B-85FA-0873A7205D48}"/>
          </ac:spMkLst>
        </pc:spChg>
        <pc:spChg chg="mod">
          <ac:chgData name="John Paserba" userId="77bd6c8a-d0c1-4fea-8705-0169f65d0c0e" providerId="ADAL" clId="{1001C0DD-7E82-4F82-A846-3EE15D16FE9F}" dt="2025-11-09T20:10:43.008" v="1351" actId="1037"/>
          <ac:spMkLst>
            <pc:docMk/>
            <pc:sldMk cId="1962783679" sldId="2147471322"/>
            <ac:spMk id="41" creationId="{0391F3E9-FE03-4488-9040-30160BBBE407}"/>
          </ac:spMkLst>
        </pc:spChg>
        <pc:spChg chg="del">
          <ac:chgData name="John Paserba" userId="77bd6c8a-d0c1-4fea-8705-0169f65d0c0e" providerId="ADAL" clId="{1001C0DD-7E82-4F82-A846-3EE15D16FE9F}" dt="2025-11-09T20:10:33.638" v="1322" actId="478"/>
          <ac:spMkLst>
            <pc:docMk/>
            <pc:sldMk cId="1962783679" sldId="2147471322"/>
            <ac:spMk id="42" creationId="{3FCF69FF-5BDC-40B7-BB45-80FF1AC8BFD1}"/>
          </ac:spMkLst>
        </pc:spChg>
        <pc:spChg chg="del">
          <ac:chgData name="John Paserba" userId="77bd6c8a-d0c1-4fea-8705-0169f65d0c0e" providerId="ADAL" clId="{1001C0DD-7E82-4F82-A846-3EE15D16FE9F}" dt="2025-11-09T20:10:38.169" v="1325" actId="478"/>
          <ac:spMkLst>
            <pc:docMk/>
            <pc:sldMk cId="1962783679" sldId="2147471322"/>
            <ac:spMk id="43" creationId="{E8379854-8225-423D-B6C6-CBB4A4D2BD87}"/>
          </ac:spMkLst>
        </pc:spChg>
        <pc:spChg chg="del">
          <ac:chgData name="John Paserba" userId="77bd6c8a-d0c1-4fea-8705-0169f65d0c0e" providerId="ADAL" clId="{1001C0DD-7E82-4F82-A846-3EE15D16FE9F}" dt="2025-11-09T20:10:35.356" v="1323" actId="478"/>
          <ac:spMkLst>
            <pc:docMk/>
            <pc:sldMk cId="1962783679" sldId="2147471322"/>
            <ac:spMk id="44" creationId="{7540BA41-D038-43EB-8127-26464EE79590}"/>
          </ac:spMkLst>
        </pc:spChg>
        <pc:spChg chg="del">
          <ac:chgData name="John Paserba" userId="77bd6c8a-d0c1-4fea-8705-0169f65d0c0e" providerId="ADAL" clId="{1001C0DD-7E82-4F82-A846-3EE15D16FE9F}" dt="2025-11-09T20:10:36.436" v="1324" actId="478"/>
          <ac:spMkLst>
            <pc:docMk/>
            <pc:sldMk cId="1962783679" sldId="2147471322"/>
            <ac:spMk id="45" creationId="{E56F9C1E-A0B1-4F63-8CF5-F98622988CC5}"/>
          </ac:spMkLst>
        </pc:spChg>
        <pc:spChg chg="mod">
          <ac:chgData name="John Paserba" userId="77bd6c8a-d0c1-4fea-8705-0169f65d0c0e" providerId="ADAL" clId="{1001C0DD-7E82-4F82-A846-3EE15D16FE9F}" dt="2025-11-09T20:10:43.008" v="1351" actId="1037"/>
          <ac:spMkLst>
            <pc:docMk/>
            <pc:sldMk cId="1962783679" sldId="2147471322"/>
            <ac:spMk id="71" creationId="{996B0B4C-BAA1-4BD7-A2B3-2838EA5DFE70}"/>
          </ac:spMkLst>
        </pc:spChg>
        <pc:spChg chg="mod">
          <ac:chgData name="John Paserba" userId="77bd6c8a-d0c1-4fea-8705-0169f65d0c0e" providerId="ADAL" clId="{1001C0DD-7E82-4F82-A846-3EE15D16FE9F}" dt="2025-11-09T20:10:43.008" v="1351" actId="1037"/>
          <ac:spMkLst>
            <pc:docMk/>
            <pc:sldMk cId="1962783679" sldId="2147471322"/>
            <ac:spMk id="72" creationId="{F700CDAD-0C5C-4873-9A5F-2CF9F7F7BA81}"/>
          </ac:spMkLst>
        </pc:spChg>
        <pc:spChg chg="mod">
          <ac:chgData name="John Paserba" userId="77bd6c8a-d0c1-4fea-8705-0169f65d0c0e" providerId="ADAL" clId="{1001C0DD-7E82-4F82-A846-3EE15D16FE9F}" dt="2025-11-09T20:10:43.008" v="1351" actId="1037"/>
          <ac:spMkLst>
            <pc:docMk/>
            <pc:sldMk cId="1962783679" sldId="2147471322"/>
            <ac:spMk id="73" creationId="{5E31E2D5-F65B-4252-B584-D813496F6BF5}"/>
          </ac:spMkLst>
        </pc:spChg>
        <pc:spChg chg="mod">
          <ac:chgData name="John Paserba" userId="77bd6c8a-d0c1-4fea-8705-0169f65d0c0e" providerId="ADAL" clId="{1001C0DD-7E82-4F82-A846-3EE15D16FE9F}" dt="2025-11-09T20:14:21.311" v="1381" actId="255"/>
          <ac:spMkLst>
            <pc:docMk/>
            <pc:sldMk cId="1962783679" sldId="2147471322"/>
            <ac:spMk id="3328002" creationId="{00000000-0000-0000-0000-000000000000}"/>
          </ac:spMkLst>
        </pc:spChg>
        <pc:cxnChg chg="mod">
          <ac:chgData name="John Paserba" userId="77bd6c8a-d0c1-4fea-8705-0169f65d0c0e" providerId="ADAL" clId="{1001C0DD-7E82-4F82-A846-3EE15D16FE9F}" dt="2025-11-09T20:10:43.008" v="1351" actId="1037"/>
          <ac:cxnSpMkLst>
            <pc:docMk/>
            <pc:sldMk cId="1962783679" sldId="2147471322"/>
            <ac:cxnSpMk id="7" creationId="{013F5891-94B9-4791-BAF3-48431D7B6197}"/>
          </ac:cxnSpMkLst>
        </pc:cxnChg>
        <pc:cxnChg chg="mod">
          <ac:chgData name="John Paserba" userId="77bd6c8a-d0c1-4fea-8705-0169f65d0c0e" providerId="ADAL" clId="{1001C0DD-7E82-4F82-A846-3EE15D16FE9F}" dt="2025-11-09T20:10:43.008" v="1351" actId="1037"/>
          <ac:cxnSpMkLst>
            <pc:docMk/>
            <pc:sldMk cId="1962783679" sldId="2147471322"/>
            <ac:cxnSpMk id="24" creationId="{1B343009-A365-49EB-BDCD-E35B13A4025C}"/>
          </ac:cxnSpMkLst>
        </pc:cxnChg>
        <pc:cxnChg chg="mod">
          <ac:chgData name="John Paserba" userId="77bd6c8a-d0c1-4fea-8705-0169f65d0c0e" providerId="ADAL" clId="{1001C0DD-7E82-4F82-A846-3EE15D16FE9F}" dt="2025-11-09T20:10:43.008" v="1351" actId="1037"/>
          <ac:cxnSpMkLst>
            <pc:docMk/>
            <pc:sldMk cId="1962783679" sldId="2147471322"/>
            <ac:cxnSpMk id="25" creationId="{A8D7D701-0665-40E5-899F-F2E392362F6F}"/>
          </ac:cxnSpMkLst>
        </pc:cxnChg>
        <pc:cxnChg chg="mod">
          <ac:chgData name="John Paserba" userId="77bd6c8a-d0c1-4fea-8705-0169f65d0c0e" providerId="ADAL" clId="{1001C0DD-7E82-4F82-A846-3EE15D16FE9F}" dt="2025-11-09T20:10:43.008" v="1351" actId="1037"/>
          <ac:cxnSpMkLst>
            <pc:docMk/>
            <pc:sldMk cId="1962783679" sldId="2147471322"/>
            <ac:cxnSpMk id="27" creationId="{3A3F9163-CA5A-474B-BD41-3197804A7DE1}"/>
          </ac:cxnSpMkLst>
        </pc:cxnChg>
        <pc:cxnChg chg="mod">
          <ac:chgData name="John Paserba" userId="77bd6c8a-d0c1-4fea-8705-0169f65d0c0e" providerId="ADAL" clId="{1001C0DD-7E82-4F82-A846-3EE15D16FE9F}" dt="2025-11-09T20:10:43.008" v="1351" actId="1037"/>
          <ac:cxnSpMkLst>
            <pc:docMk/>
            <pc:sldMk cId="1962783679" sldId="2147471322"/>
            <ac:cxnSpMk id="30" creationId="{6A9C6E5D-25CE-442A-A75E-F92AC92BD2AF}"/>
          </ac:cxnSpMkLst>
        </pc:cxnChg>
        <pc:cxnChg chg="mod">
          <ac:chgData name="John Paserba" userId="77bd6c8a-d0c1-4fea-8705-0169f65d0c0e" providerId="ADAL" clId="{1001C0DD-7E82-4F82-A846-3EE15D16FE9F}" dt="2025-11-09T20:10:43.008" v="1351" actId="1037"/>
          <ac:cxnSpMkLst>
            <pc:docMk/>
            <pc:sldMk cId="1962783679" sldId="2147471322"/>
            <ac:cxnSpMk id="31" creationId="{24330042-8C7F-4E63-A6E0-FA0FCBFD1A95}"/>
          </ac:cxnSpMkLst>
        </pc:cxnChg>
        <pc:cxnChg chg="mod">
          <ac:chgData name="John Paserba" userId="77bd6c8a-d0c1-4fea-8705-0169f65d0c0e" providerId="ADAL" clId="{1001C0DD-7E82-4F82-A846-3EE15D16FE9F}" dt="2025-11-09T20:10:43.008" v="1351" actId="1037"/>
          <ac:cxnSpMkLst>
            <pc:docMk/>
            <pc:sldMk cId="1962783679" sldId="2147471322"/>
            <ac:cxnSpMk id="32" creationId="{DD9E89F7-8DB3-40B1-8ADA-3EAD4E844440}"/>
          </ac:cxnSpMkLst>
        </pc:cxnChg>
        <pc:cxnChg chg="mod">
          <ac:chgData name="John Paserba" userId="77bd6c8a-d0c1-4fea-8705-0169f65d0c0e" providerId="ADAL" clId="{1001C0DD-7E82-4F82-A846-3EE15D16FE9F}" dt="2025-11-09T20:10:43.008" v="1351" actId="1037"/>
          <ac:cxnSpMkLst>
            <pc:docMk/>
            <pc:sldMk cId="1962783679" sldId="2147471322"/>
            <ac:cxnSpMk id="34" creationId="{167880D3-3D07-46AF-8E25-3ECDCB9A88B8}"/>
          </ac:cxnSpMkLst>
        </pc:cxnChg>
        <pc:cxnChg chg="mod">
          <ac:chgData name="John Paserba" userId="77bd6c8a-d0c1-4fea-8705-0169f65d0c0e" providerId="ADAL" clId="{1001C0DD-7E82-4F82-A846-3EE15D16FE9F}" dt="2025-11-09T20:10:43.008" v="1351" actId="1037"/>
          <ac:cxnSpMkLst>
            <pc:docMk/>
            <pc:sldMk cId="1962783679" sldId="2147471322"/>
            <ac:cxnSpMk id="35" creationId="{8A210FC3-4362-40E1-A529-9E16D9F806F4}"/>
          </ac:cxnSpMkLst>
        </pc:cxnChg>
        <pc:cxnChg chg="mod">
          <ac:chgData name="John Paserba" userId="77bd6c8a-d0c1-4fea-8705-0169f65d0c0e" providerId="ADAL" clId="{1001C0DD-7E82-4F82-A846-3EE15D16FE9F}" dt="2025-11-09T20:10:43.008" v="1351" actId="1037"/>
          <ac:cxnSpMkLst>
            <pc:docMk/>
            <pc:sldMk cId="1962783679" sldId="2147471322"/>
            <ac:cxnSpMk id="36" creationId="{24A536C1-88D9-4707-8401-5DAF60F93CFE}"/>
          </ac:cxnSpMkLst>
        </pc:cxnChg>
        <pc:cxnChg chg="mod">
          <ac:chgData name="John Paserba" userId="77bd6c8a-d0c1-4fea-8705-0169f65d0c0e" providerId="ADAL" clId="{1001C0DD-7E82-4F82-A846-3EE15D16FE9F}" dt="2025-11-09T20:10:43.008" v="1351" actId="1037"/>
          <ac:cxnSpMkLst>
            <pc:docMk/>
            <pc:sldMk cId="1962783679" sldId="2147471322"/>
            <ac:cxnSpMk id="37" creationId="{09FB2033-9342-4260-AFDA-23AF00B518F1}"/>
          </ac:cxnSpMkLst>
        </pc:cxnChg>
        <pc:cxnChg chg="mod">
          <ac:chgData name="John Paserba" userId="77bd6c8a-d0c1-4fea-8705-0169f65d0c0e" providerId="ADAL" clId="{1001C0DD-7E82-4F82-A846-3EE15D16FE9F}" dt="2025-11-09T20:10:43.008" v="1351" actId="1037"/>
          <ac:cxnSpMkLst>
            <pc:docMk/>
            <pc:sldMk cId="1962783679" sldId="2147471322"/>
            <ac:cxnSpMk id="85" creationId="{CCD7E179-8168-4C33-9AAF-A0C2952E27F2}"/>
          </ac:cxnSpMkLst>
        </pc:cxnChg>
        <pc:cxnChg chg="mod">
          <ac:chgData name="John Paserba" userId="77bd6c8a-d0c1-4fea-8705-0169f65d0c0e" providerId="ADAL" clId="{1001C0DD-7E82-4F82-A846-3EE15D16FE9F}" dt="2025-11-09T20:10:43.008" v="1351" actId="1037"/>
          <ac:cxnSpMkLst>
            <pc:docMk/>
            <pc:sldMk cId="1962783679" sldId="2147471322"/>
            <ac:cxnSpMk id="86" creationId="{F0958FC6-5556-4A81-972E-1441B41B8A17}"/>
          </ac:cxnSpMkLst>
        </pc:cxnChg>
      </pc:sldChg>
      <pc:sldChg chg="delSp modSp mod">
        <pc:chgData name="John Paserba" userId="77bd6c8a-d0c1-4fea-8705-0169f65d0c0e" providerId="ADAL" clId="{1001C0DD-7E82-4F82-A846-3EE15D16FE9F}" dt="2025-11-09T20:13:13.343" v="1372" actId="1076"/>
        <pc:sldMkLst>
          <pc:docMk/>
          <pc:sldMk cId="1381740205" sldId="2147471323"/>
        </pc:sldMkLst>
        <pc:spChg chg="mod">
          <ac:chgData name="John Paserba" userId="77bd6c8a-d0c1-4fea-8705-0169f65d0c0e" providerId="ADAL" clId="{1001C0DD-7E82-4F82-A846-3EE15D16FE9F}" dt="2025-11-09T20:13:13.343" v="1372" actId="1076"/>
          <ac:spMkLst>
            <pc:docMk/>
            <pc:sldMk cId="1381740205" sldId="2147471323"/>
            <ac:spMk id="8" creationId="{D9195898-5299-4EF8-BA1B-10F685FBCF58}"/>
          </ac:spMkLst>
        </pc:spChg>
        <pc:spChg chg="mod">
          <ac:chgData name="John Paserba" userId="77bd6c8a-d0c1-4fea-8705-0169f65d0c0e" providerId="ADAL" clId="{1001C0DD-7E82-4F82-A846-3EE15D16FE9F}" dt="2025-11-09T20:13:13.343" v="1372" actId="1076"/>
          <ac:spMkLst>
            <pc:docMk/>
            <pc:sldMk cId="1381740205" sldId="2147471323"/>
            <ac:spMk id="12" creationId="{47AD63F4-52F6-4850-892C-0F71EAD0C9E8}"/>
          </ac:spMkLst>
        </pc:spChg>
        <pc:spChg chg="del">
          <ac:chgData name="John Paserba" userId="77bd6c8a-d0c1-4fea-8705-0169f65d0c0e" providerId="ADAL" clId="{1001C0DD-7E82-4F82-A846-3EE15D16FE9F}" dt="2025-11-09T20:13:06.970" v="1370" actId="478"/>
          <ac:spMkLst>
            <pc:docMk/>
            <pc:sldMk cId="1381740205" sldId="2147471323"/>
            <ac:spMk id="13" creationId="{A8D4047A-26A6-4CED-AE3E-835841227FE9}"/>
          </ac:spMkLst>
        </pc:spChg>
        <pc:spChg chg="del">
          <ac:chgData name="John Paserba" userId="77bd6c8a-d0c1-4fea-8705-0169f65d0c0e" providerId="ADAL" clId="{1001C0DD-7E82-4F82-A846-3EE15D16FE9F}" dt="2025-11-09T20:13:05.007" v="1369" actId="478"/>
          <ac:spMkLst>
            <pc:docMk/>
            <pc:sldMk cId="1381740205" sldId="2147471323"/>
            <ac:spMk id="14" creationId="{DCCA9382-63F9-4FBE-A04A-3A5CC5D9AEEA}"/>
          </ac:spMkLst>
        </pc:spChg>
        <pc:spChg chg="del">
          <ac:chgData name="John Paserba" userId="77bd6c8a-d0c1-4fea-8705-0169f65d0c0e" providerId="ADAL" clId="{1001C0DD-7E82-4F82-A846-3EE15D16FE9F}" dt="2025-11-09T20:13:08.716" v="1371" actId="478"/>
          <ac:spMkLst>
            <pc:docMk/>
            <pc:sldMk cId="1381740205" sldId="2147471323"/>
            <ac:spMk id="15" creationId="{123FC73B-F9F6-484C-B0C9-6C6277077B0F}"/>
          </ac:spMkLst>
        </pc:spChg>
        <pc:spChg chg="mod">
          <ac:chgData name="John Paserba" userId="77bd6c8a-d0c1-4fea-8705-0169f65d0c0e" providerId="ADAL" clId="{1001C0DD-7E82-4F82-A846-3EE15D16FE9F}" dt="2025-11-09T20:13:13.343" v="1372" actId="1076"/>
          <ac:spMkLst>
            <pc:docMk/>
            <pc:sldMk cId="1381740205" sldId="2147471323"/>
            <ac:spMk id="16" creationId="{D6E8CE56-0CD2-437C-9F9F-5848A19AD2BE}"/>
          </ac:spMkLst>
        </pc:spChg>
        <pc:spChg chg="mod">
          <ac:chgData name="John Paserba" userId="77bd6c8a-d0c1-4fea-8705-0169f65d0c0e" providerId="ADAL" clId="{1001C0DD-7E82-4F82-A846-3EE15D16FE9F}" dt="2025-11-09T20:13:13.343" v="1372" actId="1076"/>
          <ac:spMkLst>
            <pc:docMk/>
            <pc:sldMk cId="1381740205" sldId="2147471323"/>
            <ac:spMk id="17" creationId="{5BA57635-A49F-4ED2-B5DC-C6ECDFF7B7A1}"/>
          </ac:spMkLst>
        </pc:spChg>
        <pc:spChg chg="mod">
          <ac:chgData name="John Paserba" userId="77bd6c8a-d0c1-4fea-8705-0169f65d0c0e" providerId="ADAL" clId="{1001C0DD-7E82-4F82-A846-3EE15D16FE9F}" dt="2025-11-09T20:13:01.626" v="1368" actId="255"/>
          <ac:spMkLst>
            <pc:docMk/>
            <pc:sldMk cId="1381740205" sldId="2147471323"/>
            <ac:spMk id="3328002" creationId="{00000000-0000-0000-0000-000000000000}"/>
          </ac:spMkLst>
        </pc:spChg>
        <pc:cxnChg chg="mod">
          <ac:chgData name="John Paserba" userId="77bd6c8a-d0c1-4fea-8705-0169f65d0c0e" providerId="ADAL" clId="{1001C0DD-7E82-4F82-A846-3EE15D16FE9F}" dt="2025-11-09T20:13:13.343" v="1372" actId="1076"/>
          <ac:cxnSpMkLst>
            <pc:docMk/>
            <pc:sldMk cId="1381740205" sldId="2147471323"/>
            <ac:cxnSpMk id="11" creationId="{AAACBCA9-E903-4080-B84A-B40F37195D71}"/>
          </ac:cxnSpMkLst>
        </pc:cxnChg>
        <pc:cxnChg chg="mod">
          <ac:chgData name="John Paserba" userId="77bd6c8a-d0c1-4fea-8705-0169f65d0c0e" providerId="ADAL" clId="{1001C0DD-7E82-4F82-A846-3EE15D16FE9F}" dt="2025-11-09T20:13:13.343" v="1372" actId="1076"/>
          <ac:cxnSpMkLst>
            <pc:docMk/>
            <pc:sldMk cId="1381740205" sldId="2147471323"/>
            <ac:cxnSpMk id="23" creationId="{0FE503A4-A606-42FC-B4EB-1A58FBEF5738}"/>
          </ac:cxnSpMkLst>
        </pc:cxnChg>
        <pc:cxnChg chg="mod">
          <ac:chgData name="John Paserba" userId="77bd6c8a-d0c1-4fea-8705-0169f65d0c0e" providerId="ADAL" clId="{1001C0DD-7E82-4F82-A846-3EE15D16FE9F}" dt="2025-11-09T20:13:13.343" v="1372" actId="1076"/>
          <ac:cxnSpMkLst>
            <pc:docMk/>
            <pc:sldMk cId="1381740205" sldId="2147471323"/>
            <ac:cxnSpMk id="25" creationId="{A8D7D701-0665-40E5-899F-F2E392362F6F}"/>
          </ac:cxnSpMkLst>
        </pc:cxnChg>
        <pc:cxnChg chg="mod">
          <ac:chgData name="John Paserba" userId="77bd6c8a-d0c1-4fea-8705-0169f65d0c0e" providerId="ADAL" clId="{1001C0DD-7E82-4F82-A846-3EE15D16FE9F}" dt="2025-11-09T20:13:13.343" v="1372" actId="1076"/>
          <ac:cxnSpMkLst>
            <pc:docMk/>
            <pc:sldMk cId="1381740205" sldId="2147471323"/>
            <ac:cxnSpMk id="86" creationId="{F0958FC6-5556-4A81-972E-1441B41B8A17}"/>
          </ac:cxnSpMkLst>
        </pc:cxnChg>
        <pc:cxnChg chg="mod">
          <ac:chgData name="John Paserba" userId="77bd6c8a-d0c1-4fea-8705-0169f65d0c0e" providerId="ADAL" clId="{1001C0DD-7E82-4F82-A846-3EE15D16FE9F}" dt="2025-11-09T20:13:13.343" v="1372" actId="1076"/>
          <ac:cxnSpMkLst>
            <pc:docMk/>
            <pc:sldMk cId="1381740205" sldId="2147471323"/>
            <ac:cxnSpMk id="89" creationId="{85599C0E-9E5F-4A97-BFFD-F830E3059510}"/>
          </ac:cxnSpMkLst>
        </pc:cxnChg>
      </pc:sldChg>
      <pc:sldChg chg="delSp modSp mod">
        <pc:chgData name="John Paserba" userId="77bd6c8a-d0c1-4fea-8705-0169f65d0c0e" providerId="ADAL" clId="{1001C0DD-7E82-4F82-A846-3EE15D16FE9F}" dt="2025-11-09T20:09:04.824" v="1247" actId="255"/>
        <pc:sldMkLst>
          <pc:docMk/>
          <pc:sldMk cId="227166264" sldId="2147471327"/>
        </pc:sldMkLst>
        <pc:spChg chg="mod">
          <ac:chgData name="John Paserba" userId="77bd6c8a-d0c1-4fea-8705-0169f65d0c0e" providerId="ADAL" clId="{1001C0DD-7E82-4F82-A846-3EE15D16FE9F}" dt="2025-11-09T20:08:44.071" v="1230" actId="1076"/>
          <ac:spMkLst>
            <pc:docMk/>
            <pc:sldMk cId="227166264" sldId="2147471327"/>
            <ac:spMk id="8" creationId="{D9195898-5299-4EF8-BA1B-10F685FBCF58}"/>
          </ac:spMkLst>
        </pc:spChg>
        <pc:spChg chg="del">
          <ac:chgData name="John Paserba" userId="77bd6c8a-d0c1-4fea-8705-0169f65d0c0e" providerId="ADAL" clId="{1001C0DD-7E82-4F82-A846-3EE15D16FE9F}" dt="2025-11-09T20:08:38.858" v="1229" actId="478"/>
          <ac:spMkLst>
            <pc:docMk/>
            <pc:sldMk cId="227166264" sldId="2147471327"/>
            <ac:spMk id="15" creationId="{B99228EC-8C4C-4981-AE8A-7F2E93717A29}"/>
          </ac:spMkLst>
        </pc:spChg>
        <pc:spChg chg="del">
          <ac:chgData name="John Paserba" userId="77bd6c8a-d0c1-4fea-8705-0169f65d0c0e" providerId="ADAL" clId="{1001C0DD-7E82-4F82-A846-3EE15D16FE9F}" dt="2025-11-09T20:08:36.614" v="1228" actId="478"/>
          <ac:spMkLst>
            <pc:docMk/>
            <pc:sldMk cId="227166264" sldId="2147471327"/>
            <ac:spMk id="19" creationId="{6E3CF12A-5201-49AF-AB25-F2830C3D077A}"/>
          </ac:spMkLst>
        </pc:spChg>
        <pc:spChg chg="del">
          <ac:chgData name="John Paserba" userId="77bd6c8a-d0c1-4fea-8705-0169f65d0c0e" providerId="ADAL" clId="{1001C0DD-7E82-4F82-A846-3EE15D16FE9F}" dt="2025-11-09T20:08:32.198" v="1225" actId="478"/>
          <ac:spMkLst>
            <pc:docMk/>
            <pc:sldMk cId="227166264" sldId="2147471327"/>
            <ac:spMk id="20" creationId="{09B5BABD-5C94-4C7B-8290-ABFDEAD21B65}"/>
          </ac:spMkLst>
        </pc:spChg>
        <pc:spChg chg="del">
          <ac:chgData name="John Paserba" userId="77bd6c8a-d0c1-4fea-8705-0169f65d0c0e" providerId="ADAL" clId="{1001C0DD-7E82-4F82-A846-3EE15D16FE9F}" dt="2025-11-09T20:08:35.242" v="1227" actId="478"/>
          <ac:spMkLst>
            <pc:docMk/>
            <pc:sldMk cId="227166264" sldId="2147471327"/>
            <ac:spMk id="22" creationId="{59A49BD6-E783-432F-BDF3-BB73BB160244}"/>
          </ac:spMkLst>
        </pc:spChg>
        <pc:spChg chg="del">
          <ac:chgData name="John Paserba" userId="77bd6c8a-d0c1-4fea-8705-0169f65d0c0e" providerId="ADAL" clId="{1001C0DD-7E82-4F82-A846-3EE15D16FE9F}" dt="2025-11-09T20:08:33.772" v="1226" actId="478"/>
          <ac:spMkLst>
            <pc:docMk/>
            <pc:sldMk cId="227166264" sldId="2147471327"/>
            <ac:spMk id="23" creationId="{B52289C9-DECF-4978-A579-2AA29A6A2AD3}"/>
          </ac:spMkLst>
        </pc:spChg>
        <pc:spChg chg="del">
          <ac:chgData name="John Paserba" userId="77bd6c8a-d0c1-4fea-8705-0169f65d0c0e" providerId="ADAL" clId="{1001C0DD-7E82-4F82-A846-3EE15D16FE9F}" dt="2025-11-09T20:08:47.763" v="1231" actId="478"/>
          <ac:spMkLst>
            <pc:docMk/>
            <pc:sldMk cId="227166264" sldId="2147471327"/>
            <ac:spMk id="24" creationId="{971A2DA7-99EC-4F08-9871-9F3F619C8F65}"/>
          </ac:spMkLst>
        </pc:spChg>
        <pc:spChg chg="mod">
          <ac:chgData name="John Paserba" userId="77bd6c8a-d0c1-4fea-8705-0169f65d0c0e" providerId="ADAL" clId="{1001C0DD-7E82-4F82-A846-3EE15D16FE9F}" dt="2025-11-09T20:08:44.071" v="1230" actId="1076"/>
          <ac:spMkLst>
            <pc:docMk/>
            <pc:sldMk cId="227166264" sldId="2147471327"/>
            <ac:spMk id="71" creationId="{996B0B4C-BAA1-4BD7-A2B3-2838EA5DFE70}"/>
          </ac:spMkLst>
        </pc:spChg>
        <pc:spChg chg="mod">
          <ac:chgData name="John Paserba" userId="77bd6c8a-d0c1-4fea-8705-0169f65d0c0e" providerId="ADAL" clId="{1001C0DD-7E82-4F82-A846-3EE15D16FE9F}" dt="2025-11-09T20:08:44.071" v="1230" actId="1076"/>
          <ac:spMkLst>
            <pc:docMk/>
            <pc:sldMk cId="227166264" sldId="2147471327"/>
            <ac:spMk id="72" creationId="{F700CDAD-0C5C-4873-9A5F-2CF9F7F7BA81}"/>
          </ac:spMkLst>
        </pc:spChg>
        <pc:spChg chg="mod">
          <ac:chgData name="John Paserba" userId="77bd6c8a-d0c1-4fea-8705-0169f65d0c0e" providerId="ADAL" clId="{1001C0DD-7E82-4F82-A846-3EE15D16FE9F}" dt="2025-11-09T20:08:44.071" v="1230" actId="1076"/>
          <ac:spMkLst>
            <pc:docMk/>
            <pc:sldMk cId="227166264" sldId="2147471327"/>
            <ac:spMk id="73" creationId="{5E31E2D5-F65B-4252-B584-D813496F6BF5}"/>
          </ac:spMkLst>
        </pc:spChg>
        <pc:spChg chg="mod">
          <ac:chgData name="John Paserba" userId="77bd6c8a-d0c1-4fea-8705-0169f65d0c0e" providerId="ADAL" clId="{1001C0DD-7E82-4F82-A846-3EE15D16FE9F}" dt="2025-11-09T20:08:44.071" v="1230" actId="1076"/>
          <ac:spMkLst>
            <pc:docMk/>
            <pc:sldMk cId="227166264" sldId="2147471327"/>
            <ac:spMk id="75" creationId="{5833EE2F-61C4-459D-8BFA-0956A4B1A890}"/>
          </ac:spMkLst>
        </pc:spChg>
        <pc:spChg chg="mod">
          <ac:chgData name="John Paserba" userId="77bd6c8a-d0c1-4fea-8705-0169f65d0c0e" providerId="ADAL" clId="{1001C0DD-7E82-4F82-A846-3EE15D16FE9F}" dt="2025-11-09T20:09:04.824" v="1247" actId="255"/>
          <ac:spMkLst>
            <pc:docMk/>
            <pc:sldMk cId="227166264" sldId="2147471327"/>
            <ac:spMk id="3328002" creationId="{00000000-0000-0000-0000-000000000000}"/>
          </ac:spMkLst>
        </pc:spChg>
        <pc:cxnChg chg="mod">
          <ac:chgData name="John Paserba" userId="77bd6c8a-d0c1-4fea-8705-0169f65d0c0e" providerId="ADAL" clId="{1001C0DD-7E82-4F82-A846-3EE15D16FE9F}" dt="2025-11-09T20:08:44.071" v="1230" actId="1076"/>
          <ac:cxnSpMkLst>
            <pc:docMk/>
            <pc:sldMk cId="227166264" sldId="2147471327"/>
            <ac:cxnSpMk id="16" creationId="{0E504E0C-DB90-4BCB-A55F-E15262170549}"/>
          </ac:cxnSpMkLst>
        </pc:cxnChg>
        <pc:cxnChg chg="mod">
          <ac:chgData name="John Paserba" userId="77bd6c8a-d0c1-4fea-8705-0169f65d0c0e" providerId="ADAL" clId="{1001C0DD-7E82-4F82-A846-3EE15D16FE9F}" dt="2025-11-09T20:08:44.071" v="1230" actId="1076"/>
          <ac:cxnSpMkLst>
            <pc:docMk/>
            <pc:sldMk cId="227166264" sldId="2147471327"/>
            <ac:cxnSpMk id="17" creationId="{F5E211A8-A5B6-4243-85DE-00D0B98E8581}"/>
          </ac:cxnSpMkLst>
        </pc:cxnChg>
        <pc:cxnChg chg="mod">
          <ac:chgData name="John Paserba" userId="77bd6c8a-d0c1-4fea-8705-0169f65d0c0e" providerId="ADAL" clId="{1001C0DD-7E82-4F82-A846-3EE15D16FE9F}" dt="2025-11-09T20:08:44.071" v="1230" actId="1076"/>
          <ac:cxnSpMkLst>
            <pc:docMk/>
            <pc:sldMk cId="227166264" sldId="2147471327"/>
            <ac:cxnSpMk id="18" creationId="{CBA23260-AEB1-4DD4-9D52-FDF8B1BE144A}"/>
          </ac:cxnSpMkLst>
        </pc:cxnChg>
        <pc:cxnChg chg="mod">
          <ac:chgData name="John Paserba" userId="77bd6c8a-d0c1-4fea-8705-0169f65d0c0e" providerId="ADAL" clId="{1001C0DD-7E82-4F82-A846-3EE15D16FE9F}" dt="2025-11-09T20:08:44.071" v="1230" actId="1076"/>
          <ac:cxnSpMkLst>
            <pc:docMk/>
            <pc:sldMk cId="227166264" sldId="2147471327"/>
            <ac:cxnSpMk id="21" creationId="{800DE300-447F-4074-ADC7-ECAF3026E91B}"/>
          </ac:cxnSpMkLst>
        </pc:cxnChg>
        <pc:cxnChg chg="mod">
          <ac:chgData name="John Paserba" userId="77bd6c8a-d0c1-4fea-8705-0169f65d0c0e" providerId="ADAL" clId="{1001C0DD-7E82-4F82-A846-3EE15D16FE9F}" dt="2025-11-09T20:08:44.071" v="1230" actId="1076"/>
          <ac:cxnSpMkLst>
            <pc:docMk/>
            <pc:sldMk cId="227166264" sldId="2147471327"/>
            <ac:cxnSpMk id="25" creationId="{A8D7D701-0665-40E5-899F-F2E392362F6F}"/>
          </ac:cxnSpMkLst>
        </pc:cxnChg>
        <pc:cxnChg chg="mod">
          <ac:chgData name="John Paserba" userId="77bd6c8a-d0c1-4fea-8705-0169f65d0c0e" providerId="ADAL" clId="{1001C0DD-7E82-4F82-A846-3EE15D16FE9F}" dt="2025-11-09T20:08:44.071" v="1230" actId="1076"/>
          <ac:cxnSpMkLst>
            <pc:docMk/>
            <pc:sldMk cId="227166264" sldId="2147471327"/>
            <ac:cxnSpMk id="85" creationId="{CCD7E179-8168-4C33-9AAF-A0C2952E27F2}"/>
          </ac:cxnSpMkLst>
        </pc:cxnChg>
      </pc:sldChg>
      <pc:sldChg chg="delSp modSp mod">
        <pc:chgData name="John Paserba" userId="77bd6c8a-d0c1-4fea-8705-0169f65d0c0e" providerId="ADAL" clId="{1001C0DD-7E82-4F82-A846-3EE15D16FE9F}" dt="2025-11-09T20:48:35.252" v="1432"/>
        <pc:sldMkLst>
          <pc:docMk/>
          <pc:sldMk cId="2972051370" sldId="2147471329"/>
        </pc:sldMkLst>
        <pc:spChg chg="mod">
          <ac:chgData name="John Paserba" userId="77bd6c8a-d0c1-4fea-8705-0169f65d0c0e" providerId="ADAL" clId="{1001C0DD-7E82-4F82-A846-3EE15D16FE9F}" dt="2025-11-09T20:09:42.709" v="1296" actId="1036"/>
          <ac:spMkLst>
            <pc:docMk/>
            <pc:sldMk cId="2972051370" sldId="2147471329"/>
            <ac:spMk id="6" creationId="{382ED6D2-2008-40E0-932B-EB118DF29933}"/>
          </ac:spMkLst>
        </pc:spChg>
        <pc:spChg chg="mod">
          <ac:chgData name="John Paserba" userId="77bd6c8a-d0c1-4fea-8705-0169f65d0c0e" providerId="ADAL" clId="{1001C0DD-7E82-4F82-A846-3EE15D16FE9F}" dt="2025-11-09T20:09:42.709" v="1296" actId="1036"/>
          <ac:spMkLst>
            <pc:docMk/>
            <pc:sldMk cId="2972051370" sldId="2147471329"/>
            <ac:spMk id="8" creationId="{D9195898-5299-4EF8-BA1B-10F685FBCF58}"/>
          </ac:spMkLst>
        </pc:spChg>
        <pc:spChg chg="mod">
          <ac:chgData name="John Paserba" userId="77bd6c8a-d0c1-4fea-8705-0169f65d0c0e" providerId="ADAL" clId="{1001C0DD-7E82-4F82-A846-3EE15D16FE9F}" dt="2025-11-09T20:09:42.709" v="1296" actId="1036"/>
          <ac:spMkLst>
            <pc:docMk/>
            <pc:sldMk cId="2972051370" sldId="2147471329"/>
            <ac:spMk id="31" creationId="{511756A9-88D9-4B8B-99D5-356DA90DA34F}"/>
          </ac:spMkLst>
        </pc:spChg>
        <pc:spChg chg="mod">
          <ac:chgData name="John Paserba" userId="77bd6c8a-d0c1-4fea-8705-0169f65d0c0e" providerId="ADAL" clId="{1001C0DD-7E82-4F82-A846-3EE15D16FE9F}" dt="2025-11-09T20:09:42.709" v="1296" actId="1036"/>
          <ac:spMkLst>
            <pc:docMk/>
            <pc:sldMk cId="2972051370" sldId="2147471329"/>
            <ac:spMk id="32" creationId="{CF10B737-F3F0-4C3E-837F-282E4325D7CE}"/>
          </ac:spMkLst>
        </pc:spChg>
        <pc:spChg chg="mod">
          <ac:chgData name="John Paserba" userId="77bd6c8a-d0c1-4fea-8705-0169f65d0c0e" providerId="ADAL" clId="{1001C0DD-7E82-4F82-A846-3EE15D16FE9F}" dt="2025-11-09T20:09:42.709" v="1296" actId="1036"/>
          <ac:spMkLst>
            <pc:docMk/>
            <pc:sldMk cId="2972051370" sldId="2147471329"/>
            <ac:spMk id="33" creationId="{D9857118-8806-42F2-82D8-D7370E1C90FA}"/>
          </ac:spMkLst>
        </pc:spChg>
        <pc:spChg chg="del">
          <ac:chgData name="John Paserba" userId="77bd6c8a-d0c1-4fea-8705-0169f65d0c0e" providerId="ADAL" clId="{1001C0DD-7E82-4F82-A846-3EE15D16FE9F}" dt="2025-11-09T20:09:31.779" v="1275" actId="478"/>
          <ac:spMkLst>
            <pc:docMk/>
            <pc:sldMk cId="2972051370" sldId="2147471329"/>
            <ac:spMk id="36" creationId="{EE3CC24F-A304-4C59-AD2E-7FB97285A1FD}"/>
          </ac:spMkLst>
        </pc:spChg>
        <pc:spChg chg="mod">
          <ac:chgData name="John Paserba" userId="77bd6c8a-d0c1-4fea-8705-0169f65d0c0e" providerId="ADAL" clId="{1001C0DD-7E82-4F82-A846-3EE15D16FE9F}" dt="2025-11-09T20:09:42.709" v="1296" actId="1036"/>
          <ac:spMkLst>
            <pc:docMk/>
            <pc:sldMk cId="2972051370" sldId="2147471329"/>
            <ac:spMk id="71" creationId="{996B0B4C-BAA1-4BD7-A2B3-2838EA5DFE70}"/>
          </ac:spMkLst>
        </pc:spChg>
        <pc:spChg chg="mod">
          <ac:chgData name="John Paserba" userId="77bd6c8a-d0c1-4fea-8705-0169f65d0c0e" providerId="ADAL" clId="{1001C0DD-7E82-4F82-A846-3EE15D16FE9F}" dt="2025-11-09T20:09:42.709" v="1296" actId="1036"/>
          <ac:spMkLst>
            <pc:docMk/>
            <pc:sldMk cId="2972051370" sldId="2147471329"/>
            <ac:spMk id="72" creationId="{F700CDAD-0C5C-4873-9A5F-2CF9F7F7BA81}"/>
          </ac:spMkLst>
        </pc:spChg>
        <pc:spChg chg="mod">
          <ac:chgData name="John Paserba" userId="77bd6c8a-d0c1-4fea-8705-0169f65d0c0e" providerId="ADAL" clId="{1001C0DD-7E82-4F82-A846-3EE15D16FE9F}" dt="2025-11-09T20:09:42.709" v="1296" actId="1036"/>
          <ac:spMkLst>
            <pc:docMk/>
            <pc:sldMk cId="2972051370" sldId="2147471329"/>
            <ac:spMk id="73" creationId="{5E31E2D5-F65B-4252-B584-D813496F6BF5}"/>
          </ac:spMkLst>
        </pc:spChg>
        <pc:spChg chg="mod">
          <ac:chgData name="John Paserba" userId="77bd6c8a-d0c1-4fea-8705-0169f65d0c0e" providerId="ADAL" clId="{1001C0DD-7E82-4F82-A846-3EE15D16FE9F}" dt="2025-11-09T20:09:42.709" v="1296" actId="1036"/>
          <ac:spMkLst>
            <pc:docMk/>
            <pc:sldMk cId="2972051370" sldId="2147471329"/>
            <ac:spMk id="75" creationId="{5833EE2F-61C4-459D-8BFA-0956A4B1A890}"/>
          </ac:spMkLst>
        </pc:spChg>
        <pc:spChg chg="mod">
          <ac:chgData name="John Paserba" userId="77bd6c8a-d0c1-4fea-8705-0169f65d0c0e" providerId="ADAL" clId="{1001C0DD-7E82-4F82-A846-3EE15D16FE9F}" dt="2025-11-09T20:09:42.709" v="1296" actId="1036"/>
          <ac:spMkLst>
            <pc:docMk/>
            <pc:sldMk cId="2972051370" sldId="2147471329"/>
            <ac:spMk id="76" creationId="{B58E03A9-379B-4616-B255-E1562CE8B1CA}"/>
          </ac:spMkLst>
        </pc:spChg>
        <pc:spChg chg="mod">
          <ac:chgData name="John Paserba" userId="77bd6c8a-d0c1-4fea-8705-0169f65d0c0e" providerId="ADAL" clId="{1001C0DD-7E82-4F82-A846-3EE15D16FE9F}" dt="2025-11-09T20:09:42.709" v="1296" actId="1036"/>
          <ac:spMkLst>
            <pc:docMk/>
            <pc:sldMk cId="2972051370" sldId="2147471329"/>
            <ac:spMk id="77" creationId="{8C927CEA-3A7B-41E7-9EC6-006111B98A37}"/>
          </ac:spMkLst>
        </pc:spChg>
        <pc:spChg chg="mod">
          <ac:chgData name="John Paserba" userId="77bd6c8a-d0c1-4fea-8705-0169f65d0c0e" providerId="ADAL" clId="{1001C0DD-7E82-4F82-A846-3EE15D16FE9F}" dt="2025-11-09T20:09:42.709" v="1296" actId="1036"/>
          <ac:spMkLst>
            <pc:docMk/>
            <pc:sldMk cId="2972051370" sldId="2147471329"/>
            <ac:spMk id="78" creationId="{8E6A8392-2505-4D45-94FF-D1492363E81F}"/>
          </ac:spMkLst>
        </pc:spChg>
        <pc:spChg chg="mod">
          <ac:chgData name="John Paserba" userId="77bd6c8a-d0c1-4fea-8705-0169f65d0c0e" providerId="ADAL" clId="{1001C0DD-7E82-4F82-A846-3EE15D16FE9F}" dt="2025-11-09T20:09:42.709" v="1296" actId="1036"/>
          <ac:spMkLst>
            <pc:docMk/>
            <pc:sldMk cId="2972051370" sldId="2147471329"/>
            <ac:spMk id="96" creationId="{FAFDB19F-C0EC-434D-A3A5-994CAFD6DB36}"/>
          </ac:spMkLst>
        </pc:spChg>
        <pc:spChg chg="mod">
          <ac:chgData name="John Paserba" userId="77bd6c8a-d0c1-4fea-8705-0169f65d0c0e" providerId="ADAL" clId="{1001C0DD-7E82-4F82-A846-3EE15D16FE9F}" dt="2025-11-09T20:48:35.252" v="1432"/>
          <ac:spMkLst>
            <pc:docMk/>
            <pc:sldMk cId="2972051370" sldId="2147471329"/>
            <ac:spMk id="3328002" creationId="{00000000-0000-0000-0000-000000000000}"/>
          </ac:spMkLst>
        </pc:spChg>
        <pc:cxnChg chg="mod">
          <ac:chgData name="John Paserba" userId="77bd6c8a-d0c1-4fea-8705-0169f65d0c0e" providerId="ADAL" clId="{1001C0DD-7E82-4F82-A846-3EE15D16FE9F}" dt="2025-11-09T20:09:42.709" v="1296" actId="1036"/>
          <ac:cxnSpMkLst>
            <pc:docMk/>
            <pc:sldMk cId="2972051370" sldId="2147471329"/>
            <ac:cxnSpMk id="25" creationId="{A8D7D701-0665-40E5-899F-F2E392362F6F}"/>
          </ac:cxnSpMkLst>
        </pc:cxnChg>
        <pc:cxnChg chg="mod">
          <ac:chgData name="John Paserba" userId="77bd6c8a-d0c1-4fea-8705-0169f65d0c0e" providerId="ADAL" clId="{1001C0DD-7E82-4F82-A846-3EE15D16FE9F}" dt="2025-11-09T20:09:42.709" v="1296" actId="1036"/>
          <ac:cxnSpMkLst>
            <pc:docMk/>
            <pc:sldMk cId="2972051370" sldId="2147471329"/>
            <ac:cxnSpMk id="34" creationId="{9B4E2B32-8B77-4940-94B1-A2A8E0611892}"/>
          </ac:cxnSpMkLst>
        </pc:cxnChg>
        <pc:cxnChg chg="mod">
          <ac:chgData name="John Paserba" userId="77bd6c8a-d0c1-4fea-8705-0169f65d0c0e" providerId="ADAL" clId="{1001C0DD-7E82-4F82-A846-3EE15D16FE9F}" dt="2025-11-09T20:09:42.709" v="1296" actId="1036"/>
          <ac:cxnSpMkLst>
            <pc:docMk/>
            <pc:sldMk cId="2972051370" sldId="2147471329"/>
            <ac:cxnSpMk id="35" creationId="{E60831BD-B4C4-472B-81B6-11D48C295B03}"/>
          </ac:cxnSpMkLst>
        </pc:cxnChg>
        <pc:cxnChg chg="mod">
          <ac:chgData name="John Paserba" userId="77bd6c8a-d0c1-4fea-8705-0169f65d0c0e" providerId="ADAL" clId="{1001C0DD-7E82-4F82-A846-3EE15D16FE9F}" dt="2025-11-09T20:09:42.709" v="1296" actId="1036"/>
          <ac:cxnSpMkLst>
            <pc:docMk/>
            <pc:sldMk cId="2972051370" sldId="2147471329"/>
            <ac:cxnSpMk id="37" creationId="{F3B94788-4F7B-4013-9F3F-F76D56746F1F}"/>
          </ac:cxnSpMkLst>
        </pc:cxnChg>
        <pc:cxnChg chg="mod">
          <ac:chgData name="John Paserba" userId="77bd6c8a-d0c1-4fea-8705-0169f65d0c0e" providerId="ADAL" clId="{1001C0DD-7E82-4F82-A846-3EE15D16FE9F}" dt="2025-11-09T20:09:42.709" v="1296" actId="1036"/>
          <ac:cxnSpMkLst>
            <pc:docMk/>
            <pc:sldMk cId="2972051370" sldId="2147471329"/>
            <ac:cxnSpMk id="41" creationId="{15CEFB8C-F2DD-44A3-ABBA-7DF221A955AE}"/>
          </ac:cxnSpMkLst>
        </pc:cxnChg>
        <pc:cxnChg chg="mod">
          <ac:chgData name="John Paserba" userId="77bd6c8a-d0c1-4fea-8705-0169f65d0c0e" providerId="ADAL" clId="{1001C0DD-7E82-4F82-A846-3EE15D16FE9F}" dt="2025-11-09T20:09:42.709" v="1296" actId="1036"/>
          <ac:cxnSpMkLst>
            <pc:docMk/>
            <pc:sldMk cId="2972051370" sldId="2147471329"/>
            <ac:cxnSpMk id="43" creationId="{95B4CB18-A809-4C82-B01C-CA917C5DB95F}"/>
          </ac:cxnSpMkLst>
        </pc:cxnChg>
        <pc:cxnChg chg="mod">
          <ac:chgData name="John Paserba" userId="77bd6c8a-d0c1-4fea-8705-0169f65d0c0e" providerId="ADAL" clId="{1001C0DD-7E82-4F82-A846-3EE15D16FE9F}" dt="2025-11-09T20:09:42.709" v="1296" actId="1036"/>
          <ac:cxnSpMkLst>
            <pc:docMk/>
            <pc:sldMk cId="2972051370" sldId="2147471329"/>
            <ac:cxnSpMk id="44" creationId="{6160F697-9F3B-4426-A667-1EAE96351B4B}"/>
          </ac:cxnSpMkLst>
        </pc:cxnChg>
        <pc:cxnChg chg="mod">
          <ac:chgData name="John Paserba" userId="77bd6c8a-d0c1-4fea-8705-0169f65d0c0e" providerId="ADAL" clId="{1001C0DD-7E82-4F82-A846-3EE15D16FE9F}" dt="2025-11-09T20:09:42.709" v="1296" actId="1036"/>
          <ac:cxnSpMkLst>
            <pc:docMk/>
            <pc:sldMk cId="2972051370" sldId="2147471329"/>
            <ac:cxnSpMk id="45" creationId="{2B3B7DFF-6CF4-4D6F-9FA3-0174F7BC9216}"/>
          </ac:cxnSpMkLst>
        </pc:cxnChg>
        <pc:cxnChg chg="mod">
          <ac:chgData name="John Paserba" userId="77bd6c8a-d0c1-4fea-8705-0169f65d0c0e" providerId="ADAL" clId="{1001C0DD-7E82-4F82-A846-3EE15D16FE9F}" dt="2025-11-09T20:09:42.709" v="1296" actId="1036"/>
          <ac:cxnSpMkLst>
            <pc:docMk/>
            <pc:sldMk cId="2972051370" sldId="2147471329"/>
            <ac:cxnSpMk id="82" creationId="{7FB41CC0-2921-443F-BA6C-B7FA2711319E}"/>
          </ac:cxnSpMkLst>
        </pc:cxnChg>
        <pc:cxnChg chg="mod">
          <ac:chgData name="John Paserba" userId="77bd6c8a-d0c1-4fea-8705-0169f65d0c0e" providerId="ADAL" clId="{1001C0DD-7E82-4F82-A846-3EE15D16FE9F}" dt="2025-11-09T20:09:42.709" v="1296" actId="1036"/>
          <ac:cxnSpMkLst>
            <pc:docMk/>
            <pc:sldMk cId="2972051370" sldId="2147471329"/>
            <ac:cxnSpMk id="85" creationId="{CCD7E179-8168-4C33-9AAF-A0C2952E27F2}"/>
          </ac:cxnSpMkLst>
        </pc:cxnChg>
        <pc:cxnChg chg="mod">
          <ac:chgData name="John Paserba" userId="77bd6c8a-d0c1-4fea-8705-0169f65d0c0e" providerId="ADAL" clId="{1001C0DD-7E82-4F82-A846-3EE15D16FE9F}" dt="2025-11-09T20:09:42.709" v="1296" actId="1036"/>
          <ac:cxnSpMkLst>
            <pc:docMk/>
            <pc:sldMk cId="2972051370" sldId="2147471329"/>
            <ac:cxnSpMk id="86" creationId="{F0958FC6-5556-4A81-972E-1441B41B8A17}"/>
          </ac:cxnSpMkLst>
        </pc:cxnChg>
        <pc:cxnChg chg="mod">
          <ac:chgData name="John Paserba" userId="77bd6c8a-d0c1-4fea-8705-0169f65d0c0e" providerId="ADAL" clId="{1001C0DD-7E82-4F82-A846-3EE15D16FE9F}" dt="2025-11-09T20:09:42.709" v="1296" actId="1036"/>
          <ac:cxnSpMkLst>
            <pc:docMk/>
            <pc:sldMk cId="2972051370" sldId="2147471329"/>
            <ac:cxnSpMk id="87" creationId="{0E0F8FB4-530E-4A05-8667-9ECBE72C8C60}"/>
          </ac:cxnSpMkLst>
        </pc:cxnChg>
        <pc:cxnChg chg="mod">
          <ac:chgData name="John Paserba" userId="77bd6c8a-d0c1-4fea-8705-0169f65d0c0e" providerId="ADAL" clId="{1001C0DD-7E82-4F82-A846-3EE15D16FE9F}" dt="2025-11-09T20:09:42.709" v="1296" actId="1036"/>
          <ac:cxnSpMkLst>
            <pc:docMk/>
            <pc:sldMk cId="2972051370" sldId="2147471329"/>
            <ac:cxnSpMk id="88" creationId="{E94DF50A-549C-4A2F-808F-0558807F64C2}"/>
          </ac:cxnSpMkLst>
        </pc:cxnChg>
        <pc:cxnChg chg="mod">
          <ac:chgData name="John Paserba" userId="77bd6c8a-d0c1-4fea-8705-0169f65d0c0e" providerId="ADAL" clId="{1001C0DD-7E82-4F82-A846-3EE15D16FE9F}" dt="2025-11-09T20:09:42.709" v="1296" actId="1036"/>
          <ac:cxnSpMkLst>
            <pc:docMk/>
            <pc:sldMk cId="2972051370" sldId="2147471329"/>
            <ac:cxnSpMk id="89" creationId="{85599C0E-9E5F-4A97-BFFD-F830E3059510}"/>
          </ac:cxnSpMkLst>
        </pc:cxnChg>
        <pc:cxnChg chg="mod">
          <ac:chgData name="John Paserba" userId="77bd6c8a-d0c1-4fea-8705-0169f65d0c0e" providerId="ADAL" clId="{1001C0DD-7E82-4F82-A846-3EE15D16FE9F}" dt="2025-11-09T20:09:42.709" v="1296" actId="1036"/>
          <ac:cxnSpMkLst>
            <pc:docMk/>
            <pc:sldMk cId="2972051370" sldId="2147471329"/>
            <ac:cxnSpMk id="90" creationId="{12311308-2A5C-4AAB-BB2B-940BB335FBBE}"/>
          </ac:cxnSpMkLst>
        </pc:cxnChg>
        <pc:cxnChg chg="mod">
          <ac:chgData name="John Paserba" userId="77bd6c8a-d0c1-4fea-8705-0169f65d0c0e" providerId="ADAL" clId="{1001C0DD-7E82-4F82-A846-3EE15D16FE9F}" dt="2025-11-09T20:09:42.709" v="1296" actId="1036"/>
          <ac:cxnSpMkLst>
            <pc:docMk/>
            <pc:sldMk cId="2972051370" sldId="2147471329"/>
            <ac:cxnSpMk id="91" creationId="{99EBA240-0EAA-419A-9002-70224CE9BC30}"/>
          </ac:cxnSpMkLst>
        </pc:cxnChg>
        <pc:cxnChg chg="mod">
          <ac:chgData name="John Paserba" userId="77bd6c8a-d0c1-4fea-8705-0169f65d0c0e" providerId="ADAL" clId="{1001C0DD-7E82-4F82-A846-3EE15D16FE9F}" dt="2025-11-09T20:09:42.709" v="1296" actId="1036"/>
          <ac:cxnSpMkLst>
            <pc:docMk/>
            <pc:sldMk cId="2972051370" sldId="2147471329"/>
            <ac:cxnSpMk id="93" creationId="{2A3537C0-7D2F-424A-A0A7-250940FE4DF2}"/>
          </ac:cxnSpMkLst>
        </pc:cxnChg>
      </pc:sldChg>
      <pc:sldChg chg="del">
        <pc:chgData name="John Paserba" userId="77bd6c8a-d0c1-4fea-8705-0169f65d0c0e" providerId="ADAL" clId="{1001C0DD-7E82-4F82-A846-3EE15D16FE9F}" dt="2025-11-09T19:40:15.090" v="354" actId="47"/>
        <pc:sldMkLst>
          <pc:docMk/>
          <pc:sldMk cId="3068800632" sldId="2147471347"/>
        </pc:sldMkLst>
      </pc:sldChg>
      <pc:sldChg chg="del">
        <pc:chgData name="John Paserba" userId="77bd6c8a-d0c1-4fea-8705-0169f65d0c0e" providerId="ADAL" clId="{1001C0DD-7E82-4F82-A846-3EE15D16FE9F}" dt="2025-11-09T19:40:15.090" v="354" actId="47"/>
        <pc:sldMkLst>
          <pc:docMk/>
          <pc:sldMk cId="279766797" sldId="2147471348"/>
        </pc:sldMkLst>
      </pc:sldChg>
      <pc:sldChg chg="del">
        <pc:chgData name="John Paserba" userId="77bd6c8a-d0c1-4fea-8705-0169f65d0c0e" providerId="ADAL" clId="{1001C0DD-7E82-4F82-A846-3EE15D16FE9F}" dt="2025-11-09T19:40:15.090" v="354" actId="47"/>
        <pc:sldMkLst>
          <pc:docMk/>
          <pc:sldMk cId="3853639149" sldId="2147471350"/>
        </pc:sldMkLst>
      </pc:sldChg>
      <pc:sldChg chg="del">
        <pc:chgData name="John Paserba" userId="77bd6c8a-d0c1-4fea-8705-0169f65d0c0e" providerId="ADAL" clId="{1001C0DD-7E82-4F82-A846-3EE15D16FE9F}" dt="2025-11-09T19:40:15.090" v="354" actId="47"/>
        <pc:sldMkLst>
          <pc:docMk/>
          <pc:sldMk cId="637690621" sldId="2147471352"/>
        </pc:sldMkLst>
      </pc:sldChg>
      <pc:sldChg chg="del">
        <pc:chgData name="John Paserba" userId="77bd6c8a-d0c1-4fea-8705-0169f65d0c0e" providerId="ADAL" clId="{1001C0DD-7E82-4F82-A846-3EE15D16FE9F}" dt="2025-11-09T19:40:15.090" v="354" actId="47"/>
        <pc:sldMkLst>
          <pc:docMk/>
          <pc:sldMk cId="2149725124" sldId="2147471353"/>
        </pc:sldMkLst>
      </pc:sldChg>
      <pc:sldChg chg="del">
        <pc:chgData name="John Paserba" userId="77bd6c8a-d0c1-4fea-8705-0169f65d0c0e" providerId="ADAL" clId="{1001C0DD-7E82-4F82-A846-3EE15D16FE9F}" dt="2025-11-09T19:40:15.090" v="354" actId="47"/>
        <pc:sldMkLst>
          <pc:docMk/>
          <pc:sldMk cId="3319730970" sldId="2147471354"/>
        </pc:sldMkLst>
      </pc:sldChg>
      <pc:sldChg chg="del">
        <pc:chgData name="John Paserba" userId="77bd6c8a-d0c1-4fea-8705-0169f65d0c0e" providerId="ADAL" clId="{1001C0DD-7E82-4F82-A846-3EE15D16FE9F}" dt="2025-11-09T19:40:15.090" v="354" actId="47"/>
        <pc:sldMkLst>
          <pc:docMk/>
          <pc:sldMk cId="3308952887" sldId="2147471355"/>
        </pc:sldMkLst>
      </pc:sldChg>
      <pc:sldChg chg="del">
        <pc:chgData name="John Paserba" userId="77bd6c8a-d0c1-4fea-8705-0169f65d0c0e" providerId="ADAL" clId="{1001C0DD-7E82-4F82-A846-3EE15D16FE9F}" dt="2025-11-09T19:40:15.090" v="354" actId="47"/>
        <pc:sldMkLst>
          <pc:docMk/>
          <pc:sldMk cId="2268790818" sldId="2147471356"/>
        </pc:sldMkLst>
      </pc:sldChg>
      <pc:sldChg chg="del">
        <pc:chgData name="John Paserba" userId="77bd6c8a-d0c1-4fea-8705-0169f65d0c0e" providerId="ADAL" clId="{1001C0DD-7E82-4F82-A846-3EE15D16FE9F}" dt="2025-11-09T19:40:15.090" v="354" actId="47"/>
        <pc:sldMkLst>
          <pc:docMk/>
          <pc:sldMk cId="2330762423" sldId="2147471357"/>
        </pc:sldMkLst>
      </pc:sldChg>
      <pc:sldChg chg="del">
        <pc:chgData name="John Paserba" userId="77bd6c8a-d0c1-4fea-8705-0169f65d0c0e" providerId="ADAL" clId="{1001C0DD-7E82-4F82-A846-3EE15D16FE9F}" dt="2025-11-09T19:28:02.165" v="213" actId="47"/>
        <pc:sldMkLst>
          <pc:docMk/>
          <pc:sldMk cId="3494630388" sldId="2147471363"/>
        </pc:sldMkLst>
      </pc:sldChg>
      <pc:sldChg chg="del">
        <pc:chgData name="John Paserba" userId="77bd6c8a-d0c1-4fea-8705-0169f65d0c0e" providerId="ADAL" clId="{1001C0DD-7E82-4F82-A846-3EE15D16FE9F}" dt="2025-11-09T19:28:02.165" v="213" actId="47"/>
        <pc:sldMkLst>
          <pc:docMk/>
          <pc:sldMk cId="3228429271" sldId="2147471365"/>
        </pc:sldMkLst>
      </pc:sldChg>
      <pc:sldChg chg="del">
        <pc:chgData name="John Paserba" userId="77bd6c8a-d0c1-4fea-8705-0169f65d0c0e" providerId="ADAL" clId="{1001C0DD-7E82-4F82-A846-3EE15D16FE9F}" dt="2025-11-09T19:28:02.165" v="213" actId="47"/>
        <pc:sldMkLst>
          <pc:docMk/>
          <pc:sldMk cId="3051881803" sldId="2147471368"/>
        </pc:sldMkLst>
      </pc:sldChg>
      <pc:sldChg chg="del">
        <pc:chgData name="John Paserba" userId="77bd6c8a-d0c1-4fea-8705-0169f65d0c0e" providerId="ADAL" clId="{1001C0DD-7E82-4F82-A846-3EE15D16FE9F}" dt="2025-11-09T19:28:02.165" v="213" actId="47"/>
        <pc:sldMkLst>
          <pc:docMk/>
          <pc:sldMk cId="195241491" sldId="2147471370"/>
        </pc:sldMkLst>
      </pc:sldChg>
      <pc:sldChg chg="del">
        <pc:chgData name="John Paserba" userId="77bd6c8a-d0c1-4fea-8705-0169f65d0c0e" providerId="ADAL" clId="{1001C0DD-7E82-4F82-A846-3EE15D16FE9F}" dt="2025-11-09T19:40:15.090" v="354" actId="47"/>
        <pc:sldMkLst>
          <pc:docMk/>
          <pc:sldMk cId="1873279609" sldId="2147471380"/>
        </pc:sldMkLst>
      </pc:sldChg>
      <pc:sldChg chg="del">
        <pc:chgData name="John Paserba" userId="77bd6c8a-d0c1-4fea-8705-0169f65d0c0e" providerId="ADAL" clId="{1001C0DD-7E82-4F82-A846-3EE15D16FE9F}" dt="2025-11-09T19:40:56.994" v="359" actId="47"/>
        <pc:sldMkLst>
          <pc:docMk/>
          <pc:sldMk cId="37534917" sldId="2147471383"/>
        </pc:sldMkLst>
      </pc:sldChg>
      <pc:sldChg chg="del">
        <pc:chgData name="John Paserba" userId="77bd6c8a-d0c1-4fea-8705-0169f65d0c0e" providerId="ADAL" clId="{1001C0DD-7E82-4F82-A846-3EE15D16FE9F}" dt="2025-11-09T19:40:28.877" v="356" actId="47"/>
        <pc:sldMkLst>
          <pc:docMk/>
          <pc:sldMk cId="1670009108" sldId="2147471390"/>
        </pc:sldMkLst>
      </pc:sldChg>
      <pc:sldChg chg="del">
        <pc:chgData name="John Paserba" userId="77bd6c8a-d0c1-4fea-8705-0169f65d0c0e" providerId="ADAL" clId="{1001C0DD-7E82-4F82-A846-3EE15D16FE9F}" dt="2025-11-09T19:40:28.877" v="356" actId="47"/>
        <pc:sldMkLst>
          <pc:docMk/>
          <pc:sldMk cId="3682362219" sldId="2147471391"/>
        </pc:sldMkLst>
      </pc:sldChg>
      <pc:sldChg chg="del">
        <pc:chgData name="John Paserba" userId="77bd6c8a-d0c1-4fea-8705-0169f65d0c0e" providerId="ADAL" clId="{1001C0DD-7E82-4F82-A846-3EE15D16FE9F}" dt="2025-11-09T19:40:28.877" v="356" actId="47"/>
        <pc:sldMkLst>
          <pc:docMk/>
          <pc:sldMk cId="3034578885" sldId="2147471394"/>
        </pc:sldMkLst>
      </pc:sldChg>
      <pc:sldChg chg="del">
        <pc:chgData name="John Paserba" userId="77bd6c8a-d0c1-4fea-8705-0169f65d0c0e" providerId="ADAL" clId="{1001C0DD-7E82-4F82-A846-3EE15D16FE9F}" dt="2025-11-09T19:40:28.877" v="356" actId="47"/>
        <pc:sldMkLst>
          <pc:docMk/>
          <pc:sldMk cId="2123767180" sldId="2147471395"/>
        </pc:sldMkLst>
      </pc:sldChg>
      <pc:sldChg chg="del">
        <pc:chgData name="John Paserba" userId="77bd6c8a-d0c1-4fea-8705-0169f65d0c0e" providerId="ADAL" clId="{1001C0DD-7E82-4F82-A846-3EE15D16FE9F}" dt="2025-11-09T19:40:28.877" v="356" actId="47"/>
        <pc:sldMkLst>
          <pc:docMk/>
          <pc:sldMk cId="1852686075" sldId="2147471396"/>
        </pc:sldMkLst>
      </pc:sldChg>
      <pc:sldChg chg="del">
        <pc:chgData name="John Paserba" userId="77bd6c8a-d0c1-4fea-8705-0169f65d0c0e" providerId="ADAL" clId="{1001C0DD-7E82-4F82-A846-3EE15D16FE9F}" dt="2025-11-09T19:40:28.877" v="356" actId="47"/>
        <pc:sldMkLst>
          <pc:docMk/>
          <pc:sldMk cId="3347576178" sldId="2147471397"/>
        </pc:sldMkLst>
      </pc:sldChg>
      <pc:sldChg chg="del">
        <pc:chgData name="John Paserba" userId="77bd6c8a-d0c1-4fea-8705-0169f65d0c0e" providerId="ADAL" clId="{1001C0DD-7E82-4F82-A846-3EE15D16FE9F}" dt="2025-11-09T19:40:35.362" v="357" actId="47"/>
        <pc:sldMkLst>
          <pc:docMk/>
          <pc:sldMk cId="364729074" sldId="2147471401"/>
        </pc:sldMkLst>
      </pc:sldChg>
      <pc:sldChg chg="del">
        <pc:chgData name="John Paserba" userId="77bd6c8a-d0c1-4fea-8705-0169f65d0c0e" providerId="ADAL" clId="{1001C0DD-7E82-4F82-A846-3EE15D16FE9F}" dt="2025-11-09T19:40:35.362" v="357" actId="47"/>
        <pc:sldMkLst>
          <pc:docMk/>
          <pc:sldMk cId="88871316" sldId="2147471402"/>
        </pc:sldMkLst>
      </pc:sldChg>
      <pc:sldChg chg="del">
        <pc:chgData name="John Paserba" userId="77bd6c8a-d0c1-4fea-8705-0169f65d0c0e" providerId="ADAL" clId="{1001C0DD-7E82-4F82-A846-3EE15D16FE9F}" dt="2025-11-09T19:40:35.362" v="357" actId="47"/>
        <pc:sldMkLst>
          <pc:docMk/>
          <pc:sldMk cId="4228772070" sldId="2147471403"/>
        </pc:sldMkLst>
      </pc:sldChg>
      <pc:sldChg chg="del">
        <pc:chgData name="John Paserba" userId="77bd6c8a-d0c1-4fea-8705-0169f65d0c0e" providerId="ADAL" clId="{1001C0DD-7E82-4F82-A846-3EE15D16FE9F}" dt="2025-11-09T19:40:35.362" v="357" actId="47"/>
        <pc:sldMkLst>
          <pc:docMk/>
          <pc:sldMk cId="1391341895" sldId="2147471409"/>
        </pc:sldMkLst>
      </pc:sldChg>
      <pc:sldChg chg="del">
        <pc:chgData name="John Paserba" userId="77bd6c8a-d0c1-4fea-8705-0169f65d0c0e" providerId="ADAL" clId="{1001C0DD-7E82-4F82-A846-3EE15D16FE9F}" dt="2025-11-09T19:40:28.877" v="356" actId="47"/>
        <pc:sldMkLst>
          <pc:docMk/>
          <pc:sldMk cId="3896741404" sldId="2147471418"/>
        </pc:sldMkLst>
      </pc:sldChg>
      <pc:sldChg chg="del">
        <pc:chgData name="John Paserba" userId="77bd6c8a-d0c1-4fea-8705-0169f65d0c0e" providerId="ADAL" clId="{1001C0DD-7E82-4F82-A846-3EE15D16FE9F}" dt="2025-11-09T19:28:05.316" v="214" actId="47"/>
        <pc:sldMkLst>
          <pc:docMk/>
          <pc:sldMk cId="1511705425" sldId="2147471423"/>
        </pc:sldMkLst>
      </pc:sldChg>
      <pc:sldChg chg="del">
        <pc:chgData name="John Paserba" userId="77bd6c8a-d0c1-4fea-8705-0169f65d0c0e" providerId="ADAL" clId="{1001C0DD-7E82-4F82-A846-3EE15D16FE9F}" dt="2025-11-09T19:40:35.362" v="357" actId="47"/>
        <pc:sldMkLst>
          <pc:docMk/>
          <pc:sldMk cId="1021518741" sldId="2147471424"/>
        </pc:sldMkLst>
      </pc:sldChg>
      <pc:sldChg chg="del">
        <pc:chgData name="John Paserba" userId="77bd6c8a-d0c1-4fea-8705-0169f65d0c0e" providerId="ADAL" clId="{1001C0DD-7E82-4F82-A846-3EE15D16FE9F}" dt="2025-11-09T19:26:27.277" v="112" actId="47"/>
        <pc:sldMkLst>
          <pc:docMk/>
          <pc:sldMk cId="1427769353" sldId="2147471426"/>
        </pc:sldMkLst>
      </pc:sldChg>
      <pc:sldChg chg="del">
        <pc:chgData name="John Paserba" userId="77bd6c8a-d0c1-4fea-8705-0169f65d0c0e" providerId="ADAL" clId="{1001C0DD-7E82-4F82-A846-3EE15D16FE9F}" dt="2025-11-09T19:40:28.877" v="356" actId="47"/>
        <pc:sldMkLst>
          <pc:docMk/>
          <pc:sldMk cId="265690536" sldId="2147471429"/>
        </pc:sldMkLst>
      </pc:sldChg>
      <pc:sldChg chg="del">
        <pc:chgData name="John Paserba" userId="77bd6c8a-d0c1-4fea-8705-0169f65d0c0e" providerId="ADAL" clId="{1001C0DD-7E82-4F82-A846-3EE15D16FE9F}" dt="2025-11-09T19:40:28.877" v="356" actId="47"/>
        <pc:sldMkLst>
          <pc:docMk/>
          <pc:sldMk cId="2575040017" sldId="2147471430"/>
        </pc:sldMkLst>
      </pc:sldChg>
      <pc:sldChg chg="del">
        <pc:chgData name="John Paserba" userId="77bd6c8a-d0c1-4fea-8705-0169f65d0c0e" providerId="ADAL" clId="{1001C0DD-7E82-4F82-A846-3EE15D16FE9F}" dt="2025-11-09T19:26:29.902" v="113" actId="47"/>
        <pc:sldMkLst>
          <pc:docMk/>
          <pc:sldMk cId="2682349257" sldId="2147471431"/>
        </pc:sldMkLst>
      </pc:sldChg>
      <pc:sldChg chg="modSp mod">
        <pc:chgData name="John Paserba" userId="77bd6c8a-d0c1-4fea-8705-0169f65d0c0e" providerId="ADAL" clId="{1001C0DD-7E82-4F82-A846-3EE15D16FE9F}" dt="2025-11-09T19:53:41.313" v="901" actId="313"/>
        <pc:sldMkLst>
          <pc:docMk/>
          <pc:sldMk cId="2579604733" sldId="2147471482"/>
        </pc:sldMkLst>
        <pc:spChg chg="mod">
          <ac:chgData name="John Paserba" userId="77bd6c8a-d0c1-4fea-8705-0169f65d0c0e" providerId="ADAL" clId="{1001C0DD-7E82-4F82-A846-3EE15D16FE9F}" dt="2025-11-09T19:53:41.313" v="901" actId="313"/>
          <ac:spMkLst>
            <pc:docMk/>
            <pc:sldMk cId="2579604733" sldId="2147471482"/>
            <ac:spMk id="2" creationId="{24EFA49A-D6F0-94EB-2E4A-46AC510574DD}"/>
          </ac:spMkLst>
        </pc:spChg>
      </pc:sldChg>
      <pc:sldChg chg="del">
        <pc:chgData name="John Paserba" userId="77bd6c8a-d0c1-4fea-8705-0169f65d0c0e" providerId="ADAL" clId="{1001C0DD-7E82-4F82-A846-3EE15D16FE9F}" dt="2025-11-09T19:40:28.877" v="356" actId="47"/>
        <pc:sldMkLst>
          <pc:docMk/>
          <pc:sldMk cId="1548808851" sldId="2147471486"/>
        </pc:sldMkLst>
      </pc:sldChg>
      <pc:sldChg chg="ord">
        <pc:chgData name="John Paserba" userId="77bd6c8a-d0c1-4fea-8705-0169f65d0c0e" providerId="ADAL" clId="{1001C0DD-7E82-4F82-A846-3EE15D16FE9F}" dt="2025-11-09T19:56:04.313" v="940"/>
        <pc:sldMkLst>
          <pc:docMk/>
          <pc:sldMk cId="36691321" sldId="2147471487"/>
        </pc:sldMkLst>
      </pc:sldChg>
      <pc:sldChg chg="del">
        <pc:chgData name="John Paserba" userId="77bd6c8a-d0c1-4fea-8705-0169f65d0c0e" providerId="ADAL" clId="{1001C0DD-7E82-4F82-A846-3EE15D16FE9F}" dt="2025-11-09T19:27:45.386" v="206" actId="47"/>
        <pc:sldMkLst>
          <pc:docMk/>
          <pc:sldMk cId="1348948237" sldId="2147471498"/>
        </pc:sldMkLst>
      </pc:sldChg>
      <pc:sldChg chg="del">
        <pc:chgData name="John Paserba" userId="77bd6c8a-d0c1-4fea-8705-0169f65d0c0e" providerId="ADAL" clId="{1001C0DD-7E82-4F82-A846-3EE15D16FE9F}" dt="2025-11-09T19:27:45.996" v="207" actId="47"/>
        <pc:sldMkLst>
          <pc:docMk/>
          <pc:sldMk cId="3911101945" sldId="2147471500"/>
        </pc:sldMkLst>
      </pc:sldChg>
      <pc:sldChg chg="del">
        <pc:chgData name="John Paserba" userId="77bd6c8a-d0c1-4fea-8705-0169f65d0c0e" providerId="ADAL" clId="{1001C0DD-7E82-4F82-A846-3EE15D16FE9F}" dt="2025-11-09T19:27:46.880" v="209" actId="47"/>
        <pc:sldMkLst>
          <pc:docMk/>
          <pc:sldMk cId="3293842999" sldId="2147471502"/>
        </pc:sldMkLst>
      </pc:sldChg>
      <pc:sldChg chg="del">
        <pc:chgData name="John Paserba" userId="77bd6c8a-d0c1-4fea-8705-0169f65d0c0e" providerId="ADAL" clId="{1001C0DD-7E82-4F82-A846-3EE15D16FE9F}" dt="2025-11-09T19:27:46.478" v="208" actId="47"/>
        <pc:sldMkLst>
          <pc:docMk/>
          <pc:sldMk cId="1750250529" sldId="2147471504"/>
        </pc:sldMkLst>
      </pc:sldChg>
      <pc:sldChg chg="del">
        <pc:chgData name="John Paserba" userId="77bd6c8a-d0c1-4fea-8705-0169f65d0c0e" providerId="ADAL" clId="{1001C0DD-7E82-4F82-A846-3EE15D16FE9F}" dt="2025-11-09T19:27:29.304" v="197" actId="47"/>
        <pc:sldMkLst>
          <pc:docMk/>
          <pc:sldMk cId="1528537165" sldId="2147471545"/>
        </pc:sldMkLst>
      </pc:sldChg>
      <pc:sldChg chg="del">
        <pc:chgData name="John Paserba" userId="77bd6c8a-d0c1-4fea-8705-0169f65d0c0e" providerId="ADAL" clId="{1001C0DD-7E82-4F82-A846-3EE15D16FE9F}" dt="2025-11-09T19:28:02.165" v="213" actId="47"/>
        <pc:sldMkLst>
          <pc:docMk/>
          <pc:sldMk cId="2692168719" sldId="2147471548"/>
        </pc:sldMkLst>
      </pc:sldChg>
      <pc:sldChg chg="del">
        <pc:chgData name="John Paserba" userId="77bd6c8a-d0c1-4fea-8705-0169f65d0c0e" providerId="ADAL" clId="{1001C0DD-7E82-4F82-A846-3EE15D16FE9F}" dt="2025-11-09T19:27:09.098" v="162" actId="47"/>
        <pc:sldMkLst>
          <pc:docMk/>
          <pc:sldMk cId="599989515" sldId="2147471562"/>
        </pc:sldMkLst>
      </pc:sldChg>
      <pc:sldChg chg="del">
        <pc:chgData name="John Paserba" userId="77bd6c8a-d0c1-4fea-8705-0169f65d0c0e" providerId="ADAL" clId="{1001C0DD-7E82-4F82-A846-3EE15D16FE9F}" dt="2025-11-09T19:27:02.869" v="143" actId="47"/>
        <pc:sldMkLst>
          <pc:docMk/>
          <pc:sldMk cId="3848360745" sldId="2147471564"/>
        </pc:sldMkLst>
      </pc:sldChg>
      <pc:sldChg chg="del">
        <pc:chgData name="John Paserba" userId="77bd6c8a-d0c1-4fea-8705-0169f65d0c0e" providerId="ADAL" clId="{1001C0DD-7E82-4F82-A846-3EE15D16FE9F}" dt="2025-11-09T19:27:11.998" v="167" actId="47"/>
        <pc:sldMkLst>
          <pc:docMk/>
          <pc:sldMk cId="3459218475" sldId="2147471566"/>
        </pc:sldMkLst>
      </pc:sldChg>
      <pc:sldChg chg="del">
        <pc:chgData name="John Paserba" userId="77bd6c8a-d0c1-4fea-8705-0169f65d0c0e" providerId="ADAL" clId="{1001C0DD-7E82-4F82-A846-3EE15D16FE9F}" dt="2025-11-09T19:27:16.550" v="177" actId="47"/>
        <pc:sldMkLst>
          <pc:docMk/>
          <pc:sldMk cId="1850612918" sldId="2147471573"/>
        </pc:sldMkLst>
      </pc:sldChg>
      <pc:sldChg chg="del">
        <pc:chgData name="John Paserba" userId="77bd6c8a-d0c1-4fea-8705-0169f65d0c0e" providerId="ADAL" clId="{1001C0DD-7E82-4F82-A846-3EE15D16FE9F}" dt="2025-11-09T19:27:20.358" v="184" actId="47"/>
        <pc:sldMkLst>
          <pc:docMk/>
          <pc:sldMk cId="649508728" sldId="2147471574"/>
        </pc:sldMkLst>
      </pc:sldChg>
      <pc:sldChg chg="del">
        <pc:chgData name="John Paserba" userId="77bd6c8a-d0c1-4fea-8705-0169f65d0c0e" providerId="ADAL" clId="{1001C0DD-7E82-4F82-A846-3EE15D16FE9F}" dt="2025-11-09T19:54:43.293" v="904" actId="47"/>
        <pc:sldMkLst>
          <pc:docMk/>
          <pc:sldMk cId="3752514244" sldId="2147471613"/>
        </pc:sldMkLst>
      </pc:sldChg>
      <pc:sldChg chg="del">
        <pc:chgData name="John Paserba" userId="77bd6c8a-d0c1-4fea-8705-0169f65d0c0e" providerId="ADAL" clId="{1001C0DD-7E82-4F82-A846-3EE15D16FE9F}" dt="2025-11-09T19:27:02.230" v="141" actId="47"/>
        <pc:sldMkLst>
          <pc:docMk/>
          <pc:sldMk cId="2068436623" sldId="2147471665"/>
        </pc:sldMkLst>
      </pc:sldChg>
      <pc:sldChg chg="del">
        <pc:chgData name="John Paserba" userId="77bd6c8a-d0c1-4fea-8705-0169f65d0c0e" providerId="ADAL" clId="{1001C0DD-7E82-4F82-A846-3EE15D16FE9F}" dt="2025-11-09T19:27:28.238" v="195" actId="47"/>
        <pc:sldMkLst>
          <pc:docMk/>
          <pc:sldMk cId="2660546268" sldId="2147471669"/>
        </pc:sldMkLst>
      </pc:sldChg>
      <pc:sldChg chg="del">
        <pc:chgData name="John Paserba" userId="77bd6c8a-d0c1-4fea-8705-0169f65d0c0e" providerId="ADAL" clId="{1001C0DD-7E82-4F82-A846-3EE15D16FE9F}" dt="2025-11-09T19:26:32.486" v="117" actId="47"/>
        <pc:sldMkLst>
          <pc:docMk/>
          <pc:sldMk cId="3727219174" sldId="2147471683"/>
        </pc:sldMkLst>
      </pc:sldChg>
      <pc:sldChg chg="del">
        <pc:chgData name="John Paserba" userId="77bd6c8a-d0c1-4fea-8705-0169f65d0c0e" providerId="ADAL" clId="{1001C0DD-7E82-4F82-A846-3EE15D16FE9F}" dt="2025-11-09T19:26:32.829" v="118" actId="47"/>
        <pc:sldMkLst>
          <pc:docMk/>
          <pc:sldMk cId="333539668" sldId="2147471684"/>
        </pc:sldMkLst>
      </pc:sldChg>
      <pc:sldChg chg="del">
        <pc:chgData name="John Paserba" userId="77bd6c8a-d0c1-4fea-8705-0169f65d0c0e" providerId="ADAL" clId="{1001C0DD-7E82-4F82-A846-3EE15D16FE9F}" dt="2025-11-09T19:26:33.255" v="119" actId="47"/>
        <pc:sldMkLst>
          <pc:docMk/>
          <pc:sldMk cId="1741024592" sldId="2147471685"/>
        </pc:sldMkLst>
      </pc:sldChg>
      <pc:sldChg chg="del">
        <pc:chgData name="John Paserba" userId="77bd6c8a-d0c1-4fea-8705-0169f65d0c0e" providerId="ADAL" clId="{1001C0DD-7E82-4F82-A846-3EE15D16FE9F}" dt="2025-11-09T19:40:56.994" v="359" actId="47"/>
        <pc:sldMkLst>
          <pc:docMk/>
          <pc:sldMk cId="3394760255" sldId="2147471697"/>
        </pc:sldMkLst>
      </pc:sldChg>
      <pc:sldChg chg="del">
        <pc:chgData name="John Paserba" userId="77bd6c8a-d0c1-4fea-8705-0169f65d0c0e" providerId="ADAL" clId="{1001C0DD-7E82-4F82-A846-3EE15D16FE9F}" dt="2025-11-09T19:27:00.780" v="139" actId="47"/>
        <pc:sldMkLst>
          <pc:docMk/>
          <pc:sldMk cId="249611834" sldId="2147471698"/>
        </pc:sldMkLst>
      </pc:sldChg>
      <pc:sldChg chg="del">
        <pc:chgData name="John Paserba" userId="77bd6c8a-d0c1-4fea-8705-0169f65d0c0e" providerId="ADAL" clId="{1001C0DD-7E82-4F82-A846-3EE15D16FE9F}" dt="2025-11-09T19:40:56.994" v="359" actId="47"/>
        <pc:sldMkLst>
          <pc:docMk/>
          <pc:sldMk cId="2200909925" sldId="2147471699"/>
        </pc:sldMkLst>
      </pc:sldChg>
      <pc:sldChg chg="del">
        <pc:chgData name="John Paserba" userId="77bd6c8a-d0c1-4fea-8705-0169f65d0c0e" providerId="ADAL" clId="{1001C0DD-7E82-4F82-A846-3EE15D16FE9F}" dt="2025-11-09T19:40:56.994" v="359" actId="47"/>
        <pc:sldMkLst>
          <pc:docMk/>
          <pc:sldMk cId="1094543838" sldId="2147471700"/>
        </pc:sldMkLst>
      </pc:sldChg>
      <pc:sldChg chg="del">
        <pc:chgData name="John Paserba" userId="77bd6c8a-d0c1-4fea-8705-0169f65d0c0e" providerId="ADAL" clId="{1001C0DD-7E82-4F82-A846-3EE15D16FE9F}" dt="2025-11-09T19:40:56.994" v="359" actId="47"/>
        <pc:sldMkLst>
          <pc:docMk/>
          <pc:sldMk cId="1201248736" sldId="2147471701"/>
        </pc:sldMkLst>
      </pc:sldChg>
      <pc:sldChg chg="del">
        <pc:chgData name="John Paserba" userId="77bd6c8a-d0c1-4fea-8705-0169f65d0c0e" providerId="ADAL" clId="{1001C0DD-7E82-4F82-A846-3EE15D16FE9F}" dt="2025-11-09T19:40:56.994" v="359" actId="47"/>
        <pc:sldMkLst>
          <pc:docMk/>
          <pc:sldMk cId="456085429" sldId="2147471702"/>
        </pc:sldMkLst>
      </pc:sldChg>
      <pc:sldChg chg="del">
        <pc:chgData name="John Paserba" userId="77bd6c8a-d0c1-4fea-8705-0169f65d0c0e" providerId="ADAL" clId="{1001C0DD-7E82-4F82-A846-3EE15D16FE9F}" dt="2025-11-09T19:27:17.241" v="178" actId="47"/>
        <pc:sldMkLst>
          <pc:docMk/>
          <pc:sldMk cId="73387506" sldId="2147471703"/>
        </pc:sldMkLst>
      </pc:sldChg>
      <pc:sldChg chg="del">
        <pc:chgData name="John Paserba" userId="77bd6c8a-d0c1-4fea-8705-0169f65d0c0e" providerId="ADAL" clId="{1001C0DD-7E82-4F82-A846-3EE15D16FE9F}" dt="2025-11-09T19:40:56.994" v="359" actId="47"/>
        <pc:sldMkLst>
          <pc:docMk/>
          <pc:sldMk cId="2597162896" sldId="2147471704"/>
        </pc:sldMkLst>
      </pc:sldChg>
      <pc:sldChg chg="del">
        <pc:chgData name="John Paserba" userId="77bd6c8a-d0c1-4fea-8705-0169f65d0c0e" providerId="ADAL" clId="{1001C0DD-7E82-4F82-A846-3EE15D16FE9F}" dt="2025-11-09T19:27:24.655" v="191" actId="47"/>
        <pc:sldMkLst>
          <pc:docMk/>
          <pc:sldMk cId="3082573837" sldId="2147471705"/>
        </pc:sldMkLst>
      </pc:sldChg>
      <pc:sldChg chg="del">
        <pc:chgData name="John Paserba" userId="77bd6c8a-d0c1-4fea-8705-0169f65d0c0e" providerId="ADAL" clId="{1001C0DD-7E82-4F82-A846-3EE15D16FE9F}" dt="2025-11-09T19:27:10.460" v="165" actId="47"/>
        <pc:sldMkLst>
          <pc:docMk/>
          <pc:sldMk cId="2461146040" sldId="2147471706"/>
        </pc:sldMkLst>
      </pc:sldChg>
      <pc:sldChg chg="del">
        <pc:chgData name="John Paserba" userId="77bd6c8a-d0c1-4fea-8705-0169f65d0c0e" providerId="ADAL" clId="{1001C0DD-7E82-4F82-A846-3EE15D16FE9F}" dt="2025-11-09T19:27:09.584" v="163" actId="47"/>
        <pc:sldMkLst>
          <pc:docMk/>
          <pc:sldMk cId="4015560649" sldId="2147471707"/>
        </pc:sldMkLst>
      </pc:sldChg>
      <pc:sldChg chg="del">
        <pc:chgData name="John Paserba" userId="77bd6c8a-d0c1-4fea-8705-0169f65d0c0e" providerId="ADAL" clId="{1001C0DD-7E82-4F82-A846-3EE15D16FE9F}" dt="2025-11-09T19:27:03.416" v="145" actId="47"/>
        <pc:sldMkLst>
          <pc:docMk/>
          <pc:sldMk cId="2761295630" sldId="2147471708"/>
        </pc:sldMkLst>
      </pc:sldChg>
      <pc:sldChg chg="del">
        <pc:chgData name="John Paserba" userId="77bd6c8a-d0c1-4fea-8705-0169f65d0c0e" providerId="ADAL" clId="{1001C0DD-7E82-4F82-A846-3EE15D16FE9F}" dt="2025-11-09T19:27:24.964" v="192" actId="47"/>
        <pc:sldMkLst>
          <pc:docMk/>
          <pc:sldMk cId="3558142149" sldId="2147471710"/>
        </pc:sldMkLst>
      </pc:sldChg>
      <pc:sldChg chg="del">
        <pc:chgData name="John Paserba" userId="77bd6c8a-d0c1-4fea-8705-0169f65d0c0e" providerId="ADAL" clId="{1001C0DD-7E82-4F82-A846-3EE15D16FE9F}" dt="2025-11-09T19:27:03.124" v="144" actId="47"/>
        <pc:sldMkLst>
          <pc:docMk/>
          <pc:sldMk cId="1774082266" sldId="2147471711"/>
        </pc:sldMkLst>
      </pc:sldChg>
      <pc:sldChg chg="del">
        <pc:chgData name="John Paserba" userId="77bd6c8a-d0c1-4fea-8705-0169f65d0c0e" providerId="ADAL" clId="{1001C0DD-7E82-4F82-A846-3EE15D16FE9F}" dt="2025-11-09T19:27:04.976" v="150" actId="47"/>
        <pc:sldMkLst>
          <pc:docMk/>
          <pc:sldMk cId="163723928" sldId="2147471716"/>
        </pc:sldMkLst>
      </pc:sldChg>
      <pc:sldChg chg="del">
        <pc:chgData name="John Paserba" userId="77bd6c8a-d0c1-4fea-8705-0169f65d0c0e" providerId="ADAL" clId="{1001C0DD-7E82-4F82-A846-3EE15D16FE9F}" dt="2025-11-09T19:27:05.315" v="151" actId="47"/>
        <pc:sldMkLst>
          <pc:docMk/>
          <pc:sldMk cId="1350005158" sldId="2147471717"/>
        </pc:sldMkLst>
      </pc:sldChg>
      <pc:sldChg chg="del">
        <pc:chgData name="John Paserba" userId="77bd6c8a-d0c1-4fea-8705-0169f65d0c0e" providerId="ADAL" clId="{1001C0DD-7E82-4F82-A846-3EE15D16FE9F}" dt="2025-11-09T19:27:05.736" v="152" actId="47"/>
        <pc:sldMkLst>
          <pc:docMk/>
          <pc:sldMk cId="1577222491" sldId="2147471718"/>
        </pc:sldMkLst>
      </pc:sldChg>
      <pc:sldChg chg="del">
        <pc:chgData name="John Paserba" userId="77bd6c8a-d0c1-4fea-8705-0169f65d0c0e" providerId="ADAL" clId="{1001C0DD-7E82-4F82-A846-3EE15D16FE9F}" dt="2025-11-09T19:27:06.405" v="154" actId="47"/>
        <pc:sldMkLst>
          <pc:docMk/>
          <pc:sldMk cId="2502723964" sldId="2147471719"/>
        </pc:sldMkLst>
      </pc:sldChg>
      <pc:sldChg chg="del">
        <pc:chgData name="John Paserba" userId="77bd6c8a-d0c1-4fea-8705-0169f65d0c0e" providerId="ADAL" clId="{1001C0DD-7E82-4F82-A846-3EE15D16FE9F}" dt="2025-11-09T19:27:07.449" v="157" actId="47"/>
        <pc:sldMkLst>
          <pc:docMk/>
          <pc:sldMk cId="2371975685" sldId="2147471720"/>
        </pc:sldMkLst>
      </pc:sldChg>
      <pc:sldChg chg="del">
        <pc:chgData name="John Paserba" userId="77bd6c8a-d0c1-4fea-8705-0169f65d0c0e" providerId="ADAL" clId="{1001C0DD-7E82-4F82-A846-3EE15D16FE9F}" dt="2025-11-09T19:27:08.381" v="160" actId="47"/>
        <pc:sldMkLst>
          <pc:docMk/>
          <pc:sldMk cId="948326104" sldId="2147471721"/>
        </pc:sldMkLst>
      </pc:sldChg>
      <pc:sldChg chg="del">
        <pc:chgData name="John Paserba" userId="77bd6c8a-d0c1-4fea-8705-0169f65d0c0e" providerId="ADAL" clId="{1001C0DD-7E82-4F82-A846-3EE15D16FE9F}" dt="2025-11-09T19:27:06.742" v="155" actId="47"/>
        <pc:sldMkLst>
          <pc:docMk/>
          <pc:sldMk cId="3275081352" sldId="2147471723"/>
        </pc:sldMkLst>
      </pc:sldChg>
      <pc:sldChg chg="del">
        <pc:chgData name="John Paserba" userId="77bd6c8a-d0c1-4fea-8705-0169f65d0c0e" providerId="ADAL" clId="{1001C0DD-7E82-4F82-A846-3EE15D16FE9F}" dt="2025-11-09T19:27:28.792" v="196" actId="47"/>
        <pc:sldMkLst>
          <pc:docMk/>
          <pc:sldMk cId="1020101525" sldId="2147471724"/>
        </pc:sldMkLst>
      </pc:sldChg>
      <pc:sldChg chg="del">
        <pc:chgData name="John Paserba" userId="77bd6c8a-d0c1-4fea-8705-0169f65d0c0e" providerId="ADAL" clId="{1001C0DD-7E82-4F82-A846-3EE15D16FE9F}" dt="2025-11-09T19:27:42.199" v="201" actId="47"/>
        <pc:sldMkLst>
          <pc:docMk/>
          <pc:sldMk cId="2339610385" sldId="2147471725"/>
        </pc:sldMkLst>
      </pc:sldChg>
      <pc:sldChg chg="del">
        <pc:chgData name="John Paserba" userId="77bd6c8a-d0c1-4fea-8705-0169f65d0c0e" providerId="ADAL" clId="{1001C0DD-7E82-4F82-A846-3EE15D16FE9F}" dt="2025-11-09T19:26:58.949" v="136" actId="47"/>
        <pc:sldMkLst>
          <pc:docMk/>
          <pc:sldMk cId="717567624" sldId="2147471726"/>
        </pc:sldMkLst>
      </pc:sldChg>
      <pc:sldChg chg="del">
        <pc:chgData name="John Paserba" userId="77bd6c8a-d0c1-4fea-8705-0169f65d0c0e" providerId="ADAL" clId="{1001C0DD-7E82-4F82-A846-3EE15D16FE9F}" dt="2025-11-09T19:27:43.242" v="203" actId="47"/>
        <pc:sldMkLst>
          <pc:docMk/>
          <pc:sldMk cId="115478721" sldId="2147471727"/>
        </pc:sldMkLst>
      </pc:sldChg>
      <pc:sldChg chg="add del">
        <pc:chgData name="John Paserba" userId="77bd6c8a-d0c1-4fea-8705-0169f65d0c0e" providerId="ADAL" clId="{1001C0DD-7E82-4F82-A846-3EE15D16FE9F}" dt="2025-11-09T19:27:41.688" v="200" actId="47"/>
        <pc:sldMkLst>
          <pc:docMk/>
          <pc:sldMk cId="1154339187" sldId="2147471728"/>
        </pc:sldMkLst>
      </pc:sldChg>
      <pc:sldChg chg="del">
        <pc:chgData name="John Paserba" userId="77bd6c8a-d0c1-4fea-8705-0169f65d0c0e" providerId="ADAL" clId="{1001C0DD-7E82-4F82-A846-3EE15D16FE9F}" dt="2025-11-09T19:40:48.886" v="358" actId="47"/>
        <pc:sldMkLst>
          <pc:docMk/>
          <pc:sldMk cId="4056670772" sldId="2147471745"/>
        </pc:sldMkLst>
      </pc:sldChg>
      <pc:sldChg chg="del">
        <pc:chgData name="John Paserba" userId="77bd6c8a-d0c1-4fea-8705-0169f65d0c0e" providerId="ADAL" clId="{1001C0DD-7E82-4F82-A846-3EE15D16FE9F}" dt="2025-11-09T19:40:48.886" v="358" actId="47"/>
        <pc:sldMkLst>
          <pc:docMk/>
          <pc:sldMk cId="480462522" sldId="2147471748"/>
        </pc:sldMkLst>
      </pc:sldChg>
      <pc:sldChg chg="del">
        <pc:chgData name="John Paserba" userId="77bd6c8a-d0c1-4fea-8705-0169f65d0c0e" providerId="ADAL" clId="{1001C0DD-7E82-4F82-A846-3EE15D16FE9F}" dt="2025-11-09T19:40:48.886" v="358" actId="47"/>
        <pc:sldMkLst>
          <pc:docMk/>
          <pc:sldMk cId="3970052653" sldId="2147471750"/>
        </pc:sldMkLst>
      </pc:sldChg>
      <pc:sldChg chg="del">
        <pc:chgData name="John Paserba" userId="77bd6c8a-d0c1-4fea-8705-0169f65d0c0e" providerId="ADAL" clId="{1001C0DD-7E82-4F82-A846-3EE15D16FE9F}" dt="2025-11-09T19:40:48.886" v="358" actId="47"/>
        <pc:sldMkLst>
          <pc:docMk/>
          <pc:sldMk cId="64751876" sldId="2147471751"/>
        </pc:sldMkLst>
      </pc:sldChg>
      <pc:sldChg chg="del">
        <pc:chgData name="John Paserba" userId="77bd6c8a-d0c1-4fea-8705-0169f65d0c0e" providerId="ADAL" clId="{1001C0DD-7E82-4F82-A846-3EE15D16FE9F}" dt="2025-11-09T19:40:48.886" v="358" actId="47"/>
        <pc:sldMkLst>
          <pc:docMk/>
          <pc:sldMk cId="3331998248" sldId="2147471752"/>
        </pc:sldMkLst>
      </pc:sldChg>
      <pc:sldChg chg="del">
        <pc:chgData name="John Paserba" userId="77bd6c8a-d0c1-4fea-8705-0169f65d0c0e" providerId="ADAL" clId="{1001C0DD-7E82-4F82-A846-3EE15D16FE9F}" dt="2025-11-09T19:27:17.705" v="179" actId="47"/>
        <pc:sldMkLst>
          <pc:docMk/>
          <pc:sldMk cId="3576317580" sldId="2147471753"/>
        </pc:sldMkLst>
      </pc:sldChg>
      <pc:sldChg chg="del">
        <pc:chgData name="John Paserba" userId="77bd6c8a-d0c1-4fea-8705-0169f65d0c0e" providerId="ADAL" clId="{1001C0DD-7E82-4F82-A846-3EE15D16FE9F}" dt="2025-11-09T19:40:48.886" v="358" actId="47"/>
        <pc:sldMkLst>
          <pc:docMk/>
          <pc:sldMk cId="3978472136" sldId="2147471754"/>
        </pc:sldMkLst>
      </pc:sldChg>
      <pc:sldChg chg="del">
        <pc:chgData name="John Paserba" userId="77bd6c8a-d0c1-4fea-8705-0169f65d0c0e" providerId="ADAL" clId="{1001C0DD-7E82-4F82-A846-3EE15D16FE9F}" dt="2025-11-09T19:40:48.886" v="358" actId="47"/>
        <pc:sldMkLst>
          <pc:docMk/>
          <pc:sldMk cId="2473159994" sldId="2147471755"/>
        </pc:sldMkLst>
      </pc:sldChg>
      <pc:sldChg chg="del">
        <pc:chgData name="John Paserba" userId="77bd6c8a-d0c1-4fea-8705-0169f65d0c0e" providerId="ADAL" clId="{1001C0DD-7E82-4F82-A846-3EE15D16FE9F}" dt="2025-11-09T19:40:48.886" v="358" actId="47"/>
        <pc:sldMkLst>
          <pc:docMk/>
          <pc:sldMk cId="616450182" sldId="2147471759"/>
        </pc:sldMkLst>
      </pc:sldChg>
      <pc:sldChg chg="del">
        <pc:chgData name="John Paserba" userId="77bd6c8a-d0c1-4fea-8705-0169f65d0c0e" providerId="ADAL" clId="{1001C0DD-7E82-4F82-A846-3EE15D16FE9F}" dt="2025-11-09T19:27:18.757" v="181" actId="47"/>
        <pc:sldMkLst>
          <pc:docMk/>
          <pc:sldMk cId="1605903753" sldId="2147471761"/>
        </pc:sldMkLst>
      </pc:sldChg>
      <pc:sldChg chg="del">
        <pc:chgData name="John Paserba" userId="77bd6c8a-d0c1-4fea-8705-0169f65d0c0e" providerId="ADAL" clId="{1001C0DD-7E82-4F82-A846-3EE15D16FE9F}" dt="2025-11-09T19:27:18.270" v="180" actId="47"/>
        <pc:sldMkLst>
          <pc:docMk/>
          <pc:sldMk cId="2366930432" sldId="2147471762"/>
        </pc:sldMkLst>
      </pc:sldChg>
      <pc:sldChg chg="del">
        <pc:chgData name="John Paserba" userId="77bd6c8a-d0c1-4fea-8705-0169f65d0c0e" providerId="ADAL" clId="{1001C0DD-7E82-4F82-A846-3EE15D16FE9F}" dt="2025-11-09T19:26:39.898" v="125" actId="47"/>
        <pc:sldMkLst>
          <pc:docMk/>
          <pc:sldMk cId="1405700643" sldId="2147471764"/>
        </pc:sldMkLst>
      </pc:sldChg>
      <pc:sldChg chg="del">
        <pc:chgData name="John Paserba" userId="77bd6c8a-d0c1-4fea-8705-0169f65d0c0e" providerId="ADAL" clId="{1001C0DD-7E82-4F82-A846-3EE15D16FE9F}" dt="2025-11-09T19:40:48.886" v="358" actId="47"/>
        <pc:sldMkLst>
          <pc:docMk/>
          <pc:sldMk cId="1268152744" sldId="2147471765"/>
        </pc:sldMkLst>
      </pc:sldChg>
      <pc:sldChg chg="del">
        <pc:chgData name="John Paserba" userId="77bd6c8a-d0c1-4fea-8705-0169f65d0c0e" providerId="ADAL" clId="{1001C0DD-7E82-4F82-A846-3EE15D16FE9F}" dt="2025-11-09T19:40:48.886" v="358" actId="47"/>
        <pc:sldMkLst>
          <pc:docMk/>
          <pc:sldMk cId="1401808193" sldId="2147471766"/>
        </pc:sldMkLst>
      </pc:sldChg>
      <pc:sldChg chg="del">
        <pc:chgData name="John Paserba" userId="77bd6c8a-d0c1-4fea-8705-0169f65d0c0e" providerId="ADAL" clId="{1001C0DD-7E82-4F82-A846-3EE15D16FE9F}" dt="2025-11-09T19:27:21.376" v="186" actId="47"/>
        <pc:sldMkLst>
          <pc:docMk/>
          <pc:sldMk cId="519710030" sldId="2147471768"/>
        </pc:sldMkLst>
      </pc:sldChg>
      <pc:sldChg chg="del">
        <pc:chgData name="John Paserba" userId="77bd6c8a-d0c1-4fea-8705-0169f65d0c0e" providerId="ADAL" clId="{1001C0DD-7E82-4F82-A846-3EE15D16FE9F}" dt="2025-11-09T19:27:21.932" v="187" actId="47"/>
        <pc:sldMkLst>
          <pc:docMk/>
          <pc:sldMk cId="1363215793" sldId="2147471770"/>
        </pc:sldMkLst>
      </pc:sldChg>
      <pc:sldChg chg="del">
        <pc:chgData name="John Paserba" userId="77bd6c8a-d0c1-4fea-8705-0169f65d0c0e" providerId="ADAL" clId="{1001C0DD-7E82-4F82-A846-3EE15D16FE9F}" dt="2025-11-09T19:40:48.886" v="358" actId="47"/>
        <pc:sldMkLst>
          <pc:docMk/>
          <pc:sldMk cId="2468640254" sldId="2147471773"/>
        </pc:sldMkLst>
      </pc:sldChg>
      <pc:sldChg chg="del">
        <pc:chgData name="John Paserba" userId="77bd6c8a-d0c1-4fea-8705-0169f65d0c0e" providerId="ADAL" clId="{1001C0DD-7E82-4F82-A846-3EE15D16FE9F}" dt="2025-11-09T19:27:22.479" v="188" actId="47"/>
        <pc:sldMkLst>
          <pc:docMk/>
          <pc:sldMk cId="706584097" sldId="2147471774"/>
        </pc:sldMkLst>
      </pc:sldChg>
      <pc:sldChg chg="del">
        <pc:chgData name="John Paserba" userId="77bd6c8a-d0c1-4fea-8705-0169f65d0c0e" providerId="ADAL" clId="{1001C0DD-7E82-4F82-A846-3EE15D16FE9F}" dt="2025-11-09T19:27:20.792" v="185" actId="47"/>
        <pc:sldMkLst>
          <pc:docMk/>
          <pc:sldMk cId="3818620073" sldId="2147471776"/>
        </pc:sldMkLst>
      </pc:sldChg>
      <pc:sldChg chg="del">
        <pc:chgData name="John Paserba" userId="77bd6c8a-d0c1-4fea-8705-0169f65d0c0e" providerId="ADAL" clId="{1001C0DD-7E82-4F82-A846-3EE15D16FE9F}" dt="2025-11-09T19:40:48.886" v="358" actId="47"/>
        <pc:sldMkLst>
          <pc:docMk/>
          <pc:sldMk cId="694031996" sldId="2147471777"/>
        </pc:sldMkLst>
      </pc:sldChg>
      <pc:sldChg chg="del">
        <pc:chgData name="John Paserba" userId="77bd6c8a-d0c1-4fea-8705-0169f65d0c0e" providerId="ADAL" clId="{1001C0DD-7E82-4F82-A846-3EE15D16FE9F}" dt="2025-11-09T19:40:48.886" v="358" actId="47"/>
        <pc:sldMkLst>
          <pc:docMk/>
          <pc:sldMk cId="4230604041" sldId="2147471778"/>
        </pc:sldMkLst>
      </pc:sldChg>
      <pc:sldChg chg="addSp delSp modSp add del mod ord">
        <pc:chgData name="John Paserba" userId="77bd6c8a-d0c1-4fea-8705-0169f65d0c0e" providerId="ADAL" clId="{1001C0DD-7E82-4F82-A846-3EE15D16FE9F}" dt="2025-11-09T19:21:41.702" v="95"/>
        <pc:sldMkLst>
          <pc:docMk/>
          <pc:sldMk cId="1858141502" sldId="2147471781"/>
        </pc:sldMkLst>
        <pc:spChg chg="mod">
          <ac:chgData name="John Paserba" userId="77bd6c8a-d0c1-4fea-8705-0169f65d0c0e" providerId="ADAL" clId="{1001C0DD-7E82-4F82-A846-3EE15D16FE9F}" dt="2025-11-09T19:19:08.835" v="92" actId="20577"/>
          <ac:spMkLst>
            <pc:docMk/>
            <pc:sldMk cId="1858141502" sldId="2147471781"/>
            <ac:spMk id="3328002" creationId="{00000000-0000-0000-0000-000000000000}"/>
          </ac:spMkLst>
        </pc:spChg>
        <pc:picChg chg="del mod">
          <ac:chgData name="John Paserba" userId="77bd6c8a-d0c1-4fea-8705-0169f65d0c0e" providerId="ADAL" clId="{1001C0DD-7E82-4F82-A846-3EE15D16FE9F}" dt="2025-11-09T18:58:02.367" v="56" actId="478"/>
          <ac:picMkLst>
            <pc:docMk/>
            <pc:sldMk cId="1858141502" sldId="2147471781"/>
            <ac:picMk id="2" creationId="{D068D3EE-D6C8-43E3-AEE3-F28E1018CA36}"/>
          </ac:picMkLst>
        </pc:picChg>
        <pc:picChg chg="add">
          <ac:chgData name="John Paserba" userId="77bd6c8a-d0c1-4fea-8705-0169f65d0c0e" providerId="ADAL" clId="{1001C0DD-7E82-4F82-A846-3EE15D16FE9F}" dt="2025-11-09T19:18:43.402" v="64" actId="22"/>
          <ac:picMkLst>
            <pc:docMk/>
            <pc:sldMk cId="1858141502" sldId="2147471781"/>
            <ac:picMk id="12" creationId="{7A470574-EE0E-4398-AA21-CD94D783FCFC}"/>
          </ac:picMkLst>
        </pc:picChg>
      </pc:sldChg>
      <pc:sldChg chg="del">
        <pc:chgData name="John Paserba" userId="77bd6c8a-d0c1-4fea-8705-0169f65d0c0e" providerId="ADAL" clId="{1001C0DD-7E82-4F82-A846-3EE15D16FE9F}" dt="2025-11-09T19:26:30.854" v="114" actId="47"/>
        <pc:sldMkLst>
          <pc:docMk/>
          <pc:sldMk cId="3517840741" sldId="2147471782"/>
        </pc:sldMkLst>
      </pc:sldChg>
      <pc:sldChg chg="add del">
        <pc:chgData name="John Paserba" userId="77bd6c8a-d0c1-4fea-8705-0169f65d0c0e" providerId="ADAL" clId="{1001C0DD-7E82-4F82-A846-3EE15D16FE9F}" dt="2025-11-09T19:26:52.601" v="133" actId="47"/>
        <pc:sldMkLst>
          <pc:docMk/>
          <pc:sldMk cId="2418141605" sldId="2147471784"/>
        </pc:sldMkLst>
      </pc:sldChg>
      <pc:sldChg chg="del">
        <pc:chgData name="John Paserba" userId="77bd6c8a-d0c1-4fea-8705-0169f65d0c0e" providerId="ADAL" clId="{1001C0DD-7E82-4F82-A846-3EE15D16FE9F}" dt="2025-11-09T19:26:34.111" v="120" actId="47"/>
        <pc:sldMkLst>
          <pc:docMk/>
          <pc:sldMk cId="223166733" sldId="2147471785"/>
        </pc:sldMkLst>
      </pc:sldChg>
      <pc:sldChg chg="del">
        <pc:chgData name="John Paserba" userId="77bd6c8a-d0c1-4fea-8705-0169f65d0c0e" providerId="ADAL" clId="{1001C0DD-7E82-4F82-A846-3EE15D16FE9F}" dt="2025-11-09T19:27:15.546" v="174" actId="47"/>
        <pc:sldMkLst>
          <pc:docMk/>
          <pc:sldMk cId="2920915659" sldId="2147471786"/>
        </pc:sldMkLst>
      </pc:sldChg>
      <pc:sldChg chg="del">
        <pc:chgData name="John Paserba" userId="77bd6c8a-d0c1-4fea-8705-0169f65d0c0e" providerId="ADAL" clId="{1001C0DD-7E82-4F82-A846-3EE15D16FE9F}" dt="2025-11-09T19:27:19.402" v="182" actId="47"/>
        <pc:sldMkLst>
          <pc:docMk/>
          <pc:sldMk cId="506027128" sldId="2147471787"/>
        </pc:sldMkLst>
      </pc:sldChg>
      <pc:sldChg chg="del">
        <pc:chgData name="John Paserba" userId="77bd6c8a-d0c1-4fea-8705-0169f65d0c0e" providerId="ADAL" clId="{1001C0DD-7E82-4F82-A846-3EE15D16FE9F}" dt="2025-11-09T19:26:32.147" v="116" actId="47"/>
        <pc:sldMkLst>
          <pc:docMk/>
          <pc:sldMk cId="3524733822" sldId="2147471790"/>
        </pc:sldMkLst>
      </pc:sldChg>
      <pc:sldChg chg="del">
        <pc:chgData name="John Paserba" userId="77bd6c8a-d0c1-4fea-8705-0169f65d0c0e" providerId="ADAL" clId="{1001C0DD-7E82-4F82-A846-3EE15D16FE9F}" dt="2025-11-09T19:26:35.169" v="121" actId="47"/>
        <pc:sldMkLst>
          <pc:docMk/>
          <pc:sldMk cId="1003790712" sldId="2147471796"/>
        </pc:sldMkLst>
      </pc:sldChg>
      <pc:sldChg chg="addSp delSp modSp del mod">
        <pc:chgData name="John Paserba" userId="77bd6c8a-d0c1-4fea-8705-0169f65d0c0e" providerId="ADAL" clId="{1001C0DD-7E82-4F82-A846-3EE15D16FE9F}" dt="2025-11-09T19:42:53.789" v="411"/>
        <pc:sldMkLst>
          <pc:docMk/>
          <pc:sldMk cId="1723101996" sldId="2147471797"/>
        </pc:sldMkLst>
        <pc:spChg chg="add del mod">
          <ac:chgData name="John Paserba" userId="77bd6c8a-d0c1-4fea-8705-0169f65d0c0e" providerId="ADAL" clId="{1001C0DD-7E82-4F82-A846-3EE15D16FE9F}" dt="2025-11-09T19:42:53.521" v="410" actId="478"/>
          <ac:spMkLst>
            <pc:docMk/>
            <pc:sldMk cId="1723101996" sldId="2147471797"/>
            <ac:spMk id="12" creationId="{6B5F54FE-6B82-4AF7-900C-70268CAE7245}"/>
          </ac:spMkLst>
        </pc:spChg>
        <pc:spChg chg="add mod">
          <ac:chgData name="John Paserba" userId="77bd6c8a-d0c1-4fea-8705-0169f65d0c0e" providerId="ADAL" clId="{1001C0DD-7E82-4F82-A846-3EE15D16FE9F}" dt="2025-11-09T19:42:53.789" v="411"/>
          <ac:spMkLst>
            <pc:docMk/>
            <pc:sldMk cId="1723101996" sldId="2147471797"/>
            <ac:spMk id="13" creationId="{CBC7F356-A1EC-45D7-AE3B-6D380C7DCF30}"/>
          </ac:spMkLst>
        </pc:spChg>
      </pc:sldChg>
      <pc:sldChg chg="addSp modSp del mod">
        <pc:chgData name="John Paserba" userId="77bd6c8a-d0c1-4fea-8705-0169f65d0c0e" providerId="ADAL" clId="{1001C0DD-7E82-4F82-A846-3EE15D16FE9F}" dt="2025-11-09T19:42:46.937" v="409" actId="255"/>
        <pc:sldMkLst>
          <pc:docMk/>
          <pc:sldMk cId="1583859310" sldId="2147471798"/>
        </pc:sldMkLst>
        <pc:spChg chg="add mod">
          <ac:chgData name="John Paserba" userId="77bd6c8a-d0c1-4fea-8705-0169f65d0c0e" providerId="ADAL" clId="{1001C0DD-7E82-4F82-A846-3EE15D16FE9F}" dt="2025-11-09T19:42:46.937" v="409" actId="255"/>
          <ac:spMkLst>
            <pc:docMk/>
            <pc:sldMk cId="1583859310" sldId="2147471798"/>
            <ac:spMk id="12" creationId="{347DFE4B-7EFB-40D0-BB97-7145703A4E64}"/>
          </ac:spMkLst>
        </pc:spChg>
      </pc:sldChg>
      <pc:sldChg chg="add del">
        <pc:chgData name="John Paserba" userId="77bd6c8a-d0c1-4fea-8705-0169f65d0c0e" providerId="ADAL" clId="{1001C0DD-7E82-4F82-A846-3EE15D16FE9F}" dt="2025-11-09T19:26:58.272" v="135" actId="47"/>
        <pc:sldMkLst>
          <pc:docMk/>
          <pc:sldMk cId="1100047433" sldId="2147471802"/>
        </pc:sldMkLst>
      </pc:sldChg>
      <pc:sldChg chg="del">
        <pc:chgData name="John Paserba" userId="77bd6c8a-d0c1-4fea-8705-0169f65d0c0e" providerId="ADAL" clId="{1001C0DD-7E82-4F82-A846-3EE15D16FE9F}" dt="2025-11-09T19:28:02.165" v="213" actId="47"/>
        <pc:sldMkLst>
          <pc:docMk/>
          <pc:sldMk cId="3043239507" sldId="2147471803"/>
        </pc:sldMkLst>
      </pc:sldChg>
      <pc:sldChg chg="del">
        <pc:chgData name="John Paserba" userId="77bd6c8a-d0c1-4fea-8705-0169f65d0c0e" providerId="ADAL" clId="{1001C0DD-7E82-4F82-A846-3EE15D16FE9F}" dt="2025-11-09T19:28:02.165" v="213" actId="47"/>
        <pc:sldMkLst>
          <pc:docMk/>
          <pc:sldMk cId="3891239705" sldId="2147471804"/>
        </pc:sldMkLst>
      </pc:sldChg>
      <pc:sldChg chg="del">
        <pc:chgData name="John Paserba" userId="77bd6c8a-d0c1-4fea-8705-0169f65d0c0e" providerId="ADAL" clId="{1001C0DD-7E82-4F82-A846-3EE15D16FE9F}" dt="2025-11-09T19:28:02.165" v="213" actId="47"/>
        <pc:sldMkLst>
          <pc:docMk/>
          <pc:sldMk cId="4089811063" sldId="2147471805"/>
        </pc:sldMkLst>
      </pc:sldChg>
      <pc:sldChg chg="del">
        <pc:chgData name="John Paserba" userId="77bd6c8a-d0c1-4fea-8705-0169f65d0c0e" providerId="ADAL" clId="{1001C0DD-7E82-4F82-A846-3EE15D16FE9F}" dt="2025-11-09T19:27:01.896" v="140" actId="47"/>
        <pc:sldMkLst>
          <pc:docMk/>
          <pc:sldMk cId="2711581301" sldId="2147471812"/>
        </pc:sldMkLst>
      </pc:sldChg>
      <pc:sldChg chg="del">
        <pc:chgData name="John Paserba" userId="77bd6c8a-d0c1-4fea-8705-0169f65d0c0e" providerId="ADAL" clId="{1001C0DD-7E82-4F82-A846-3EE15D16FE9F}" dt="2025-11-09T19:27:12.726" v="168" actId="47"/>
        <pc:sldMkLst>
          <pc:docMk/>
          <pc:sldMk cId="2169690140" sldId="2147471813"/>
        </pc:sldMkLst>
      </pc:sldChg>
      <pc:sldChg chg="del">
        <pc:chgData name="John Paserba" userId="77bd6c8a-d0c1-4fea-8705-0169f65d0c0e" providerId="ADAL" clId="{1001C0DD-7E82-4F82-A846-3EE15D16FE9F}" dt="2025-11-09T19:27:13.315" v="169" actId="47"/>
        <pc:sldMkLst>
          <pc:docMk/>
          <pc:sldMk cId="3355548159" sldId="2147471814"/>
        </pc:sldMkLst>
      </pc:sldChg>
      <pc:sldChg chg="del">
        <pc:chgData name="John Paserba" userId="77bd6c8a-d0c1-4fea-8705-0169f65d0c0e" providerId="ADAL" clId="{1001C0DD-7E82-4F82-A846-3EE15D16FE9F}" dt="2025-11-09T19:27:13.652" v="170" actId="47"/>
        <pc:sldMkLst>
          <pc:docMk/>
          <pc:sldMk cId="1601724199" sldId="2147471815"/>
        </pc:sldMkLst>
      </pc:sldChg>
      <pc:sldChg chg="del">
        <pc:chgData name="John Paserba" userId="77bd6c8a-d0c1-4fea-8705-0169f65d0c0e" providerId="ADAL" clId="{1001C0DD-7E82-4F82-A846-3EE15D16FE9F}" dt="2025-11-09T19:27:14.405" v="172" actId="47"/>
        <pc:sldMkLst>
          <pc:docMk/>
          <pc:sldMk cId="2611446155" sldId="2147471816"/>
        </pc:sldMkLst>
      </pc:sldChg>
      <pc:sldChg chg="del">
        <pc:chgData name="John Paserba" userId="77bd6c8a-d0c1-4fea-8705-0169f65d0c0e" providerId="ADAL" clId="{1001C0DD-7E82-4F82-A846-3EE15D16FE9F}" dt="2025-11-09T19:27:15.153" v="173" actId="47"/>
        <pc:sldMkLst>
          <pc:docMk/>
          <pc:sldMk cId="1330365994" sldId="2147471817"/>
        </pc:sldMkLst>
      </pc:sldChg>
      <pc:sldChg chg="del">
        <pc:chgData name="John Paserba" userId="77bd6c8a-d0c1-4fea-8705-0169f65d0c0e" providerId="ADAL" clId="{1001C0DD-7E82-4F82-A846-3EE15D16FE9F}" dt="2025-11-09T19:27:19.864" v="183" actId="47"/>
        <pc:sldMkLst>
          <pc:docMk/>
          <pc:sldMk cId="2218686594" sldId="2147471818"/>
        </pc:sldMkLst>
      </pc:sldChg>
      <pc:sldChg chg="del">
        <pc:chgData name="John Paserba" userId="77bd6c8a-d0c1-4fea-8705-0169f65d0c0e" providerId="ADAL" clId="{1001C0DD-7E82-4F82-A846-3EE15D16FE9F}" dt="2025-11-09T19:27:44.275" v="204" actId="47"/>
        <pc:sldMkLst>
          <pc:docMk/>
          <pc:sldMk cId="416361200" sldId="2147471819"/>
        </pc:sldMkLst>
      </pc:sldChg>
      <pc:sldChg chg="del">
        <pc:chgData name="John Paserba" userId="77bd6c8a-d0c1-4fea-8705-0169f65d0c0e" providerId="ADAL" clId="{1001C0DD-7E82-4F82-A846-3EE15D16FE9F}" dt="2025-11-09T19:27:48.626" v="212" actId="47"/>
        <pc:sldMkLst>
          <pc:docMk/>
          <pc:sldMk cId="192874948" sldId="2147471820"/>
        </pc:sldMkLst>
      </pc:sldChg>
      <pc:sldChg chg="del">
        <pc:chgData name="John Paserba" userId="77bd6c8a-d0c1-4fea-8705-0169f65d0c0e" providerId="ADAL" clId="{1001C0DD-7E82-4F82-A846-3EE15D16FE9F}" dt="2025-11-09T19:27:25.287" v="193" actId="47"/>
        <pc:sldMkLst>
          <pc:docMk/>
          <pc:sldMk cId="2377864020" sldId="2147471821"/>
        </pc:sldMkLst>
      </pc:sldChg>
      <pc:sldChg chg="del">
        <pc:chgData name="John Paserba" userId="77bd6c8a-d0c1-4fea-8705-0169f65d0c0e" providerId="ADAL" clId="{1001C0DD-7E82-4F82-A846-3EE15D16FE9F}" dt="2025-11-09T19:27:42.682" v="202" actId="47"/>
        <pc:sldMkLst>
          <pc:docMk/>
          <pc:sldMk cId="3105101276" sldId="2147471822"/>
        </pc:sldMkLst>
      </pc:sldChg>
      <pc:sldChg chg="del">
        <pc:chgData name="John Paserba" userId="77bd6c8a-d0c1-4fea-8705-0169f65d0c0e" providerId="ADAL" clId="{1001C0DD-7E82-4F82-A846-3EE15D16FE9F}" dt="2025-11-09T19:40:28.877" v="356" actId="47"/>
        <pc:sldMkLst>
          <pc:docMk/>
          <pc:sldMk cId="3743190439" sldId="2147471823"/>
        </pc:sldMkLst>
      </pc:sldChg>
      <pc:sldChg chg="del">
        <pc:chgData name="John Paserba" userId="77bd6c8a-d0c1-4fea-8705-0169f65d0c0e" providerId="ADAL" clId="{1001C0DD-7E82-4F82-A846-3EE15D16FE9F}" dt="2025-11-09T19:40:35.362" v="357" actId="47"/>
        <pc:sldMkLst>
          <pc:docMk/>
          <pc:sldMk cId="3022454174" sldId="2147471824"/>
        </pc:sldMkLst>
      </pc:sldChg>
      <pc:sldChg chg="del">
        <pc:chgData name="John Paserba" userId="77bd6c8a-d0c1-4fea-8705-0169f65d0c0e" providerId="ADAL" clId="{1001C0DD-7E82-4F82-A846-3EE15D16FE9F}" dt="2025-11-09T19:40:35.362" v="357" actId="47"/>
        <pc:sldMkLst>
          <pc:docMk/>
          <pc:sldMk cId="1146039287" sldId="2147471825"/>
        </pc:sldMkLst>
      </pc:sldChg>
      <pc:sldChg chg="del">
        <pc:chgData name="John Paserba" userId="77bd6c8a-d0c1-4fea-8705-0169f65d0c0e" providerId="ADAL" clId="{1001C0DD-7E82-4F82-A846-3EE15D16FE9F}" dt="2025-11-09T19:40:35.362" v="357" actId="47"/>
        <pc:sldMkLst>
          <pc:docMk/>
          <pc:sldMk cId="2526490395" sldId="2147471826"/>
        </pc:sldMkLst>
      </pc:sldChg>
      <pc:sldChg chg="del">
        <pc:chgData name="John Paserba" userId="77bd6c8a-d0c1-4fea-8705-0169f65d0c0e" providerId="ADAL" clId="{1001C0DD-7E82-4F82-A846-3EE15D16FE9F}" dt="2025-11-09T19:40:35.362" v="357" actId="47"/>
        <pc:sldMkLst>
          <pc:docMk/>
          <pc:sldMk cId="3423941778" sldId="2147471827"/>
        </pc:sldMkLst>
      </pc:sldChg>
      <pc:sldChg chg="del">
        <pc:chgData name="John Paserba" userId="77bd6c8a-d0c1-4fea-8705-0169f65d0c0e" providerId="ADAL" clId="{1001C0DD-7E82-4F82-A846-3EE15D16FE9F}" dt="2025-11-09T19:40:35.362" v="357" actId="47"/>
        <pc:sldMkLst>
          <pc:docMk/>
          <pc:sldMk cId="500186506" sldId="2147471828"/>
        </pc:sldMkLst>
      </pc:sldChg>
      <pc:sldChg chg="add del">
        <pc:chgData name="John Paserba" userId="77bd6c8a-d0c1-4fea-8705-0169f65d0c0e" providerId="ADAL" clId="{1001C0DD-7E82-4F82-A846-3EE15D16FE9F}" dt="2025-11-09T19:26:57.546" v="134" actId="47"/>
        <pc:sldMkLst>
          <pc:docMk/>
          <pc:sldMk cId="4015630486" sldId="2147471840"/>
        </pc:sldMkLst>
      </pc:sldChg>
      <pc:sldChg chg="del">
        <pc:chgData name="John Paserba" userId="77bd6c8a-d0c1-4fea-8705-0169f65d0c0e" providerId="ADAL" clId="{1001C0DD-7E82-4F82-A846-3EE15D16FE9F}" dt="2025-11-09T19:40:15.090" v="354" actId="47"/>
        <pc:sldMkLst>
          <pc:docMk/>
          <pc:sldMk cId="3887683762" sldId="2147471842"/>
        </pc:sldMkLst>
      </pc:sldChg>
      <pc:sldChg chg="del">
        <pc:chgData name="John Paserba" userId="77bd6c8a-d0c1-4fea-8705-0169f65d0c0e" providerId="ADAL" clId="{1001C0DD-7E82-4F82-A846-3EE15D16FE9F}" dt="2025-11-09T19:40:35.362" v="357" actId="47"/>
        <pc:sldMkLst>
          <pc:docMk/>
          <pc:sldMk cId="503563062" sldId="2147471846"/>
        </pc:sldMkLst>
      </pc:sldChg>
      <pc:sldChg chg="del">
        <pc:chgData name="John Paserba" userId="77bd6c8a-d0c1-4fea-8705-0169f65d0c0e" providerId="ADAL" clId="{1001C0DD-7E82-4F82-A846-3EE15D16FE9F}" dt="2025-11-09T19:28:05.316" v="214" actId="47"/>
        <pc:sldMkLst>
          <pc:docMk/>
          <pc:sldMk cId="795209985" sldId="2147471850"/>
        </pc:sldMkLst>
      </pc:sldChg>
      <pc:sldChg chg="del">
        <pc:chgData name="John Paserba" userId="77bd6c8a-d0c1-4fea-8705-0169f65d0c0e" providerId="ADAL" clId="{1001C0DD-7E82-4F82-A846-3EE15D16FE9F}" dt="2025-11-09T19:28:05.316" v="214" actId="47"/>
        <pc:sldMkLst>
          <pc:docMk/>
          <pc:sldMk cId="1707099215" sldId="2147471852"/>
        </pc:sldMkLst>
      </pc:sldChg>
      <pc:sldChg chg="del">
        <pc:chgData name="John Paserba" userId="77bd6c8a-d0c1-4fea-8705-0169f65d0c0e" providerId="ADAL" clId="{1001C0DD-7E82-4F82-A846-3EE15D16FE9F}" dt="2025-11-09T19:28:02.165" v="213" actId="47"/>
        <pc:sldMkLst>
          <pc:docMk/>
          <pc:sldMk cId="2809262590" sldId="2147471854"/>
        </pc:sldMkLst>
      </pc:sldChg>
      <pc:sldChg chg="del">
        <pc:chgData name="John Paserba" userId="77bd6c8a-d0c1-4fea-8705-0169f65d0c0e" providerId="ADAL" clId="{1001C0DD-7E82-4F82-A846-3EE15D16FE9F}" dt="2025-11-09T19:27:15.856" v="175" actId="47"/>
        <pc:sldMkLst>
          <pc:docMk/>
          <pc:sldMk cId="2509368989" sldId="2147471855"/>
        </pc:sldMkLst>
      </pc:sldChg>
      <pc:sldChg chg="del">
        <pc:chgData name="John Paserba" userId="77bd6c8a-d0c1-4fea-8705-0169f65d0c0e" providerId="ADAL" clId="{1001C0DD-7E82-4F82-A846-3EE15D16FE9F}" dt="2025-11-09T19:40:48.886" v="358" actId="47"/>
        <pc:sldMkLst>
          <pc:docMk/>
          <pc:sldMk cId="1889566764" sldId="2147471856"/>
        </pc:sldMkLst>
      </pc:sldChg>
      <pc:sldChg chg="del">
        <pc:chgData name="John Paserba" userId="77bd6c8a-d0c1-4fea-8705-0169f65d0c0e" providerId="ADAL" clId="{1001C0DD-7E82-4F82-A846-3EE15D16FE9F}" dt="2025-11-09T19:27:22.976" v="189" actId="47"/>
        <pc:sldMkLst>
          <pc:docMk/>
          <pc:sldMk cId="317826799" sldId="2147471857"/>
        </pc:sldMkLst>
      </pc:sldChg>
      <pc:sldChg chg="del">
        <pc:chgData name="John Paserba" userId="77bd6c8a-d0c1-4fea-8705-0169f65d0c0e" providerId="ADAL" clId="{1001C0DD-7E82-4F82-A846-3EE15D16FE9F}" dt="2025-11-09T19:27:23.364" v="190" actId="47"/>
        <pc:sldMkLst>
          <pc:docMk/>
          <pc:sldMk cId="3513153426" sldId="2147471858"/>
        </pc:sldMkLst>
      </pc:sldChg>
      <pc:sldChg chg="del">
        <pc:chgData name="John Paserba" userId="77bd6c8a-d0c1-4fea-8705-0169f65d0c0e" providerId="ADAL" clId="{1001C0DD-7E82-4F82-A846-3EE15D16FE9F}" dt="2025-11-09T19:40:48.886" v="358" actId="47"/>
        <pc:sldMkLst>
          <pc:docMk/>
          <pc:sldMk cId="317147282" sldId="2147471859"/>
        </pc:sldMkLst>
      </pc:sldChg>
      <pc:sldChg chg="del">
        <pc:chgData name="John Paserba" userId="77bd6c8a-d0c1-4fea-8705-0169f65d0c0e" providerId="ADAL" clId="{1001C0DD-7E82-4F82-A846-3EE15D16FE9F}" dt="2025-11-09T19:40:48.886" v="358" actId="47"/>
        <pc:sldMkLst>
          <pc:docMk/>
          <pc:sldMk cId="89947543" sldId="2147471860"/>
        </pc:sldMkLst>
      </pc:sldChg>
      <pc:sldChg chg="del">
        <pc:chgData name="John Paserba" userId="77bd6c8a-d0c1-4fea-8705-0169f65d0c0e" providerId="ADAL" clId="{1001C0DD-7E82-4F82-A846-3EE15D16FE9F}" dt="2025-11-09T19:40:48.886" v="358" actId="47"/>
        <pc:sldMkLst>
          <pc:docMk/>
          <pc:sldMk cId="846043046" sldId="2147471861"/>
        </pc:sldMkLst>
      </pc:sldChg>
      <pc:sldChg chg="del">
        <pc:chgData name="John Paserba" userId="77bd6c8a-d0c1-4fea-8705-0169f65d0c0e" providerId="ADAL" clId="{1001C0DD-7E82-4F82-A846-3EE15D16FE9F}" dt="2025-11-09T19:40:48.886" v="358" actId="47"/>
        <pc:sldMkLst>
          <pc:docMk/>
          <pc:sldMk cId="358134025" sldId="2147471862"/>
        </pc:sldMkLst>
      </pc:sldChg>
      <pc:sldChg chg="del">
        <pc:chgData name="John Paserba" userId="77bd6c8a-d0c1-4fea-8705-0169f65d0c0e" providerId="ADAL" clId="{1001C0DD-7E82-4F82-A846-3EE15D16FE9F}" dt="2025-11-09T19:40:48.886" v="358" actId="47"/>
        <pc:sldMkLst>
          <pc:docMk/>
          <pc:sldMk cId="700796200" sldId="2147471863"/>
        </pc:sldMkLst>
      </pc:sldChg>
      <pc:sldChg chg="del">
        <pc:chgData name="John Paserba" userId="77bd6c8a-d0c1-4fea-8705-0169f65d0c0e" providerId="ADAL" clId="{1001C0DD-7E82-4F82-A846-3EE15D16FE9F}" dt="2025-11-09T19:40:48.886" v="358" actId="47"/>
        <pc:sldMkLst>
          <pc:docMk/>
          <pc:sldMk cId="2693308933" sldId="2147471864"/>
        </pc:sldMkLst>
      </pc:sldChg>
      <pc:sldChg chg="del">
        <pc:chgData name="John Paserba" userId="77bd6c8a-d0c1-4fea-8705-0169f65d0c0e" providerId="ADAL" clId="{1001C0DD-7E82-4F82-A846-3EE15D16FE9F}" dt="2025-11-09T19:40:48.886" v="358" actId="47"/>
        <pc:sldMkLst>
          <pc:docMk/>
          <pc:sldMk cId="1823009741" sldId="2147471865"/>
        </pc:sldMkLst>
      </pc:sldChg>
      <pc:sldChg chg="del">
        <pc:chgData name="John Paserba" userId="77bd6c8a-d0c1-4fea-8705-0169f65d0c0e" providerId="ADAL" clId="{1001C0DD-7E82-4F82-A846-3EE15D16FE9F}" dt="2025-11-09T19:26:42.568" v="127" actId="47"/>
        <pc:sldMkLst>
          <pc:docMk/>
          <pc:sldMk cId="2458740875" sldId="2147471871"/>
        </pc:sldMkLst>
      </pc:sldChg>
      <pc:sldChg chg="del">
        <pc:chgData name="John Paserba" userId="77bd6c8a-d0c1-4fea-8705-0169f65d0c0e" providerId="ADAL" clId="{1001C0DD-7E82-4F82-A846-3EE15D16FE9F}" dt="2025-11-09T19:27:16.207" v="176" actId="47"/>
        <pc:sldMkLst>
          <pc:docMk/>
          <pc:sldMk cId="2963790451" sldId="2147471873"/>
        </pc:sldMkLst>
      </pc:sldChg>
      <pc:sldChg chg="del">
        <pc:chgData name="John Paserba" userId="77bd6c8a-d0c1-4fea-8705-0169f65d0c0e" providerId="ADAL" clId="{1001C0DD-7E82-4F82-A846-3EE15D16FE9F}" dt="2025-11-09T19:40:08.532" v="353" actId="47"/>
        <pc:sldMkLst>
          <pc:docMk/>
          <pc:sldMk cId="2805556490" sldId="2147471874"/>
        </pc:sldMkLst>
      </pc:sldChg>
      <pc:sldChg chg="del">
        <pc:chgData name="John Paserba" userId="77bd6c8a-d0c1-4fea-8705-0169f65d0c0e" providerId="ADAL" clId="{1001C0DD-7E82-4F82-A846-3EE15D16FE9F}" dt="2025-11-09T19:40:18.832" v="355" actId="47"/>
        <pc:sldMkLst>
          <pc:docMk/>
          <pc:sldMk cId="2269281244" sldId="2147471875"/>
        </pc:sldMkLst>
      </pc:sldChg>
      <pc:sldChg chg="del">
        <pc:chgData name="John Paserba" userId="77bd6c8a-d0c1-4fea-8705-0169f65d0c0e" providerId="ADAL" clId="{1001C0DD-7E82-4F82-A846-3EE15D16FE9F}" dt="2025-11-09T19:40:56.994" v="359" actId="47"/>
        <pc:sldMkLst>
          <pc:docMk/>
          <pc:sldMk cId="43637399" sldId="2147471876"/>
        </pc:sldMkLst>
      </pc:sldChg>
      <pc:sldChg chg="del">
        <pc:chgData name="John Paserba" userId="77bd6c8a-d0c1-4fea-8705-0169f65d0c0e" providerId="ADAL" clId="{1001C0DD-7E82-4F82-A846-3EE15D16FE9F}" dt="2025-11-09T19:40:56.994" v="359" actId="47"/>
        <pc:sldMkLst>
          <pc:docMk/>
          <pc:sldMk cId="2362021607" sldId="2147471877"/>
        </pc:sldMkLst>
      </pc:sldChg>
      <pc:sldChg chg="del">
        <pc:chgData name="John Paserba" userId="77bd6c8a-d0c1-4fea-8705-0169f65d0c0e" providerId="ADAL" clId="{1001C0DD-7E82-4F82-A846-3EE15D16FE9F}" dt="2025-11-09T19:40:56.994" v="359" actId="47"/>
        <pc:sldMkLst>
          <pc:docMk/>
          <pc:sldMk cId="2029220160" sldId="2147471878"/>
        </pc:sldMkLst>
      </pc:sldChg>
      <pc:sldChg chg="del">
        <pc:chgData name="John Paserba" userId="77bd6c8a-d0c1-4fea-8705-0169f65d0c0e" providerId="ADAL" clId="{1001C0DD-7E82-4F82-A846-3EE15D16FE9F}" dt="2025-11-09T19:40:56.994" v="359" actId="47"/>
        <pc:sldMkLst>
          <pc:docMk/>
          <pc:sldMk cId="1958876136" sldId="2147471879"/>
        </pc:sldMkLst>
      </pc:sldChg>
      <pc:sldChg chg="del">
        <pc:chgData name="John Paserba" userId="77bd6c8a-d0c1-4fea-8705-0169f65d0c0e" providerId="ADAL" clId="{1001C0DD-7E82-4F82-A846-3EE15D16FE9F}" dt="2025-11-09T19:40:56.994" v="359" actId="47"/>
        <pc:sldMkLst>
          <pc:docMk/>
          <pc:sldMk cId="2090766154" sldId="2147471880"/>
        </pc:sldMkLst>
      </pc:sldChg>
      <pc:sldChg chg="del">
        <pc:chgData name="John Paserba" userId="77bd6c8a-d0c1-4fea-8705-0169f65d0c0e" providerId="ADAL" clId="{1001C0DD-7E82-4F82-A846-3EE15D16FE9F}" dt="2025-11-09T19:40:56.994" v="359" actId="47"/>
        <pc:sldMkLst>
          <pc:docMk/>
          <pc:sldMk cId="2817930747" sldId="2147471881"/>
        </pc:sldMkLst>
      </pc:sldChg>
      <pc:sldChg chg="del">
        <pc:chgData name="John Paserba" userId="77bd6c8a-d0c1-4fea-8705-0169f65d0c0e" providerId="ADAL" clId="{1001C0DD-7E82-4F82-A846-3EE15D16FE9F}" dt="2025-11-09T19:54:44.211" v="905" actId="47"/>
        <pc:sldMkLst>
          <pc:docMk/>
          <pc:sldMk cId="3413890278" sldId="2147471882"/>
        </pc:sldMkLst>
      </pc:sldChg>
      <pc:sldChg chg="del">
        <pc:chgData name="John Paserba" userId="77bd6c8a-d0c1-4fea-8705-0169f65d0c0e" providerId="ADAL" clId="{1001C0DD-7E82-4F82-A846-3EE15D16FE9F}" dt="2025-11-09T19:40:08.532" v="353" actId="47"/>
        <pc:sldMkLst>
          <pc:docMk/>
          <pc:sldMk cId="3695867305" sldId="2147471883"/>
        </pc:sldMkLst>
      </pc:sldChg>
      <pc:sldChg chg="del">
        <pc:chgData name="John Paserba" userId="77bd6c8a-d0c1-4fea-8705-0169f65d0c0e" providerId="ADAL" clId="{1001C0DD-7E82-4F82-A846-3EE15D16FE9F}" dt="2025-11-09T19:40:48.886" v="358" actId="47"/>
        <pc:sldMkLst>
          <pc:docMk/>
          <pc:sldMk cId="2578400383" sldId="2147471884"/>
        </pc:sldMkLst>
      </pc:sldChg>
      <pc:sldChg chg="del">
        <pc:chgData name="John Paserba" userId="77bd6c8a-d0c1-4fea-8705-0169f65d0c0e" providerId="ADAL" clId="{1001C0DD-7E82-4F82-A846-3EE15D16FE9F}" dt="2025-11-09T19:40:28.877" v="356" actId="47"/>
        <pc:sldMkLst>
          <pc:docMk/>
          <pc:sldMk cId="979036647" sldId="2147471885"/>
        </pc:sldMkLst>
      </pc:sldChg>
      <pc:sldChg chg="del">
        <pc:chgData name="John Paserba" userId="77bd6c8a-d0c1-4fea-8705-0169f65d0c0e" providerId="ADAL" clId="{1001C0DD-7E82-4F82-A846-3EE15D16FE9F}" dt="2025-11-09T19:28:05.316" v="214" actId="47"/>
        <pc:sldMkLst>
          <pc:docMk/>
          <pc:sldMk cId="3296580655" sldId="2147471886"/>
        </pc:sldMkLst>
      </pc:sldChg>
      <pc:sldChg chg="del">
        <pc:chgData name="John Paserba" userId="77bd6c8a-d0c1-4fea-8705-0169f65d0c0e" providerId="ADAL" clId="{1001C0DD-7E82-4F82-A846-3EE15D16FE9F}" dt="2025-11-09T19:28:05.316" v="214" actId="47"/>
        <pc:sldMkLst>
          <pc:docMk/>
          <pc:sldMk cId="2791649867" sldId="2147471887"/>
        </pc:sldMkLst>
      </pc:sldChg>
      <pc:sldChg chg="del">
        <pc:chgData name="John Paserba" userId="77bd6c8a-d0c1-4fea-8705-0169f65d0c0e" providerId="ADAL" clId="{1001C0DD-7E82-4F82-A846-3EE15D16FE9F}" dt="2025-11-09T19:27:00.231" v="138" actId="47"/>
        <pc:sldMkLst>
          <pc:docMk/>
          <pc:sldMk cId="1142811799" sldId="2147471888"/>
        </pc:sldMkLst>
      </pc:sldChg>
      <pc:sldChg chg="del">
        <pc:chgData name="John Paserba" userId="77bd6c8a-d0c1-4fea-8705-0169f65d0c0e" providerId="ADAL" clId="{1001C0DD-7E82-4F82-A846-3EE15D16FE9F}" dt="2025-11-09T19:27:44.885" v="205" actId="47"/>
        <pc:sldMkLst>
          <pc:docMk/>
          <pc:sldMk cId="309881359" sldId="2147471889"/>
        </pc:sldMkLst>
      </pc:sldChg>
      <pc:sldChg chg="del">
        <pc:chgData name="John Paserba" userId="77bd6c8a-d0c1-4fea-8705-0169f65d0c0e" providerId="ADAL" clId="{1001C0DD-7E82-4F82-A846-3EE15D16FE9F}" dt="2025-11-09T19:27:47.176" v="210" actId="47"/>
        <pc:sldMkLst>
          <pc:docMk/>
          <pc:sldMk cId="3638231405" sldId="2147471890"/>
        </pc:sldMkLst>
      </pc:sldChg>
      <pc:sldChg chg="del">
        <pc:chgData name="John Paserba" userId="77bd6c8a-d0c1-4fea-8705-0169f65d0c0e" providerId="ADAL" clId="{1001C0DD-7E82-4F82-A846-3EE15D16FE9F}" dt="2025-11-09T19:27:47.651" v="211" actId="47"/>
        <pc:sldMkLst>
          <pc:docMk/>
          <pc:sldMk cId="1892916691" sldId="2147471891"/>
        </pc:sldMkLst>
      </pc:sldChg>
      <pc:sldChg chg="del">
        <pc:chgData name="John Paserba" userId="77bd6c8a-d0c1-4fea-8705-0169f65d0c0e" providerId="ADAL" clId="{1001C0DD-7E82-4F82-A846-3EE15D16FE9F}" dt="2025-11-09T19:40:48.886" v="358" actId="47"/>
        <pc:sldMkLst>
          <pc:docMk/>
          <pc:sldMk cId="2597960199" sldId="2147471892"/>
        </pc:sldMkLst>
      </pc:sldChg>
      <pc:sldChg chg="del">
        <pc:chgData name="John Paserba" userId="77bd6c8a-d0c1-4fea-8705-0169f65d0c0e" providerId="ADAL" clId="{1001C0DD-7E82-4F82-A846-3EE15D16FE9F}" dt="2025-11-09T19:27:02.549" v="142" actId="47"/>
        <pc:sldMkLst>
          <pc:docMk/>
          <pc:sldMk cId="1403970950" sldId="2147471894"/>
        </pc:sldMkLst>
      </pc:sldChg>
      <pc:sldChg chg="del">
        <pc:chgData name="John Paserba" userId="77bd6c8a-d0c1-4fea-8705-0169f65d0c0e" providerId="ADAL" clId="{1001C0DD-7E82-4F82-A846-3EE15D16FE9F}" dt="2025-11-09T19:27:03.702" v="146" actId="47"/>
        <pc:sldMkLst>
          <pc:docMk/>
          <pc:sldMk cId="1560344356" sldId="2147471895"/>
        </pc:sldMkLst>
      </pc:sldChg>
      <pc:sldChg chg="del">
        <pc:chgData name="John Paserba" userId="77bd6c8a-d0c1-4fea-8705-0169f65d0c0e" providerId="ADAL" clId="{1001C0DD-7E82-4F82-A846-3EE15D16FE9F}" dt="2025-11-09T19:27:03.998" v="147" actId="47"/>
        <pc:sldMkLst>
          <pc:docMk/>
          <pc:sldMk cId="301925639" sldId="2147471896"/>
        </pc:sldMkLst>
      </pc:sldChg>
      <pc:sldChg chg="del">
        <pc:chgData name="John Paserba" userId="77bd6c8a-d0c1-4fea-8705-0169f65d0c0e" providerId="ADAL" clId="{1001C0DD-7E82-4F82-A846-3EE15D16FE9F}" dt="2025-11-09T19:27:04.300" v="148" actId="47"/>
        <pc:sldMkLst>
          <pc:docMk/>
          <pc:sldMk cId="4241611111" sldId="2147471897"/>
        </pc:sldMkLst>
      </pc:sldChg>
      <pc:sldChg chg="del">
        <pc:chgData name="John Paserba" userId="77bd6c8a-d0c1-4fea-8705-0169f65d0c0e" providerId="ADAL" clId="{1001C0DD-7E82-4F82-A846-3EE15D16FE9F}" dt="2025-11-09T19:27:04.642" v="149" actId="47"/>
        <pc:sldMkLst>
          <pc:docMk/>
          <pc:sldMk cId="82607383" sldId="2147471898"/>
        </pc:sldMkLst>
      </pc:sldChg>
      <pc:sldChg chg="del">
        <pc:chgData name="John Paserba" userId="77bd6c8a-d0c1-4fea-8705-0169f65d0c0e" providerId="ADAL" clId="{1001C0DD-7E82-4F82-A846-3EE15D16FE9F}" dt="2025-11-09T19:27:06.062" v="153" actId="47"/>
        <pc:sldMkLst>
          <pc:docMk/>
          <pc:sldMk cId="3174062126" sldId="2147471899"/>
        </pc:sldMkLst>
      </pc:sldChg>
      <pc:sldChg chg="del">
        <pc:chgData name="John Paserba" userId="77bd6c8a-d0c1-4fea-8705-0169f65d0c0e" providerId="ADAL" clId="{1001C0DD-7E82-4F82-A846-3EE15D16FE9F}" dt="2025-11-09T19:27:07.107" v="156" actId="47"/>
        <pc:sldMkLst>
          <pc:docMk/>
          <pc:sldMk cId="358466133" sldId="2147471900"/>
        </pc:sldMkLst>
      </pc:sldChg>
      <pc:sldChg chg="del">
        <pc:chgData name="John Paserba" userId="77bd6c8a-d0c1-4fea-8705-0169f65d0c0e" providerId="ADAL" clId="{1001C0DD-7E82-4F82-A846-3EE15D16FE9F}" dt="2025-11-09T19:27:07.765" v="158" actId="47"/>
        <pc:sldMkLst>
          <pc:docMk/>
          <pc:sldMk cId="252891168" sldId="2147471901"/>
        </pc:sldMkLst>
      </pc:sldChg>
      <pc:sldChg chg="del">
        <pc:chgData name="John Paserba" userId="77bd6c8a-d0c1-4fea-8705-0169f65d0c0e" providerId="ADAL" clId="{1001C0DD-7E82-4F82-A846-3EE15D16FE9F}" dt="2025-11-09T19:27:08.066" v="159" actId="47"/>
        <pc:sldMkLst>
          <pc:docMk/>
          <pc:sldMk cId="2743069527" sldId="2147471902"/>
        </pc:sldMkLst>
      </pc:sldChg>
      <pc:sldChg chg="del">
        <pc:chgData name="John Paserba" userId="77bd6c8a-d0c1-4fea-8705-0169f65d0c0e" providerId="ADAL" clId="{1001C0DD-7E82-4F82-A846-3EE15D16FE9F}" dt="2025-11-09T19:27:08.739" v="161" actId="47"/>
        <pc:sldMkLst>
          <pc:docMk/>
          <pc:sldMk cId="3497950315" sldId="2147471903"/>
        </pc:sldMkLst>
      </pc:sldChg>
      <pc:sldChg chg="del">
        <pc:chgData name="John Paserba" userId="77bd6c8a-d0c1-4fea-8705-0169f65d0c0e" providerId="ADAL" clId="{1001C0DD-7E82-4F82-A846-3EE15D16FE9F}" dt="2025-11-09T19:27:10.027" v="164" actId="47"/>
        <pc:sldMkLst>
          <pc:docMk/>
          <pc:sldMk cId="4071523654" sldId="2147471904"/>
        </pc:sldMkLst>
      </pc:sldChg>
      <pc:sldChg chg="del">
        <pc:chgData name="John Paserba" userId="77bd6c8a-d0c1-4fea-8705-0169f65d0c0e" providerId="ADAL" clId="{1001C0DD-7E82-4F82-A846-3EE15D16FE9F}" dt="2025-11-09T19:27:10.879" v="166" actId="47"/>
        <pc:sldMkLst>
          <pc:docMk/>
          <pc:sldMk cId="2751759747" sldId="2147471905"/>
        </pc:sldMkLst>
      </pc:sldChg>
      <pc:sldChg chg="del">
        <pc:chgData name="John Paserba" userId="77bd6c8a-d0c1-4fea-8705-0169f65d0c0e" providerId="ADAL" clId="{1001C0DD-7E82-4F82-A846-3EE15D16FE9F}" dt="2025-11-09T19:26:31.435" v="115" actId="47"/>
        <pc:sldMkLst>
          <pc:docMk/>
          <pc:sldMk cId="3550776017" sldId="2147471906"/>
        </pc:sldMkLst>
      </pc:sldChg>
      <pc:sldChg chg="del">
        <pc:chgData name="John Paserba" userId="77bd6c8a-d0c1-4fea-8705-0169f65d0c0e" providerId="ADAL" clId="{1001C0DD-7E82-4F82-A846-3EE15D16FE9F}" dt="2025-11-09T19:26:42.053" v="126" actId="47"/>
        <pc:sldMkLst>
          <pc:docMk/>
          <pc:sldMk cId="3386599358" sldId="2147471907"/>
        </pc:sldMkLst>
      </pc:sldChg>
      <pc:sldChg chg="del">
        <pc:chgData name="John Paserba" userId="77bd6c8a-d0c1-4fea-8705-0169f65d0c0e" providerId="ADAL" clId="{1001C0DD-7E82-4F82-A846-3EE15D16FE9F}" dt="2025-11-09T19:27:14.057" v="171" actId="47"/>
        <pc:sldMkLst>
          <pc:docMk/>
          <pc:sldMk cId="1842549074" sldId="2147471908"/>
        </pc:sldMkLst>
      </pc:sldChg>
      <pc:sldChg chg="del">
        <pc:chgData name="John Paserba" userId="77bd6c8a-d0c1-4fea-8705-0169f65d0c0e" providerId="ADAL" clId="{1001C0DD-7E82-4F82-A846-3EE15D16FE9F}" dt="2025-11-09T19:40:28.877" v="356" actId="47"/>
        <pc:sldMkLst>
          <pc:docMk/>
          <pc:sldMk cId="2765354551" sldId="2147471909"/>
        </pc:sldMkLst>
      </pc:sldChg>
      <pc:sldChg chg="del">
        <pc:chgData name="John Paserba" userId="77bd6c8a-d0c1-4fea-8705-0169f65d0c0e" providerId="ADAL" clId="{1001C0DD-7E82-4F82-A846-3EE15D16FE9F}" dt="2025-11-09T19:40:35.362" v="357" actId="47"/>
        <pc:sldMkLst>
          <pc:docMk/>
          <pc:sldMk cId="1978089359" sldId="2147471910"/>
        </pc:sldMkLst>
      </pc:sldChg>
      <pc:sldChg chg="del">
        <pc:chgData name="John Paserba" userId="77bd6c8a-d0c1-4fea-8705-0169f65d0c0e" providerId="ADAL" clId="{1001C0DD-7E82-4F82-A846-3EE15D16FE9F}" dt="2025-11-09T19:28:02.165" v="213" actId="47"/>
        <pc:sldMkLst>
          <pc:docMk/>
          <pc:sldMk cId="311581154" sldId="2147471911"/>
        </pc:sldMkLst>
      </pc:sldChg>
      <pc:sldChg chg="addSp delSp modSp del mod">
        <pc:chgData name="John Paserba" userId="77bd6c8a-d0c1-4fea-8705-0169f65d0c0e" providerId="ADAL" clId="{1001C0DD-7E82-4F82-A846-3EE15D16FE9F}" dt="2025-11-09T19:21:35.084" v="93" actId="47"/>
        <pc:sldMkLst>
          <pc:docMk/>
          <pc:sldMk cId="2517103394" sldId="2147471912"/>
        </pc:sldMkLst>
        <pc:spChg chg="del">
          <ac:chgData name="John Paserba" userId="77bd6c8a-d0c1-4fea-8705-0169f65d0c0e" providerId="ADAL" clId="{1001C0DD-7E82-4F82-A846-3EE15D16FE9F}" dt="2025-11-09T18:57:37.391" v="38" actId="478"/>
          <ac:spMkLst>
            <pc:docMk/>
            <pc:sldMk cId="2517103394" sldId="2147471912"/>
            <ac:spMk id="3" creationId="{E6993746-A424-4F09-867F-B919F4E18ECB}"/>
          </ac:spMkLst>
        </pc:spChg>
        <pc:spChg chg="add del mod">
          <ac:chgData name="John Paserba" userId="77bd6c8a-d0c1-4fea-8705-0169f65d0c0e" providerId="ADAL" clId="{1001C0DD-7E82-4F82-A846-3EE15D16FE9F}" dt="2025-11-09T18:57:38.900" v="39" actId="478"/>
          <ac:spMkLst>
            <pc:docMk/>
            <pc:sldMk cId="2517103394" sldId="2147471912"/>
            <ac:spMk id="12" creationId="{F7892960-CEE3-4C28-B5C5-7320D3E68282}"/>
          </ac:spMkLst>
        </pc:spChg>
        <pc:spChg chg="mod">
          <ac:chgData name="John Paserba" userId="77bd6c8a-d0c1-4fea-8705-0169f65d0c0e" providerId="ADAL" clId="{1001C0DD-7E82-4F82-A846-3EE15D16FE9F}" dt="2025-11-09T18:57:43.347" v="51" actId="20577"/>
          <ac:spMkLst>
            <pc:docMk/>
            <pc:sldMk cId="2517103394" sldId="2147471912"/>
            <ac:spMk id="3328002" creationId="{00000000-0000-0000-0000-000000000000}"/>
          </ac:spMkLst>
        </pc:spChg>
      </pc:sldChg>
      <pc:sldChg chg="add del">
        <pc:chgData name="John Paserba" userId="77bd6c8a-d0c1-4fea-8705-0169f65d0c0e" providerId="ADAL" clId="{1001C0DD-7E82-4F82-A846-3EE15D16FE9F}" dt="2025-11-09T19:24:24.251" v="97" actId="47"/>
        <pc:sldMkLst>
          <pc:docMk/>
          <pc:sldMk cId="3184884954" sldId="2147471912"/>
        </pc:sldMkLst>
      </pc:sldChg>
      <pc:sldChg chg="modSp mod">
        <pc:chgData name="John Paserba" userId="77bd6c8a-d0c1-4fea-8705-0169f65d0c0e" providerId="ADAL" clId="{1001C0DD-7E82-4F82-A846-3EE15D16FE9F}" dt="2025-11-09T19:26:06.294" v="111" actId="2711"/>
        <pc:sldMkLst>
          <pc:docMk/>
          <pc:sldMk cId="3277149052" sldId="2147471912"/>
        </pc:sldMkLst>
        <pc:spChg chg="mod">
          <ac:chgData name="John Paserba" userId="77bd6c8a-d0c1-4fea-8705-0169f65d0c0e" providerId="ADAL" clId="{1001C0DD-7E82-4F82-A846-3EE15D16FE9F}" dt="2025-11-09T19:25:02.328" v="101" actId="2711"/>
          <ac:spMkLst>
            <pc:docMk/>
            <pc:sldMk cId="3277149052" sldId="2147471912"/>
            <ac:spMk id="13" creationId="{959DC8C0-E30B-139A-5993-674D695486D5}"/>
          </ac:spMkLst>
        </pc:spChg>
        <pc:spChg chg="mod">
          <ac:chgData name="John Paserba" userId="77bd6c8a-d0c1-4fea-8705-0169f65d0c0e" providerId="ADAL" clId="{1001C0DD-7E82-4F82-A846-3EE15D16FE9F}" dt="2025-11-09T19:25:07.286" v="102" actId="2711"/>
          <ac:spMkLst>
            <pc:docMk/>
            <pc:sldMk cId="3277149052" sldId="2147471912"/>
            <ac:spMk id="33" creationId="{4F430A72-FB24-9303-4FD2-30EEC824A527}"/>
          </ac:spMkLst>
        </pc:spChg>
        <pc:spChg chg="mod">
          <ac:chgData name="John Paserba" userId="77bd6c8a-d0c1-4fea-8705-0169f65d0c0e" providerId="ADAL" clId="{1001C0DD-7E82-4F82-A846-3EE15D16FE9F}" dt="2025-11-09T19:25:10.427" v="103" actId="2711"/>
          <ac:spMkLst>
            <pc:docMk/>
            <pc:sldMk cId="3277149052" sldId="2147471912"/>
            <ac:spMk id="35" creationId="{19259092-2325-5D5A-D70D-0CB855F3920A}"/>
          </ac:spMkLst>
        </pc:spChg>
        <pc:spChg chg="mod">
          <ac:chgData name="John Paserba" userId="77bd6c8a-d0c1-4fea-8705-0169f65d0c0e" providerId="ADAL" clId="{1001C0DD-7E82-4F82-A846-3EE15D16FE9F}" dt="2025-11-09T19:26:06.294" v="111" actId="2711"/>
          <ac:spMkLst>
            <pc:docMk/>
            <pc:sldMk cId="3277149052" sldId="2147471912"/>
            <ac:spMk id="39" creationId="{13EDDA68-10E8-870D-51D6-1E666EC2F974}"/>
          </ac:spMkLst>
        </pc:spChg>
      </pc:sldChg>
      <pc:sldChg chg="addSp modSp mod">
        <pc:chgData name="John Paserba" userId="77bd6c8a-d0c1-4fea-8705-0169f65d0c0e" providerId="ADAL" clId="{1001C0DD-7E82-4F82-A846-3EE15D16FE9F}" dt="2025-11-09T19:37:05.071" v="352" actId="20577"/>
        <pc:sldMkLst>
          <pc:docMk/>
          <pc:sldMk cId="486876569" sldId="2147471913"/>
        </pc:sldMkLst>
        <pc:spChg chg="add mod">
          <ac:chgData name="John Paserba" userId="77bd6c8a-d0c1-4fea-8705-0169f65d0c0e" providerId="ADAL" clId="{1001C0DD-7E82-4F82-A846-3EE15D16FE9F}" dt="2025-11-09T19:34:40.121" v="316" actId="1076"/>
          <ac:spMkLst>
            <pc:docMk/>
            <pc:sldMk cId="486876569" sldId="2147471913"/>
            <ac:spMk id="3" creationId="{DC5CD93E-8EE9-405F-B4D7-2F63CD973824}"/>
          </ac:spMkLst>
        </pc:spChg>
        <pc:spChg chg="mod">
          <ac:chgData name="John Paserba" userId="77bd6c8a-d0c1-4fea-8705-0169f65d0c0e" providerId="ADAL" clId="{1001C0DD-7E82-4F82-A846-3EE15D16FE9F}" dt="2025-11-09T19:37:05.071" v="352" actId="20577"/>
          <ac:spMkLst>
            <pc:docMk/>
            <pc:sldMk cId="486876569" sldId="2147471913"/>
            <ac:spMk id="9" creationId="{A403911F-E33B-4F6F-933A-99D0A2535E13}"/>
          </ac:spMkLst>
        </pc:spChg>
        <pc:spChg chg="mod">
          <ac:chgData name="John Paserba" userId="77bd6c8a-d0c1-4fea-8705-0169f65d0c0e" providerId="ADAL" clId="{1001C0DD-7E82-4F82-A846-3EE15D16FE9F}" dt="2025-11-09T19:29:13.054" v="229" actId="20577"/>
          <ac:spMkLst>
            <pc:docMk/>
            <pc:sldMk cId="486876569" sldId="2147471913"/>
            <ac:spMk id="3328002" creationId="{00000000-0000-0000-0000-000000000000}"/>
          </ac:spMkLst>
        </pc:spChg>
      </pc:sldChg>
      <pc:sldChg chg="delSp modSp mod">
        <pc:chgData name="John Paserba" userId="77bd6c8a-d0c1-4fea-8705-0169f65d0c0e" providerId="ADAL" clId="{1001C0DD-7E82-4F82-A846-3EE15D16FE9F}" dt="2025-11-09T20:13:42.718" v="1373" actId="255"/>
        <pc:sldMkLst>
          <pc:docMk/>
          <pc:sldMk cId="2907172426" sldId="2147471914"/>
        </pc:sldMkLst>
        <pc:spChg chg="mod">
          <ac:chgData name="John Paserba" userId="77bd6c8a-d0c1-4fea-8705-0169f65d0c0e" providerId="ADAL" clId="{1001C0DD-7E82-4F82-A846-3EE15D16FE9F}" dt="2025-11-09T19:51:03.432" v="826" actId="14100"/>
          <ac:spMkLst>
            <pc:docMk/>
            <pc:sldMk cId="2907172426" sldId="2147471914"/>
            <ac:spMk id="3" creationId="{E6993746-A424-4F09-867F-B919F4E18ECB}"/>
          </ac:spMkLst>
        </pc:spChg>
        <pc:spChg chg="del">
          <ac:chgData name="John Paserba" userId="77bd6c8a-d0c1-4fea-8705-0169f65d0c0e" providerId="ADAL" clId="{1001C0DD-7E82-4F82-A846-3EE15D16FE9F}" dt="2025-11-09T19:43:51.249" v="447" actId="478"/>
          <ac:spMkLst>
            <pc:docMk/>
            <pc:sldMk cId="2907172426" sldId="2147471914"/>
            <ac:spMk id="13" creationId="{CBC7F356-A1EC-45D7-AE3B-6D380C7DCF30}"/>
          </ac:spMkLst>
        </pc:spChg>
        <pc:spChg chg="mod">
          <ac:chgData name="John Paserba" userId="77bd6c8a-d0c1-4fea-8705-0169f65d0c0e" providerId="ADAL" clId="{1001C0DD-7E82-4F82-A846-3EE15D16FE9F}" dt="2025-11-09T20:13:42.718" v="1373" actId="255"/>
          <ac:spMkLst>
            <pc:docMk/>
            <pc:sldMk cId="2907172426" sldId="2147471914"/>
            <ac:spMk id="3328002" creationId="{00000000-0000-0000-0000-000000000000}"/>
          </ac:spMkLst>
        </pc:spChg>
      </pc:sldChg>
      <pc:sldChg chg="modSp mod">
        <pc:chgData name="John Paserba" userId="77bd6c8a-d0c1-4fea-8705-0169f65d0c0e" providerId="ADAL" clId="{1001C0DD-7E82-4F82-A846-3EE15D16FE9F}" dt="2025-11-09T20:13:48.252" v="1374" actId="255"/>
        <pc:sldMkLst>
          <pc:docMk/>
          <pc:sldMk cId="2343743741" sldId="2147471915"/>
        </pc:sldMkLst>
        <pc:spChg chg="mod">
          <ac:chgData name="John Paserba" userId="77bd6c8a-d0c1-4fea-8705-0169f65d0c0e" providerId="ADAL" clId="{1001C0DD-7E82-4F82-A846-3EE15D16FE9F}" dt="2025-11-09T19:59:42.189" v="971" actId="20577"/>
          <ac:spMkLst>
            <pc:docMk/>
            <pc:sldMk cId="2343743741" sldId="2147471915"/>
            <ac:spMk id="3" creationId="{E6993746-A424-4F09-867F-B919F4E18ECB}"/>
          </ac:spMkLst>
        </pc:spChg>
        <pc:spChg chg="mod">
          <ac:chgData name="John Paserba" userId="77bd6c8a-d0c1-4fea-8705-0169f65d0c0e" providerId="ADAL" clId="{1001C0DD-7E82-4F82-A846-3EE15D16FE9F}" dt="2025-11-09T20:13:48.252" v="1374" actId="255"/>
          <ac:spMkLst>
            <pc:docMk/>
            <pc:sldMk cId="2343743741" sldId="2147471915"/>
            <ac:spMk id="3328002" creationId="{00000000-0000-0000-0000-000000000000}"/>
          </ac:spMkLst>
        </pc:spChg>
      </pc:sldChg>
      <pc:sldChg chg="addSp delSp modSp del mod">
        <pc:chgData name="John Paserba" userId="77bd6c8a-d0c1-4fea-8705-0169f65d0c0e" providerId="ADAL" clId="{1001C0DD-7E82-4F82-A846-3EE15D16FE9F}" dt="2025-11-09T20:48:04.279" v="1429" actId="47"/>
        <pc:sldMkLst>
          <pc:docMk/>
          <pc:sldMk cId="717101953" sldId="2147471916"/>
        </pc:sldMkLst>
        <pc:spChg chg="del mod">
          <ac:chgData name="John Paserba" userId="77bd6c8a-d0c1-4fea-8705-0169f65d0c0e" providerId="ADAL" clId="{1001C0DD-7E82-4F82-A846-3EE15D16FE9F}" dt="2025-11-09T19:54:01.042" v="902" actId="478"/>
          <ac:spMkLst>
            <pc:docMk/>
            <pc:sldMk cId="717101953" sldId="2147471916"/>
            <ac:spMk id="3" creationId="{E6993746-A424-4F09-867F-B919F4E18ECB}"/>
          </ac:spMkLst>
        </pc:spChg>
        <pc:spChg chg="add del mod">
          <ac:chgData name="John Paserba" userId="77bd6c8a-d0c1-4fea-8705-0169f65d0c0e" providerId="ADAL" clId="{1001C0DD-7E82-4F82-A846-3EE15D16FE9F}" dt="2025-11-09T19:54:06.016" v="903" actId="478"/>
          <ac:spMkLst>
            <pc:docMk/>
            <pc:sldMk cId="717101953" sldId="2147471916"/>
            <ac:spMk id="12" creationId="{9DE91D9E-DBAA-4A0E-8502-A47AA7C72DB5}"/>
          </ac:spMkLst>
        </pc:spChg>
        <pc:spChg chg="mod">
          <ac:chgData name="John Paserba" userId="77bd6c8a-d0c1-4fea-8705-0169f65d0c0e" providerId="ADAL" clId="{1001C0DD-7E82-4F82-A846-3EE15D16FE9F}" dt="2025-11-09T20:13:50.674" v="1375" actId="255"/>
          <ac:spMkLst>
            <pc:docMk/>
            <pc:sldMk cId="717101953" sldId="2147471916"/>
            <ac:spMk id="3328002" creationId="{00000000-0000-0000-0000-000000000000}"/>
          </ac:spMkLst>
        </pc:spChg>
      </pc:sldChg>
      <pc:sldChg chg="modSp mod">
        <pc:chgData name="John Paserba" userId="77bd6c8a-d0c1-4fea-8705-0169f65d0c0e" providerId="ADAL" clId="{1001C0DD-7E82-4F82-A846-3EE15D16FE9F}" dt="2025-11-09T19:51:27.133" v="830" actId="14100"/>
        <pc:sldMkLst>
          <pc:docMk/>
          <pc:sldMk cId="2772096703" sldId="2147471917"/>
        </pc:sldMkLst>
        <pc:spChg chg="mod">
          <ac:chgData name="John Paserba" userId="77bd6c8a-d0c1-4fea-8705-0169f65d0c0e" providerId="ADAL" clId="{1001C0DD-7E82-4F82-A846-3EE15D16FE9F}" dt="2025-11-09T19:51:27.133" v="830" actId="14100"/>
          <ac:spMkLst>
            <pc:docMk/>
            <pc:sldMk cId="2772096703" sldId="2147471917"/>
            <ac:spMk id="3" creationId="{E6993746-A424-4F09-867F-B919F4E18ECB}"/>
          </ac:spMkLst>
        </pc:spChg>
        <pc:spChg chg="mod">
          <ac:chgData name="John Paserba" userId="77bd6c8a-d0c1-4fea-8705-0169f65d0c0e" providerId="ADAL" clId="{1001C0DD-7E82-4F82-A846-3EE15D16FE9F}" dt="2025-11-09T19:47:50.562" v="800" actId="20577"/>
          <ac:spMkLst>
            <pc:docMk/>
            <pc:sldMk cId="2772096703" sldId="2147471917"/>
            <ac:spMk id="3328002" creationId="{00000000-0000-0000-0000-000000000000}"/>
          </ac:spMkLst>
        </pc:spChg>
      </pc:sldChg>
      <pc:sldChg chg="modSp mod">
        <pc:chgData name="John Paserba" userId="77bd6c8a-d0c1-4fea-8705-0169f65d0c0e" providerId="ADAL" clId="{1001C0DD-7E82-4F82-A846-3EE15D16FE9F}" dt="2025-11-09T20:14:02.531" v="1377" actId="255"/>
        <pc:sldMkLst>
          <pc:docMk/>
          <pc:sldMk cId="1004241266" sldId="2147471918"/>
        </pc:sldMkLst>
        <pc:spChg chg="mod">
          <ac:chgData name="John Paserba" userId="77bd6c8a-d0c1-4fea-8705-0169f65d0c0e" providerId="ADAL" clId="{1001C0DD-7E82-4F82-A846-3EE15D16FE9F}" dt="2025-11-09T19:51:35.317" v="831" actId="14100"/>
          <ac:spMkLst>
            <pc:docMk/>
            <pc:sldMk cId="1004241266" sldId="2147471918"/>
            <ac:spMk id="3" creationId="{E6993746-A424-4F09-867F-B919F4E18ECB}"/>
          </ac:spMkLst>
        </pc:spChg>
        <pc:spChg chg="mod">
          <ac:chgData name="John Paserba" userId="77bd6c8a-d0c1-4fea-8705-0169f65d0c0e" providerId="ADAL" clId="{1001C0DD-7E82-4F82-A846-3EE15D16FE9F}" dt="2025-11-09T20:14:02.531" v="1377" actId="255"/>
          <ac:spMkLst>
            <pc:docMk/>
            <pc:sldMk cId="1004241266" sldId="2147471918"/>
            <ac:spMk id="3328002" creationId="{00000000-0000-0000-0000-000000000000}"/>
          </ac:spMkLst>
        </pc:spChg>
      </pc:sldChg>
      <pc:sldChg chg="addSp delSp modSp mod">
        <pc:chgData name="John Paserba" userId="77bd6c8a-d0c1-4fea-8705-0169f65d0c0e" providerId="ADAL" clId="{1001C0DD-7E82-4F82-A846-3EE15D16FE9F}" dt="2025-11-09T20:14:10.339" v="1378" actId="255"/>
        <pc:sldMkLst>
          <pc:docMk/>
          <pc:sldMk cId="2644149184" sldId="2147471919"/>
        </pc:sldMkLst>
        <pc:spChg chg="mod">
          <ac:chgData name="John Paserba" userId="77bd6c8a-d0c1-4fea-8705-0169f65d0c0e" providerId="ADAL" clId="{1001C0DD-7E82-4F82-A846-3EE15D16FE9F}" dt="2025-11-09T19:53:19.794" v="854" actId="20577"/>
          <ac:spMkLst>
            <pc:docMk/>
            <pc:sldMk cId="2644149184" sldId="2147471919"/>
            <ac:spMk id="3" creationId="{E6993746-A424-4F09-867F-B919F4E18ECB}"/>
          </ac:spMkLst>
        </pc:spChg>
        <pc:spChg chg="mod">
          <ac:chgData name="John Paserba" userId="77bd6c8a-d0c1-4fea-8705-0169f65d0c0e" providerId="ADAL" clId="{1001C0DD-7E82-4F82-A846-3EE15D16FE9F}" dt="2025-11-09T20:14:10.339" v="1378" actId="255"/>
          <ac:spMkLst>
            <pc:docMk/>
            <pc:sldMk cId="2644149184" sldId="2147471919"/>
            <ac:spMk id="3328002" creationId="{00000000-0000-0000-0000-000000000000}"/>
          </ac:spMkLst>
        </pc:spChg>
        <pc:picChg chg="add del">
          <ac:chgData name="John Paserba" userId="77bd6c8a-d0c1-4fea-8705-0169f65d0c0e" providerId="ADAL" clId="{1001C0DD-7E82-4F82-A846-3EE15D16FE9F}" dt="2025-11-09T19:52:36.811" v="834"/>
          <ac:picMkLst>
            <pc:docMk/>
            <pc:sldMk cId="2644149184" sldId="2147471919"/>
            <ac:picMk id="2" creationId="{39BE0163-C26B-4BED-A14C-8B2A6B431B3C}"/>
          </ac:picMkLst>
        </pc:picChg>
      </pc:sldChg>
      <pc:sldChg chg="addSp delSp modSp mod">
        <pc:chgData name="John Paserba" userId="77bd6c8a-d0c1-4fea-8705-0169f65d0c0e" providerId="ADAL" clId="{1001C0DD-7E82-4F82-A846-3EE15D16FE9F}" dt="2025-11-09T19:57:15.156" v="949" actId="1076"/>
        <pc:sldMkLst>
          <pc:docMk/>
          <pc:sldMk cId="973862553" sldId="2147471920"/>
        </pc:sldMkLst>
        <pc:spChg chg="mod">
          <ac:chgData name="John Paserba" userId="77bd6c8a-d0c1-4fea-8705-0169f65d0c0e" providerId="ADAL" clId="{1001C0DD-7E82-4F82-A846-3EE15D16FE9F}" dt="2025-11-09T19:55:48.135" v="938" actId="20577"/>
          <ac:spMkLst>
            <pc:docMk/>
            <pc:sldMk cId="973862553" sldId="2147471920"/>
            <ac:spMk id="2" creationId="{24EFA49A-D6F0-94EB-2E4A-46AC510574DD}"/>
          </ac:spMkLst>
        </pc:spChg>
        <pc:spChg chg="mod">
          <ac:chgData name="John Paserba" userId="77bd6c8a-d0c1-4fea-8705-0169f65d0c0e" providerId="ADAL" clId="{1001C0DD-7E82-4F82-A846-3EE15D16FE9F}" dt="2025-11-09T19:56:52.758" v="942"/>
          <ac:spMkLst>
            <pc:docMk/>
            <pc:sldMk cId="973862553" sldId="2147471920"/>
            <ac:spMk id="11" creationId="{D8DD069E-A48A-4888-9B90-13338F941BFB}"/>
          </ac:spMkLst>
        </pc:spChg>
        <pc:spChg chg="mod">
          <ac:chgData name="John Paserba" userId="77bd6c8a-d0c1-4fea-8705-0169f65d0c0e" providerId="ADAL" clId="{1001C0DD-7E82-4F82-A846-3EE15D16FE9F}" dt="2025-11-09T19:56:52.758" v="942"/>
          <ac:spMkLst>
            <pc:docMk/>
            <pc:sldMk cId="973862553" sldId="2147471920"/>
            <ac:spMk id="12" creationId="{714C4E05-3BE1-4EFF-8315-8D03142DE2E2}"/>
          </ac:spMkLst>
        </pc:spChg>
        <pc:spChg chg="mod">
          <ac:chgData name="John Paserba" userId="77bd6c8a-d0c1-4fea-8705-0169f65d0c0e" providerId="ADAL" clId="{1001C0DD-7E82-4F82-A846-3EE15D16FE9F}" dt="2025-11-09T19:56:52.758" v="942"/>
          <ac:spMkLst>
            <pc:docMk/>
            <pc:sldMk cId="973862553" sldId="2147471920"/>
            <ac:spMk id="14" creationId="{6AF9EEA3-FC83-4624-9205-B2C215B1C4C8}"/>
          </ac:spMkLst>
        </pc:spChg>
        <pc:spChg chg="mod">
          <ac:chgData name="John Paserba" userId="77bd6c8a-d0c1-4fea-8705-0169f65d0c0e" providerId="ADAL" clId="{1001C0DD-7E82-4F82-A846-3EE15D16FE9F}" dt="2025-11-09T19:56:52.758" v="942"/>
          <ac:spMkLst>
            <pc:docMk/>
            <pc:sldMk cId="973862553" sldId="2147471920"/>
            <ac:spMk id="17" creationId="{530F7431-9B22-4525-B477-80E8C05C562E}"/>
          </ac:spMkLst>
        </pc:spChg>
        <pc:spChg chg="mod">
          <ac:chgData name="John Paserba" userId="77bd6c8a-d0c1-4fea-8705-0169f65d0c0e" providerId="ADAL" clId="{1001C0DD-7E82-4F82-A846-3EE15D16FE9F}" dt="2025-11-09T19:56:52.758" v="942"/>
          <ac:spMkLst>
            <pc:docMk/>
            <pc:sldMk cId="973862553" sldId="2147471920"/>
            <ac:spMk id="18" creationId="{B470B7F5-36F7-4D68-8940-52A75069A2D0}"/>
          </ac:spMkLst>
        </pc:spChg>
        <pc:spChg chg="mod">
          <ac:chgData name="John Paserba" userId="77bd6c8a-d0c1-4fea-8705-0169f65d0c0e" providerId="ADAL" clId="{1001C0DD-7E82-4F82-A846-3EE15D16FE9F}" dt="2025-11-09T19:56:52.758" v="942"/>
          <ac:spMkLst>
            <pc:docMk/>
            <pc:sldMk cId="973862553" sldId="2147471920"/>
            <ac:spMk id="21" creationId="{50A6646A-28DD-4842-B55B-27D4224D6663}"/>
          </ac:spMkLst>
        </pc:spChg>
        <pc:spChg chg="mod">
          <ac:chgData name="John Paserba" userId="77bd6c8a-d0c1-4fea-8705-0169f65d0c0e" providerId="ADAL" clId="{1001C0DD-7E82-4F82-A846-3EE15D16FE9F}" dt="2025-11-09T19:56:52.758" v="942"/>
          <ac:spMkLst>
            <pc:docMk/>
            <pc:sldMk cId="973862553" sldId="2147471920"/>
            <ac:spMk id="22" creationId="{C5F33D41-BE56-4BE3-B39F-4BDC67AF76A9}"/>
          </ac:spMkLst>
        </pc:spChg>
        <pc:spChg chg="mod">
          <ac:chgData name="John Paserba" userId="77bd6c8a-d0c1-4fea-8705-0169f65d0c0e" providerId="ADAL" clId="{1001C0DD-7E82-4F82-A846-3EE15D16FE9F}" dt="2025-11-09T19:56:52.758" v="942"/>
          <ac:spMkLst>
            <pc:docMk/>
            <pc:sldMk cId="973862553" sldId="2147471920"/>
            <ac:spMk id="23" creationId="{BF72683B-3941-489C-96F8-8154ADC3CEA8}"/>
          </ac:spMkLst>
        </pc:spChg>
        <pc:spChg chg="mod">
          <ac:chgData name="John Paserba" userId="77bd6c8a-d0c1-4fea-8705-0169f65d0c0e" providerId="ADAL" clId="{1001C0DD-7E82-4F82-A846-3EE15D16FE9F}" dt="2025-11-09T19:56:52.758" v="942"/>
          <ac:spMkLst>
            <pc:docMk/>
            <pc:sldMk cId="973862553" sldId="2147471920"/>
            <ac:spMk id="24" creationId="{BB4647BD-7704-4FBD-A14B-19ABACB4CDA9}"/>
          </ac:spMkLst>
        </pc:spChg>
        <pc:spChg chg="mod">
          <ac:chgData name="John Paserba" userId="77bd6c8a-d0c1-4fea-8705-0169f65d0c0e" providerId="ADAL" clId="{1001C0DD-7E82-4F82-A846-3EE15D16FE9F}" dt="2025-11-09T19:56:52.758" v="942"/>
          <ac:spMkLst>
            <pc:docMk/>
            <pc:sldMk cId="973862553" sldId="2147471920"/>
            <ac:spMk id="25" creationId="{1E69411A-C75D-44E6-B740-E358832F09AB}"/>
          </ac:spMkLst>
        </pc:spChg>
        <pc:spChg chg="mod">
          <ac:chgData name="John Paserba" userId="77bd6c8a-d0c1-4fea-8705-0169f65d0c0e" providerId="ADAL" clId="{1001C0DD-7E82-4F82-A846-3EE15D16FE9F}" dt="2025-11-09T19:56:52.758" v="942"/>
          <ac:spMkLst>
            <pc:docMk/>
            <pc:sldMk cId="973862553" sldId="2147471920"/>
            <ac:spMk id="26" creationId="{CBF6C333-CC8C-4A14-B396-DBEDA0CFDFB3}"/>
          </ac:spMkLst>
        </pc:spChg>
        <pc:spChg chg="mod">
          <ac:chgData name="John Paserba" userId="77bd6c8a-d0c1-4fea-8705-0169f65d0c0e" providerId="ADAL" clId="{1001C0DD-7E82-4F82-A846-3EE15D16FE9F}" dt="2025-11-09T19:56:52.758" v="942"/>
          <ac:spMkLst>
            <pc:docMk/>
            <pc:sldMk cId="973862553" sldId="2147471920"/>
            <ac:spMk id="27" creationId="{771F6EF9-F9A6-4003-B964-3A06DE72810E}"/>
          </ac:spMkLst>
        </pc:spChg>
        <pc:spChg chg="mod">
          <ac:chgData name="John Paserba" userId="77bd6c8a-d0c1-4fea-8705-0169f65d0c0e" providerId="ADAL" clId="{1001C0DD-7E82-4F82-A846-3EE15D16FE9F}" dt="2025-11-09T19:56:52.758" v="942"/>
          <ac:spMkLst>
            <pc:docMk/>
            <pc:sldMk cId="973862553" sldId="2147471920"/>
            <ac:spMk id="28" creationId="{3F1E07AF-1F50-45AF-A5FE-2C5A44B04E06}"/>
          </ac:spMkLst>
        </pc:spChg>
        <pc:spChg chg="mod">
          <ac:chgData name="John Paserba" userId="77bd6c8a-d0c1-4fea-8705-0169f65d0c0e" providerId="ADAL" clId="{1001C0DD-7E82-4F82-A846-3EE15D16FE9F}" dt="2025-11-09T19:56:52.758" v="942"/>
          <ac:spMkLst>
            <pc:docMk/>
            <pc:sldMk cId="973862553" sldId="2147471920"/>
            <ac:spMk id="29" creationId="{42647846-34AD-4800-BC65-ECAC280C2FE7}"/>
          </ac:spMkLst>
        </pc:spChg>
        <pc:grpChg chg="add mod">
          <ac:chgData name="John Paserba" userId="77bd6c8a-d0c1-4fea-8705-0169f65d0c0e" providerId="ADAL" clId="{1001C0DD-7E82-4F82-A846-3EE15D16FE9F}" dt="2025-11-09T19:56:52.758" v="942"/>
          <ac:grpSpMkLst>
            <pc:docMk/>
            <pc:sldMk cId="973862553" sldId="2147471920"/>
            <ac:grpSpMk id="9" creationId="{509B0318-386D-4606-B2AF-8CD6F83E3F41}"/>
          </ac:grpSpMkLst>
        </pc:grpChg>
        <pc:grpChg chg="mod">
          <ac:chgData name="John Paserba" userId="77bd6c8a-d0c1-4fea-8705-0169f65d0c0e" providerId="ADAL" clId="{1001C0DD-7E82-4F82-A846-3EE15D16FE9F}" dt="2025-11-09T19:56:52.758" v="942"/>
          <ac:grpSpMkLst>
            <pc:docMk/>
            <pc:sldMk cId="973862553" sldId="2147471920"/>
            <ac:grpSpMk id="13" creationId="{FEA0DF5D-72B7-465E-9376-48D784CDC691}"/>
          </ac:grpSpMkLst>
        </pc:grpChg>
        <pc:grpChg chg="mod">
          <ac:chgData name="John Paserba" userId="77bd6c8a-d0c1-4fea-8705-0169f65d0c0e" providerId="ADAL" clId="{1001C0DD-7E82-4F82-A846-3EE15D16FE9F}" dt="2025-11-09T19:56:52.758" v="942"/>
          <ac:grpSpMkLst>
            <pc:docMk/>
            <pc:sldMk cId="973862553" sldId="2147471920"/>
            <ac:grpSpMk id="15" creationId="{7CFC8500-08C3-42AD-85D3-C5932A75DE43}"/>
          </ac:grpSpMkLst>
        </pc:grpChg>
        <pc:grpChg chg="mod">
          <ac:chgData name="John Paserba" userId="77bd6c8a-d0c1-4fea-8705-0169f65d0c0e" providerId="ADAL" clId="{1001C0DD-7E82-4F82-A846-3EE15D16FE9F}" dt="2025-11-09T19:56:52.758" v="942"/>
          <ac:grpSpMkLst>
            <pc:docMk/>
            <pc:sldMk cId="973862553" sldId="2147471920"/>
            <ac:grpSpMk id="16" creationId="{804B99D4-DFA8-414F-8500-D869E1039691}"/>
          </ac:grpSpMkLst>
        </pc:grpChg>
        <pc:grpChg chg="mod">
          <ac:chgData name="John Paserba" userId="77bd6c8a-d0c1-4fea-8705-0169f65d0c0e" providerId="ADAL" clId="{1001C0DD-7E82-4F82-A846-3EE15D16FE9F}" dt="2025-11-09T19:56:52.758" v="942"/>
          <ac:grpSpMkLst>
            <pc:docMk/>
            <pc:sldMk cId="973862553" sldId="2147471920"/>
            <ac:grpSpMk id="19" creationId="{9AA59E6C-49E0-41D9-92DA-E29DAAEFBD1F}"/>
          </ac:grpSpMkLst>
        </pc:grpChg>
        <pc:picChg chg="del">
          <ac:chgData name="John Paserba" userId="77bd6c8a-d0c1-4fea-8705-0169f65d0c0e" providerId="ADAL" clId="{1001C0DD-7E82-4F82-A846-3EE15D16FE9F}" dt="2025-11-09T19:56:40.291" v="941" actId="478"/>
          <ac:picMkLst>
            <pc:docMk/>
            <pc:sldMk cId="973862553" sldId="2147471920"/>
            <ac:picMk id="7" creationId="{CE371D9D-9204-42F4-9E4D-13CBD971E2D1}"/>
          </ac:picMkLst>
        </pc:picChg>
        <pc:picChg chg="add mod ord">
          <ac:chgData name="John Paserba" userId="77bd6c8a-d0c1-4fea-8705-0169f65d0c0e" providerId="ADAL" clId="{1001C0DD-7E82-4F82-A846-3EE15D16FE9F}" dt="2025-11-09T19:57:15.156" v="949" actId="1076"/>
          <ac:picMkLst>
            <pc:docMk/>
            <pc:sldMk cId="973862553" sldId="2147471920"/>
            <ac:picMk id="8" creationId="{A544C900-031F-4EC8-9EC7-FF0547689FDD}"/>
          </ac:picMkLst>
        </pc:picChg>
        <pc:picChg chg="mod">
          <ac:chgData name="John Paserba" userId="77bd6c8a-d0c1-4fea-8705-0169f65d0c0e" providerId="ADAL" clId="{1001C0DD-7E82-4F82-A846-3EE15D16FE9F}" dt="2025-11-09T19:56:52.758" v="942"/>
          <ac:picMkLst>
            <pc:docMk/>
            <pc:sldMk cId="973862553" sldId="2147471920"/>
            <ac:picMk id="10" creationId="{E68A80DC-BF1D-4A76-B26B-F2203F46DC5C}"/>
          </ac:picMkLst>
        </pc:picChg>
        <pc:picChg chg="mod">
          <ac:chgData name="John Paserba" userId="77bd6c8a-d0c1-4fea-8705-0169f65d0c0e" providerId="ADAL" clId="{1001C0DD-7E82-4F82-A846-3EE15D16FE9F}" dt="2025-11-09T19:56:52.758" v="942"/>
          <ac:picMkLst>
            <pc:docMk/>
            <pc:sldMk cId="973862553" sldId="2147471920"/>
            <ac:picMk id="20" creationId="{D8547855-F43F-4E3E-8CED-5FACB5B93D85}"/>
          </ac:picMkLst>
        </pc:picChg>
        <pc:picChg chg="add mod">
          <ac:chgData name="John Paserba" userId="77bd6c8a-d0c1-4fea-8705-0169f65d0c0e" providerId="ADAL" clId="{1001C0DD-7E82-4F82-A846-3EE15D16FE9F}" dt="2025-11-09T19:57:09.779" v="948" actId="1076"/>
          <ac:picMkLst>
            <pc:docMk/>
            <pc:sldMk cId="973862553" sldId="2147471920"/>
            <ac:picMk id="30" creationId="{7C239E90-A284-4DAE-99AE-DC643C6896B9}"/>
          </ac:picMkLst>
        </pc:picChg>
      </pc:sldChg>
      <pc:sldChg chg="modSp mod">
        <pc:chgData name="John Paserba" userId="77bd6c8a-d0c1-4fea-8705-0169f65d0c0e" providerId="ADAL" clId="{1001C0DD-7E82-4F82-A846-3EE15D16FE9F}" dt="2025-11-09T20:14:16.842" v="1379" actId="255"/>
        <pc:sldMkLst>
          <pc:docMk/>
          <pc:sldMk cId="614062798" sldId="2147471921"/>
        </pc:sldMkLst>
        <pc:spChg chg="mod">
          <ac:chgData name="John Paserba" userId="77bd6c8a-d0c1-4fea-8705-0169f65d0c0e" providerId="ADAL" clId="{1001C0DD-7E82-4F82-A846-3EE15D16FE9F}" dt="2025-11-09T20:14:16.842" v="1379" actId="255"/>
          <ac:spMkLst>
            <pc:docMk/>
            <pc:sldMk cId="614062798" sldId="2147471921"/>
            <ac:spMk id="3328002" creationId="{00000000-0000-0000-0000-000000000000}"/>
          </ac:spMkLst>
        </pc:spChg>
      </pc:sldChg>
      <pc:sldChg chg="modSp mod">
        <pc:chgData name="John Paserba" userId="77bd6c8a-d0c1-4fea-8705-0169f65d0c0e" providerId="ADAL" clId="{1001C0DD-7E82-4F82-A846-3EE15D16FE9F}" dt="2025-11-09T20:14:18.889" v="1380" actId="255"/>
        <pc:sldMkLst>
          <pc:docMk/>
          <pc:sldMk cId="2123891597" sldId="2147471922"/>
        </pc:sldMkLst>
        <pc:spChg chg="mod">
          <ac:chgData name="John Paserba" userId="77bd6c8a-d0c1-4fea-8705-0169f65d0c0e" providerId="ADAL" clId="{1001C0DD-7E82-4F82-A846-3EE15D16FE9F}" dt="2025-11-09T20:14:18.889" v="1380" actId="255"/>
          <ac:spMkLst>
            <pc:docMk/>
            <pc:sldMk cId="2123891597" sldId="2147471922"/>
            <ac:spMk id="3328002" creationId="{00000000-0000-0000-0000-000000000000}"/>
          </ac:spMkLst>
        </pc:spChg>
      </pc:sldChg>
      <pc:sldChg chg="modSp del mod">
        <pc:chgData name="John Paserba" userId="77bd6c8a-d0c1-4fea-8705-0169f65d0c0e" providerId="ADAL" clId="{1001C0DD-7E82-4F82-A846-3EE15D16FE9F}" dt="2025-11-09T20:10:10.442" v="1297" actId="47"/>
        <pc:sldMkLst>
          <pc:docMk/>
          <pc:sldMk cId="3133137323" sldId="2147471923"/>
        </pc:sldMkLst>
        <pc:spChg chg="mod">
          <ac:chgData name="John Paserba" userId="77bd6c8a-d0c1-4fea-8705-0169f65d0c0e" providerId="ADAL" clId="{1001C0DD-7E82-4F82-A846-3EE15D16FE9F}" dt="2025-11-09T20:00:26.733" v="988"/>
          <ac:spMkLst>
            <pc:docMk/>
            <pc:sldMk cId="3133137323" sldId="2147471923"/>
            <ac:spMk id="3328002" creationId="{00000000-0000-0000-0000-000000000000}"/>
          </ac:spMkLst>
        </pc:spChg>
      </pc:sldChg>
      <pc:sldChg chg="modSp mod">
        <pc:chgData name="John Paserba" userId="77bd6c8a-d0c1-4fea-8705-0169f65d0c0e" providerId="ADAL" clId="{1001C0DD-7E82-4F82-A846-3EE15D16FE9F}" dt="2025-11-09T20:00:40.892" v="991" actId="255"/>
        <pc:sldMkLst>
          <pc:docMk/>
          <pc:sldMk cId="129383753" sldId="2147471924"/>
        </pc:sldMkLst>
        <pc:spChg chg="mod">
          <ac:chgData name="John Paserba" userId="77bd6c8a-d0c1-4fea-8705-0169f65d0c0e" providerId="ADAL" clId="{1001C0DD-7E82-4F82-A846-3EE15D16FE9F}" dt="2025-11-09T20:00:40.892" v="991" actId="255"/>
          <ac:spMkLst>
            <pc:docMk/>
            <pc:sldMk cId="129383753" sldId="2147471924"/>
            <ac:spMk id="3328002" creationId="{00000000-0000-0000-0000-000000000000}"/>
          </ac:spMkLst>
        </pc:spChg>
      </pc:sldChg>
      <pc:sldChg chg="modSp mod">
        <pc:chgData name="John Paserba" userId="77bd6c8a-d0c1-4fea-8705-0169f65d0c0e" providerId="ADAL" clId="{1001C0DD-7E82-4F82-A846-3EE15D16FE9F}" dt="2025-11-09T20:00:54.585" v="993" actId="255"/>
        <pc:sldMkLst>
          <pc:docMk/>
          <pc:sldMk cId="3074711567" sldId="2147471925"/>
        </pc:sldMkLst>
        <pc:spChg chg="mod">
          <ac:chgData name="John Paserba" userId="77bd6c8a-d0c1-4fea-8705-0169f65d0c0e" providerId="ADAL" clId="{1001C0DD-7E82-4F82-A846-3EE15D16FE9F}" dt="2025-11-09T20:00:54.585" v="993" actId="255"/>
          <ac:spMkLst>
            <pc:docMk/>
            <pc:sldMk cId="3074711567" sldId="2147471925"/>
            <ac:spMk id="3328002" creationId="{00000000-0000-0000-0000-000000000000}"/>
          </ac:spMkLst>
        </pc:spChg>
      </pc:sldChg>
      <pc:sldChg chg="modSp mod">
        <pc:chgData name="John Paserba" userId="77bd6c8a-d0c1-4fea-8705-0169f65d0c0e" providerId="ADAL" clId="{1001C0DD-7E82-4F82-A846-3EE15D16FE9F}" dt="2025-11-09T20:14:29.744" v="1382" actId="255"/>
        <pc:sldMkLst>
          <pc:docMk/>
          <pc:sldMk cId="67150594" sldId="2147471926"/>
        </pc:sldMkLst>
        <pc:spChg chg="mod">
          <ac:chgData name="John Paserba" userId="77bd6c8a-d0c1-4fea-8705-0169f65d0c0e" providerId="ADAL" clId="{1001C0DD-7E82-4F82-A846-3EE15D16FE9F}" dt="2025-11-09T20:14:29.744" v="1382" actId="255"/>
          <ac:spMkLst>
            <pc:docMk/>
            <pc:sldMk cId="67150594" sldId="2147471926"/>
            <ac:spMk id="3328002" creationId="{00000000-0000-0000-0000-000000000000}"/>
          </ac:spMkLst>
        </pc:spChg>
      </pc:sldChg>
      <pc:sldChg chg="modSp mod">
        <pc:chgData name="John Paserba" userId="77bd6c8a-d0c1-4fea-8705-0169f65d0c0e" providerId="ADAL" clId="{1001C0DD-7E82-4F82-A846-3EE15D16FE9F}" dt="2025-11-09T20:14:34.364" v="1383" actId="255"/>
        <pc:sldMkLst>
          <pc:docMk/>
          <pc:sldMk cId="3236663502" sldId="2147471927"/>
        </pc:sldMkLst>
        <pc:spChg chg="mod">
          <ac:chgData name="John Paserba" userId="77bd6c8a-d0c1-4fea-8705-0169f65d0c0e" providerId="ADAL" clId="{1001C0DD-7E82-4F82-A846-3EE15D16FE9F}" dt="2025-11-09T20:01:39.391" v="1021" actId="20577"/>
          <ac:spMkLst>
            <pc:docMk/>
            <pc:sldMk cId="3236663502" sldId="2147471927"/>
            <ac:spMk id="3" creationId="{E6993746-A424-4F09-867F-B919F4E18ECB}"/>
          </ac:spMkLst>
        </pc:spChg>
        <pc:spChg chg="mod">
          <ac:chgData name="John Paserba" userId="77bd6c8a-d0c1-4fea-8705-0169f65d0c0e" providerId="ADAL" clId="{1001C0DD-7E82-4F82-A846-3EE15D16FE9F}" dt="2025-11-09T20:14:34.364" v="1383" actId="255"/>
          <ac:spMkLst>
            <pc:docMk/>
            <pc:sldMk cId="3236663502" sldId="2147471927"/>
            <ac:spMk id="3328002" creationId="{00000000-0000-0000-0000-000000000000}"/>
          </ac:spMkLst>
        </pc:spChg>
      </pc:sldChg>
      <pc:sldChg chg="del">
        <pc:chgData name="John Paserba" userId="77bd6c8a-d0c1-4fea-8705-0169f65d0c0e" providerId="ADAL" clId="{1001C0DD-7E82-4F82-A846-3EE15D16FE9F}" dt="2025-11-09T20:01:46.505" v="1022" actId="47"/>
        <pc:sldMkLst>
          <pc:docMk/>
          <pc:sldMk cId="366350843" sldId="2147471928"/>
        </pc:sldMkLst>
      </pc:sldChg>
      <pc:sldChg chg="del">
        <pc:chgData name="John Paserba" userId="77bd6c8a-d0c1-4fea-8705-0169f65d0c0e" providerId="ADAL" clId="{1001C0DD-7E82-4F82-A846-3EE15D16FE9F}" dt="2025-11-09T20:01:48.684" v="1023" actId="47"/>
        <pc:sldMkLst>
          <pc:docMk/>
          <pc:sldMk cId="3835113710" sldId="2147471929"/>
        </pc:sldMkLst>
      </pc:sldChg>
      <pc:sldChg chg="modSp mod">
        <pc:chgData name="John Paserba" userId="77bd6c8a-d0c1-4fea-8705-0169f65d0c0e" providerId="ADAL" clId="{1001C0DD-7E82-4F82-A846-3EE15D16FE9F}" dt="2025-11-09T20:14:36.289" v="1384" actId="255"/>
        <pc:sldMkLst>
          <pc:docMk/>
          <pc:sldMk cId="3238731818" sldId="2147471930"/>
        </pc:sldMkLst>
        <pc:spChg chg="mod">
          <ac:chgData name="John Paserba" userId="77bd6c8a-d0c1-4fea-8705-0169f65d0c0e" providerId="ADAL" clId="{1001C0DD-7E82-4F82-A846-3EE15D16FE9F}" dt="2025-11-09T20:14:36.289" v="1384" actId="255"/>
          <ac:spMkLst>
            <pc:docMk/>
            <pc:sldMk cId="3238731818" sldId="2147471930"/>
            <ac:spMk id="3328002" creationId="{00000000-0000-0000-0000-000000000000}"/>
          </ac:spMkLst>
        </pc:spChg>
      </pc:sldChg>
      <pc:sldChg chg="modSp mod">
        <pc:chgData name="John Paserba" userId="77bd6c8a-d0c1-4fea-8705-0169f65d0c0e" providerId="ADAL" clId="{1001C0DD-7E82-4F82-A846-3EE15D16FE9F}" dt="2025-11-09T20:14:38.524" v="1385" actId="255"/>
        <pc:sldMkLst>
          <pc:docMk/>
          <pc:sldMk cId="2084949023" sldId="2147471931"/>
        </pc:sldMkLst>
        <pc:spChg chg="mod">
          <ac:chgData name="John Paserba" userId="77bd6c8a-d0c1-4fea-8705-0169f65d0c0e" providerId="ADAL" clId="{1001C0DD-7E82-4F82-A846-3EE15D16FE9F}" dt="2025-11-09T20:14:38.524" v="1385" actId="255"/>
          <ac:spMkLst>
            <pc:docMk/>
            <pc:sldMk cId="2084949023" sldId="2147471931"/>
            <ac:spMk id="3328002" creationId="{00000000-0000-0000-0000-000000000000}"/>
          </ac:spMkLst>
        </pc:spChg>
      </pc:sldChg>
      <pc:sldChg chg="modSp mod">
        <pc:chgData name="John Paserba" userId="77bd6c8a-d0c1-4fea-8705-0169f65d0c0e" providerId="ADAL" clId="{1001C0DD-7E82-4F82-A846-3EE15D16FE9F}" dt="2025-11-09T20:14:40.721" v="1386" actId="255"/>
        <pc:sldMkLst>
          <pc:docMk/>
          <pc:sldMk cId="1417382633" sldId="2147471932"/>
        </pc:sldMkLst>
        <pc:spChg chg="mod">
          <ac:chgData name="John Paserba" userId="77bd6c8a-d0c1-4fea-8705-0169f65d0c0e" providerId="ADAL" clId="{1001C0DD-7E82-4F82-A846-3EE15D16FE9F}" dt="2025-11-09T20:14:40.721" v="1386" actId="255"/>
          <ac:spMkLst>
            <pc:docMk/>
            <pc:sldMk cId="1417382633" sldId="2147471932"/>
            <ac:spMk id="3328002" creationId="{00000000-0000-0000-0000-000000000000}"/>
          </ac:spMkLst>
        </pc:spChg>
      </pc:sldChg>
      <pc:sldChg chg="modSp mod">
        <pc:chgData name="John Paserba" userId="77bd6c8a-d0c1-4fea-8705-0169f65d0c0e" providerId="ADAL" clId="{1001C0DD-7E82-4F82-A846-3EE15D16FE9F}" dt="2025-11-09T20:14:44.435" v="1387" actId="255"/>
        <pc:sldMkLst>
          <pc:docMk/>
          <pc:sldMk cId="1427509393" sldId="2147471933"/>
        </pc:sldMkLst>
        <pc:spChg chg="mod">
          <ac:chgData name="John Paserba" userId="77bd6c8a-d0c1-4fea-8705-0169f65d0c0e" providerId="ADAL" clId="{1001C0DD-7E82-4F82-A846-3EE15D16FE9F}" dt="2025-11-09T20:14:44.435" v="1387" actId="255"/>
          <ac:spMkLst>
            <pc:docMk/>
            <pc:sldMk cId="1427509393" sldId="2147471933"/>
            <ac:spMk id="3328002" creationId="{00000000-0000-0000-0000-000000000000}"/>
          </ac:spMkLst>
        </pc:spChg>
      </pc:sldChg>
      <pc:sldChg chg="modSp mod">
        <pc:chgData name="John Paserba" userId="77bd6c8a-d0c1-4fea-8705-0169f65d0c0e" providerId="ADAL" clId="{1001C0DD-7E82-4F82-A846-3EE15D16FE9F}" dt="2025-11-09T20:14:47.954" v="1388" actId="255"/>
        <pc:sldMkLst>
          <pc:docMk/>
          <pc:sldMk cId="1847718276" sldId="2147471934"/>
        </pc:sldMkLst>
        <pc:spChg chg="mod">
          <ac:chgData name="John Paserba" userId="77bd6c8a-d0c1-4fea-8705-0169f65d0c0e" providerId="ADAL" clId="{1001C0DD-7E82-4F82-A846-3EE15D16FE9F}" dt="2025-11-09T20:14:47.954" v="1388" actId="255"/>
          <ac:spMkLst>
            <pc:docMk/>
            <pc:sldMk cId="1847718276" sldId="2147471934"/>
            <ac:spMk id="3328002" creationId="{00000000-0000-0000-0000-000000000000}"/>
          </ac:spMkLst>
        </pc:spChg>
      </pc:sldChg>
      <pc:sldChg chg="modSp del mod">
        <pc:chgData name="John Paserba" userId="77bd6c8a-d0c1-4fea-8705-0169f65d0c0e" providerId="ADAL" clId="{1001C0DD-7E82-4F82-A846-3EE15D16FE9F}" dt="2025-11-09T20:08:21.503" v="1223" actId="47"/>
        <pc:sldMkLst>
          <pc:docMk/>
          <pc:sldMk cId="2960991000" sldId="2147471935"/>
        </pc:sldMkLst>
        <pc:spChg chg="mod">
          <ac:chgData name="John Paserba" userId="77bd6c8a-d0c1-4fea-8705-0169f65d0c0e" providerId="ADAL" clId="{1001C0DD-7E82-4F82-A846-3EE15D16FE9F}" dt="2025-11-09T20:02:47.803" v="1096"/>
          <ac:spMkLst>
            <pc:docMk/>
            <pc:sldMk cId="2960991000" sldId="2147471935"/>
            <ac:spMk id="3328002" creationId="{00000000-0000-0000-0000-000000000000}"/>
          </ac:spMkLst>
        </pc:spChg>
      </pc:sldChg>
      <pc:sldChg chg="modSp mod">
        <pc:chgData name="John Paserba" userId="77bd6c8a-d0c1-4fea-8705-0169f65d0c0e" providerId="ADAL" clId="{1001C0DD-7E82-4F82-A846-3EE15D16FE9F}" dt="2025-11-09T20:14:59.127" v="1389" actId="255"/>
        <pc:sldMkLst>
          <pc:docMk/>
          <pc:sldMk cId="4137871773" sldId="2147471936"/>
        </pc:sldMkLst>
        <pc:spChg chg="mod">
          <ac:chgData name="John Paserba" userId="77bd6c8a-d0c1-4fea-8705-0169f65d0c0e" providerId="ADAL" clId="{1001C0DD-7E82-4F82-A846-3EE15D16FE9F}" dt="2025-11-09T20:14:59.127" v="1389" actId="255"/>
          <ac:spMkLst>
            <pc:docMk/>
            <pc:sldMk cId="4137871773" sldId="2147471936"/>
            <ac:spMk id="3328002" creationId="{00000000-0000-0000-0000-000000000000}"/>
          </ac:spMkLst>
        </pc:spChg>
      </pc:sldChg>
      <pc:sldChg chg="modSp mod">
        <pc:chgData name="John Paserba" userId="77bd6c8a-d0c1-4fea-8705-0169f65d0c0e" providerId="ADAL" clId="{1001C0DD-7E82-4F82-A846-3EE15D16FE9F}" dt="2025-11-09T20:03:13.414" v="1101" actId="255"/>
        <pc:sldMkLst>
          <pc:docMk/>
          <pc:sldMk cId="2198340705" sldId="2147471937"/>
        </pc:sldMkLst>
        <pc:spChg chg="mod">
          <ac:chgData name="John Paserba" userId="77bd6c8a-d0c1-4fea-8705-0169f65d0c0e" providerId="ADAL" clId="{1001C0DD-7E82-4F82-A846-3EE15D16FE9F}" dt="2025-11-09T20:03:13.414" v="1101" actId="255"/>
          <ac:spMkLst>
            <pc:docMk/>
            <pc:sldMk cId="2198340705" sldId="2147471937"/>
            <ac:spMk id="3328002" creationId="{00000000-0000-0000-0000-000000000000}"/>
          </ac:spMkLst>
        </pc:spChg>
      </pc:sldChg>
      <pc:sldChg chg="modSp mod">
        <pc:chgData name="John Paserba" userId="77bd6c8a-d0c1-4fea-8705-0169f65d0c0e" providerId="ADAL" clId="{1001C0DD-7E82-4F82-A846-3EE15D16FE9F}" dt="2025-11-09T20:15:05.667" v="1390" actId="255"/>
        <pc:sldMkLst>
          <pc:docMk/>
          <pc:sldMk cId="3618819800" sldId="2147471938"/>
        </pc:sldMkLst>
        <pc:spChg chg="mod">
          <ac:chgData name="John Paserba" userId="77bd6c8a-d0c1-4fea-8705-0169f65d0c0e" providerId="ADAL" clId="{1001C0DD-7E82-4F82-A846-3EE15D16FE9F}" dt="2025-11-09T20:15:05.667" v="1390" actId="255"/>
          <ac:spMkLst>
            <pc:docMk/>
            <pc:sldMk cId="3618819800" sldId="2147471938"/>
            <ac:spMk id="3328002" creationId="{00000000-0000-0000-0000-000000000000}"/>
          </ac:spMkLst>
        </pc:spChg>
      </pc:sldChg>
      <pc:sldChg chg="modSp mod">
        <pc:chgData name="John Paserba" userId="77bd6c8a-d0c1-4fea-8705-0169f65d0c0e" providerId="ADAL" clId="{1001C0DD-7E82-4F82-A846-3EE15D16FE9F}" dt="2025-11-09T20:15:11.482" v="1391" actId="255"/>
        <pc:sldMkLst>
          <pc:docMk/>
          <pc:sldMk cId="1868943474" sldId="2147471939"/>
        </pc:sldMkLst>
        <pc:spChg chg="mod">
          <ac:chgData name="John Paserba" userId="77bd6c8a-d0c1-4fea-8705-0169f65d0c0e" providerId="ADAL" clId="{1001C0DD-7E82-4F82-A846-3EE15D16FE9F}" dt="2025-11-09T20:15:11.482" v="1391" actId="255"/>
          <ac:spMkLst>
            <pc:docMk/>
            <pc:sldMk cId="1868943474" sldId="2147471939"/>
            <ac:spMk id="3328002" creationId="{00000000-0000-0000-0000-000000000000}"/>
          </ac:spMkLst>
        </pc:spChg>
      </pc:sldChg>
      <pc:sldChg chg="modSp mod">
        <pc:chgData name="John Paserba" userId="77bd6c8a-d0c1-4fea-8705-0169f65d0c0e" providerId="ADAL" clId="{1001C0DD-7E82-4F82-A846-3EE15D16FE9F}" dt="2025-11-09T20:15:13.563" v="1392" actId="255"/>
        <pc:sldMkLst>
          <pc:docMk/>
          <pc:sldMk cId="2098502483" sldId="2147471940"/>
        </pc:sldMkLst>
        <pc:spChg chg="mod">
          <ac:chgData name="John Paserba" userId="77bd6c8a-d0c1-4fea-8705-0169f65d0c0e" providerId="ADAL" clId="{1001C0DD-7E82-4F82-A846-3EE15D16FE9F}" dt="2025-11-09T20:15:13.563" v="1392" actId="255"/>
          <ac:spMkLst>
            <pc:docMk/>
            <pc:sldMk cId="2098502483" sldId="2147471940"/>
            <ac:spMk id="3328002" creationId="{00000000-0000-0000-0000-000000000000}"/>
          </ac:spMkLst>
        </pc:spChg>
      </pc:sldChg>
      <pc:sldChg chg="modSp del mod">
        <pc:chgData name="John Paserba" userId="77bd6c8a-d0c1-4fea-8705-0169f65d0c0e" providerId="ADAL" clId="{1001C0DD-7E82-4F82-A846-3EE15D16FE9F}" dt="2025-11-09T20:48:23.829" v="1430" actId="47"/>
        <pc:sldMkLst>
          <pc:docMk/>
          <pc:sldMk cId="4111672575" sldId="2147471941"/>
        </pc:sldMkLst>
        <pc:spChg chg="mod">
          <ac:chgData name="John Paserba" userId="77bd6c8a-d0c1-4fea-8705-0169f65d0c0e" providerId="ADAL" clId="{1001C0DD-7E82-4F82-A846-3EE15D16FE9F}" dt="2025-11-09T20:15:43.276" v="1397" actId="2711"/>
          <ac:spMkLst>
            <pc:docMk/>
            <pc:sldMk cId="4111672575" sldId="2147471941"/>
            <ac:spMk id="3328002" creationId="{00000000-0000-0000-0000-000000000000}"/>
          </ac:spMkLst>
        </pc:spChg>
      </pc:sldChg>
      <pc:sldChg chg="modSp mod">
        <pc:chgData name="John Paserba" userId="77bd6c8a-d0c1-4fea-8705-0169f65d0c0e" providerId="ADAL" clId="{1001C0DD-7E82-4F82-A846-3EE15D16FE9F}" dt="2025-11-09T20:04:05.866" v="1122" actId="255"/>
        <pc:sldMkLst>
          <pc:docMk/>
          <pc:sldMk cId="3944055538" sldId="2147471942"/>
        </pc:sldMkLst>
        <pc:spChg chg="mod">
          <ac:chgData name="John Paserba" userId="77bd6c8a-d0c1-4fea-8705-0169f65d0c0e" providerId="ADAL" clId="{1001C0DD-7E82-4F82-A846-3EE15D16FE9F}" dt="2025-11-09T20:04:05.866" v="1122" actId="255"/>
          <ac:spMkLst>
            <pc:docMk/>
            <pc:sldMk cId="3944055538" sldId="2147471942"/>
            <ac:spMk id="3328002" creationId="{00000000-0000-0000-0000-000000000000}"/>
          </ac:spMkLst>
        </pc:spChg>
      </pc:sldChg>
      <pc:sldChg chg="modSp mod">
        <pc:chgData name="John Paserba" userId="77bd6c8a-d0c1-4fea-8705-0169f65d0c0e" providerId="ADAL" clId="{1001C0DD-7E82-4F82-A846-3EE15D16FE9F}" dt="2025-11-09T20:04:19.079" v="1125" actId="255"/>
        <pc:sldMkLst>
          <pc:docMk/>
          <pc:sldMk cId="3232273073" sldId="2147471943"/>
        </pc:sldMkLst>
        <pc:spChg chg="mod">
          <ac:chgData name="John Paserba" userId="77bd6c8a-d0c1-4fea-8705-0169f65d0c0e" providerId="ADAL" clId="{1001C0DD-7E82-4F82-A846-3EE15D16FE9F}" dt="2025-11-09T20:04:19.079" v="1125" actId="255"/>
          <ac:spMkLst>
            <pc:docMk/>
            <pc:sldMk cId="3232273073" sldId="2147471943"/>
            <ac:spMk id="3328002" creationId="{00000000-0000-0000-0000-000000000000}"/>
          </ac:spMkLst>
        </pc:spChg>
      </pc:sldChg>
      <pc:sldChg chg="modSp mod">
        <pc:chgData name="John Paserba" userId="77bd6c8a-d0c1-4fea-8705-0169f65d0c0e" providerId="ADAL" clId="{1001C0DD-7E82-4F82-A846-3EE15D16FE9F}" dt="2025-11-09T20:15:54.683" v="1398" actId="255"/>
        <pc:sldMkLst>
          <pc:docMk/>
          <pc:sldMk cId="518951601" sldId="2147471944"/>
        </pc:sldMkLst>
        <pc:spChg chg="mod">
          <ac:chgData name="John Paserba" userId="77bd6c8a-d0c1-4fea-8705-0169f65d0c0e" providerId="ADAL" clId="{1001C0DD-7E82-4F82-A846-3EE15D16FE9F}" dt="2025-11-09T20:15:54.683" v="1398" actId="255"/>
          <ac:spMkLst>
            <pc:docMk/>
            <pc:sldMk cId="518951601" sldId="2147471944"/>
            <ac:spMk id="3328002" creationId="{00000000-0000-0000-0000-000000000000}"/>
          </ac:spMkLst>
        </pc:spChg>
      </pc:sldChg>
      <pc:sldChg chg="modSp mod">
        <pc:chgData name="John Paserba" userId="77bd6c8a-d0c1-4fea-8705-0169f65d0c0e" providerId="ADAL" clId="{1001C0DD-7E82-4F82-A846-3EE15D16FE9F}" dt="2025-11-09T20:16:00.905" v="1399" actId="255"/>
        <pc:sldMkLst>
          <pc:docMk/>
          <pc:sldMk cId="100192432" sldId="2147471945"/>
        </pc:sldMkLst>
        <pc:spChg chg="mod">
          <ac:chgData name="John Paserba" userId="77bd6c8a-d0c1-4fea-8705-0169f65d0c0e" providerId="ADAL" clId="{1001C0DD-7E82-4F82-A846-3EE15D16FE9F}" dt="2025-11-09T20:16:00.905" v="1399" actId="255"/>
          <ac:spMkLst>
            <pc:docMk/>
            <pc:sldMk cId="100192432" sldId="2147471945"/>
            <ac:spMk id="3328002" creationId="{00000000-0000-0000-0000-000000000000}"/>
          </ac:spMkLst>
        </pc:spChg>
      </pc:sldChg>
      <pc:sldChg chg="add del">
        <pc:chgData name="John Paserba" userId="77bd6c8a-d0c1-4fea-8705-0169f65d0c0e" providerId="ADAL" clId="{1001C0DD-7E82-4F82-A846-3EE15D16FE9F}" dt="2025-11-09T20:03:44.990" v="1104"/>
        <pc:sldMkLst>
          <pc:docMk/>
          <pc:sldMk cId="2534910143" sldId="2147471945"/>
        </pc:sldMkLst>
      </pc:sldChg>
      <pc:sldChg chg="modSp mod">
        <pc:chgData name="John Paserba" userId="77bd6c8a-d0c1-4fea-8705-0169f65d0c0e" providerId="ADAL" clId="{1001C0DD-7E82-4F82-A846-3EE15D16FE9F}" dt="2025-11-09T20:16:04.731" v="1400" actId="255"/>
        <pc:sldMkLst>
          <pc:docMk/>
          <pc:sldMk cId="2662749527" sldId="2147471946"/>
        </pc:sldMkLst>
        <pc:spChg chg="mod">
          <ac:chgData name="John Paserba" userId="77bd6c8a-d0c1-4fea-8705-0169f65d0c0e" providerId="ADAL" clId="{1001C0DD-7E82-4F82-A846-3EE15D16FE9F}" dt="2025-11-09T20:16:04.731" v="1400" actId="255"/>
          <ac:spMkLst>
            <pc:docMk/>
            <pc:sldMk cId="2662749527" sldId="2147471946"/>
            <ac:spMk id="3328002" creationId="{00000000-0000-0000-0000-000000000000}"/>
          </ac:spMkLst>
        </pc:spChg>
      </pc:sldChg>
      <pc:sldChg chg="add del">
        <pc:chgData name="John Paserba" userId="77bd6c8a-d0c1-4fea-8705-0169f65d0c0e" providerId="ADAL" clId="{1001C0DD-7E82-4F82-A846-3EE15D16FE9F}" dt="2025-11-09T20:03:44.990" v="1104"/>
        <pc:sldMkLst>
          <pc:docMk/>
          <pc:sldMk cId="3992395767" sldId="2147471946"/>
        </pc:sldMkLst>
      </pc:sldChg>
      <pc:sldChg chg="modSp del mod">
        <pc:chgData name="John Paserba" userId="77bd6c8a-d0c1-4fea-8705-0169f65d0c0e" providerId="ADAL" clId="{1001C0DD-7E82-4F82-A846-3EE15D16FE9F}" dt="2025-11-09T20:48:28.693" v="1431" actId="47"/>
        <pc:sldMkLst>
          <pc:docMk/>
          <pc:sldMk cId="2017679628" sldId="2147471947"/>
        </pc:sldMkLst>
        <pc:spChg chg="mod">
          <ac:chgData name="John Paserba" userId="77bd6c8a-d0c1-4fea-8705-0169f65d0c0e" providerId="ADAL" clId="{1001C0DD-7E82-4F82-A846-3EE15D16FE9F}" dt="2025-11-09T20:16:09.485" v="1401" actId="255"/>
          <ac:spMkLst>
            <pc:docMk/>
            <pc:sldMk cId="2017679628" sldId="2147471947"/>
            <ac:spMk id="3328002" creationId="{00000000-0000-0000-0000-000000000000}"/>
          </ac:spMkLst>
        </pc:spChg>
      </pc:sldChg>
      <pc:sldChg chg="add del">
        <pc:chgData name="John Paserba" userId="77bd6c8a-d0c1-4fea-8705-0169f65d0c0e" providerId="ADAL" clId="{1001C0DD-7E82-4F82-A846-3EE15D16FE9F}" dt="2025-11-09T20:03:44.990" v="1104"/>
        <pc:sldMkLst>
          <pc:docMk/>
          <pc:sldMk cId="2845504901" sldId="2147471947"/>
        </pc:sldMkLst>
      </pc:sldChg>
      <pc:sldChg chg="add del">
        <pc:chgData name="John Paserba" userId="77bd6c8a-d0c1-4fea-8705-0169f65d0c0e" providerId="ADAL" clId="{1001C0DD-7E82-4F82-A846-3EE15D16FE9F}" dt="2025-11-09T20:03:44.990" v="1104"/>
        <pc:sldMkLst>
          <pc:docMk/>
          <pc:sldMk cId="1621529051" sldId="2147471948"/>
        </pc:sldMkLst>
      </pc:sldChg>
      <pc:sldChg chg="modSp mod">
        <pc:chgData name="John Paserba" userId="77bd6c8a-d0c1-4fea-8705-0169f65d0c0e" providerId="ADAL" clId="{1001C0DD-7E82-4F82-A846-3EE15D16FE9F}" dt="2025-11-09T20:05:35.858" v="1183" actId="255"/>
        <pc:sldMkLst>
          <pc:docMk/>
          <pc:sldMk cId="3123541414" sldId="2147471948"/>
        </pc:sldMkLst>
        <pc:spChg chg="mod">
          <ac:chgData name="John Paserba" userId="77bd6c8a-d0c1-4fea-8705-0169f65d0c0e" providerId="ADAL" clId="{1001C0DD-7E82-4F82-A846-3EE15D16FE9F}" dt="2025-11-09T20:05:35.858" v="1183" actId="255"/>
          <ac:spMkLst>
            <pc:docMk/>
            <pc:sldMk cId="3123541414" sldId="2147471948"/>
            <ac:spMk id="3328002" creationId="{00000000-0000-0000-0000-000000000000}"/>
          </ac:spMkLst>
        </pc:spChg>
      </pc:sldChg>
      <pc:sldChg chg="modSp mod">
        <pc:chgData name="John Paserba" userId="77bd6c8a-d0c1-4fea-8705-0169f65d0c0e" providerId="ADAL" clId="{1001C0DD-7E82-4F82-A846-3EE15D16FE9F}" dt="2025-11-09T20:05:55.291" v="1187" actId="255"/>
        <pc:sldMkLst>
          <pc:docMk/>
          <pc:sldMk cId="2359544575" sldId="2147471949"/>
        </pc:sldMkLst>
        <pc:spChg chg="mod">
          <ac:chgData name="John Paserba" userId="77bd6c8a-d0c1-4fea-8705-0169f65d0c0e" providerId="ADAL" clId="{1001C0DD-7E82-4F82-A846-3EE15D16FE9F}" dt="2025-11-09T20:05:55.291" v="1187" actId="255"/>
          <ac:spMkLst>
            <pc:docMk/>
            <pc:sldMk cId="2359544575" sldId="2147471949"/>
            <ac:spMk id="3328002" creationId="{00000000-0000-0000-0000-000000000000}"/>
          </ac:spMkLst>
        </pc:spChg>
      </pc:sldChg>
      <pc:sldChg chg="add del">
        <pc:chgData name="John Paserba" userId="77bd6c8a-d0c1-4fea-8705-0169f65d0c0e" providerId="ADAL" clId="{1001C0DD-7E82-4F82-A846-3EE15D16FE9F}" dt="2025-11-09T20:03:44.990" v="1104"/>
        <pc:sldMkLst>
          <pc:docMk/>
          <pc:sldMk cId="2798704324" sldId="2147471949"/>
        </pc:sldMkLst>
      </pc:sldChg>
      <pc:sldChg chg="modSp mod">
        <pc:chgData name="John Paserba" userId="77bd6c8a-d0c1-4fea-8705-0169f65d0c0e" providerId="ADAL" clId="{1001C0DD-7E82-4F82-A846-3EE15D16FE9F}" dt="2025-11-09T20:16:23.771" v="1402" actId="255"/>
        <pc:sldMkLst>
          <pc:docMk/>
          <pc:sldMk cId="515857153" sldId="2147471950"/>
        </pc:sldMkLst>
        <pc:spChg chg="mod">
          <ac:chgData name="John Paserba" userId="77bd6c8a-d0c1-4fea-8705-0169f65d0c0e" providerId="ADAL" clId="{1001C0DD-7E82-4F82-A846-3EE15D16FE9F}" dt="2025-11-09T20:16:23.771" v="1402" actId="255"/>
          <ac:spMkLst>
            <pc:docMk/>
            <pc:sldMk cId="515857153" sldId="2147471950"/>
            <ac:spMk id="3328002" creationId="{00000000-0000-0000-0000-000000000000}"/>
          </ac:spMkLst>
        </pc:spChg>
      </pc:sldChg>
      <pc:sldChg chg="add del">
        <pc:chgData name="John Paserba" userId="77bd6c8a-d0c1-4fea-8705-0169f65d0c0e" providerId="ADAL" clId="{1001C0DD-7E82-4F82-A846-3EE15D16FE9F}" dt="2025-11-09T20:03:44.990" v="1104"/>
        <pc:sldMkLst>
          <pc:docMk/>
          <pc:sldMk cId="3049725129" sldId="2147471950"/>
        </pc:sldMkLst>
      </pc:sldChg>
      <pc:sldMasterChg chg="delSldLayout">
        <pc:chgData name="John Paserba" userId="77bd6c8a-d0c1-4fea-8705-0169f65d0c0e" providerId="ADAL" clId="{1001C0DD-7E82-4F82-A846-3EE15D16FE9F}" dt="2025-11-09T19:40:56.994" v="359" actId="47"/>
        <pc:sldMasterMkLst>
          <pc:docMk/>
          <pc:sldMasterMk cId="1284389399" sldId="2147483648"/>
        </pc:sldMasterMkLst>
        <pc:sldLayoutChg chg="del">
          <pc:chgData name="John Paserba" userId="77bd6c8a-d0c1-4fea-8705-0169f65d0c0e" providerId="ADAL" clId="{1001C0DD-7E82-4F82-A846-3EE15D16FE9F}" dt="2025-11-09T19:40:56.994" v="359" actId="47"/>
          <pc:sldLayoutMkLst>
            <pc:docMk/>
            <pc:sldMasterMk cId="1284389399" sldId="2147483648"/>
            <pc:sldLayoutMk cId="1486683297" sldId="2147483883"/>
          </pc:sldLayoutMkLst>
        </pc:sldLayoutChg>
        <pc:sldLayoutChg chg="del">
          <pc:chgData name="John Paserba" userId="77bd6c8a-d0c1-4fea-8705-0169f65d0c0e" providerId="ADAL" clId="{1001C0DD-7E82-4F82-A846-3EE15D16FE9F}" dt="2025-11-09T19:24:24.743" v="98" actId="47"/>
          <pc:sldLayoutMkLst>
            <pc:docMk/>
            <pc:sldMasterMk cId="1284389399" sldId="2147483648"/>
            <pc:sldLayoutMk cId="4178741756" sldId="2147483998"/>
          </pc:sldLayoutMkLst>
        </pc:sldLayoutChg>
        <pc:sldLayoutChg chg="del">
          <pc:chgData name="John Paserba" userId="77bd6c8a-d0c1-4fea-8705-0169f65d0c0e" providerId="ADAL" clId="{1001C0DD-7E82-4F82-A846-3EE15D16FE9F}" dt="2025-11-09T19:24:25.304" v="99" actId="47"/>
          <pc:sldLayoutMkLst>
            <pc:docMk/>
            <pc:sldMasterMk cId="1284389399" sldId="2147483648"/>
            <pc:sldLayoutMk cId="1694073093" sldId="2147483999"/>
          </pc:sldLayoutMkLst>
        </pc:sldLayoutChg>
      </pc:sldMasterChg>
      <pc:sldMasterChg chg="del delSldLayout">
        <pc:chgData name="John Paserba" userId="77bd6c8a-d0c1-4fea-8705-0169f65d0c0e" providerId="ADAL" clId="{1001C0DD-7E82-4F82-A846-3EE15D16FE9F}" dt="2025-11-09T19:26:33.255" v="119" actId="47"/>
        <pc:sldMasterMkLst>
          <pc:docMk/>
          <pc:sldMasterMk cId="991281960" sldId="2147483771"/>
        </pc:sldMasterMkLst>
        <pc:sldLayoutChg chg="del">
          <pc:chgData name="John Paserba" userId="77bd6c8a-d0c1-4fea-8705-0169f65d0c0e" providerId="ADAL" clId="{1001C0DD-7E82-4F82-A846-3EE15D16FE9F}" dt="2025-11-09T19:26:33.255" v="119" actId="47"/>
          <pc:sldLayoutMkLst>
            <pc:docMk/>
            <pc:sldMasterMk cId="991281960" sldId="2147483771"/>
            <pc:sldLayoutMk cId="4105933342" sldId="2147483772"/>
          </pc:sldLayoutMkLst>
        </pc:sldLayoutChg>
        <pc:sldLayoutChg chg="del">
          <pc:chgData name="John Paserba" userId="77bd6c8a-d0c1-4fea-8705-0169f65d0c0e" providerId="ADAL" clId="{1001C0DD-7E82-4F82-A846-3EE15D16FE9F}" dt="2025-11-09T19:26:33.255" v="119" actId="47"/>
          <pc:sldLayoutMkLst>
            <pc:docMk/>
            <pc:sldMasterMk cId="991281960" sldId="2147483771"/>
            <pc:sldLayoutMk cId="2366720186" sldId="2147483773"/>
          </pc:sldLayoutMkLst>
        </pc:sldLayoutChg>
        <pc:sldLayoutChg chg="del">
          <pc:chgData name="John Paserba" userId="77bd6c8a-d0c1-4fea-8705-0169f65d0c0e" providerId="ADAL" clId="{1001C0DD-7E82-4F82-A846-3EE15D16FE9F}" dt="2025-11-09T19:26:33.255" v="119" actId="47"/>
          <pc:sldLayoutMkLst>
            <pc:docMk/>
            <pc:sldMasterMk cId="991281960" sldId="2147483771"/>
            <pc:sldLayoutMk cId="1936214419" sldId="2147483774"/>
          </pc:sldLayoutMkLst>
        </pc:sldLayoutChg>
        <pc:sldLayoutChg chg="del">
          <pc:chgData name="John Paserba" userId="77bd6c8a-d0c1-4fea-8705-0169f65d0c0e" providerId="ADAL" clId="{1001C0DD-7E82-4F82-A846-3EE15D16FE9F}" dt="2025-11-09T19:26:33.255" v="119" actId="47"/>
          <pc:sldLayoutMkLst>
            <pc:docMk/>
            <pc:sldMasterMk cId="991281960" sldId="2147483771"/>
            <pc:sldLayoutMk cId="3697977313" sldId="2147483775"/>
          </pc:sldLayoutMkLst>
        </pc:sldLayoutChg>
        <pc:sldLayoutChg chg="del">
          <pc:chgData name="John Paserba" userId="77bd6c8a-d0c1-4fea-8705-0169f65d0c0e" providerId="ADAL" clId="{1001C0DD-7E82-4F82-A846-3EE15D16FE9F}" dt="2025-11-09T19:26:33.255" v="119" actId="47"/>
          <pc:sldLayoutMkLst>
            <pc:docMk/>
            <pc:sldMasterMk cId="991281960" sldId="2147483771"/>
            <pc:sldLayoutMk cId="1270708839" sldId="2147483776"/>
          </pc:sldLayoutMkLst>
        </pc:sldLayoutChg>
        <pc:sldLayoutChg chg="del">
          <pc:chgData name="John Paserba" userId="77bd6c8a-d0c1-4fea-8705-0169f65d0c0e" providerId="ADAL" clId="{1001C0DD-7E82-4F82-A846-3EE15D16FE9F}" dt="2025-11-09T19:26:33.255" v="119" actId="47"/>
          <pc:sldLayoutMkLst>
            <pc:docMk/>
            <pc:sldMasterMk cId="991281960" sldId="2147483771"/>
            <pc:sldLayoutMk cId="1747584695" sldId="2147483777"/>
          </pc:sldLayoutMkLst>
        </pc:sldLayoutChg>
        <pc:sldLayoutChg chg="del">
          <pc:chgData name="John Paserba" userId="77bd6c8a-d0c1-4fea-8705-0169f65d0c0e" providerId="ADAL" clId="{1001C0DD-7E82-4F82-A846-3EE15D16FE9F}" dt="2025-11-09T19:26:33.255" v="119" actId="47"/>
          <pc:sldLayoutMkLst>
            <pc:docMk/>
            <pc:sldMasterMk cId="991281960" sldId="2147483771"/>
            <pc:sldLayoutMk cId="3981643342" sldId="2147483778"/>
          </pc:sldLayoutMkLst>
        </pc:sldLayoutChg>
        <pc:sldLayoutChg chg="del">
          <pc:chgData name="John Paserba" userId="77bd6c8a-d0c1-4fea-8705-0169f65d0c0e" providerId="ADAL" clId="{1001C0DD-7E82-4F82-A846-3EE15D16FE9F}" dt="2025-11-09T19:26:33.255" v="119" actId="47"/>
          <pc:sldLayoutMkLst>
            <pc:docMk/>
            <pc:sldMasterMk cId="991281960" sldId="2147483771"/>
            <pc:sldLayoutMk cId="1954848298" sldId="2147483779"/>
          </pc:sldLayoutMkLst>
        </pc:sldLayoutChg>
        <pc:sldLayoutChg chg="del">
          <pc:chgData name="John Paserba" userId="77bd6c8a-d0c1-4fea-8705-0169f65d0c0e" providerId="ADAL" clId="{1001C0DD-7E82-4F82-A846-3EE15D16FE9F}" dt="2025-11-09T19:26:33.255" v="119" actId="47"/>
          <pc:sldLayoutMkLst>
            <pc:docMk/>
            <pc:sldMasterMk cId="991281960" sldId="2147483771"/>
            <pc:sldLayoutMk cId="3947100158" sldId="2147483780"/>
          </pc:sldLayoutMkLst>
        </pc:sldLayoutChg>
        <pc:sldLayoutChg chg="del">
          <pc:chgData name="John Paserba" userId="77bd6c8a-d0c1-4fea-8705-0169f65d0c0e" providerId="ADAL" clId="{1001C0DD-7E82-4F82-A846-3EE15D16FE9F}" dt="2025-11-09T19:26:33.255" v="119" actId="47"/>
          <pc:sldLayoutMkLst>
            <pc:docMk/>
            <pc:sldMasterMk cId="991281960" sldId="2147483771"/>
            <pc:sldLayoutMk cId="2202739233" sldId="2147483781"/>
          </pc:sldLayoutMkLst>
        </pc:sldLayoutChg>
        <pc:sldLayoutChg chg="del">
          <pc:chgData name="John Paserba" userId="77bd6c8a-d0c1-4fea-8705-0169f65d0c0e" providerId="ADAL" clId="{1001C0DD-7E82-4F82-A846-3EE15D16FE9F}" dt="2025-11-09T19:26:33.255" v="119" actId="47"/>
          <pc:sldLayoutMkLst>
            <pc:docMk/>
            <pc:sldMasterMk cId="991281960" sldId="2147483771"/>
            <pc:sldLayoutMk cId="3955235361" sldId="2147483782"/>
          </pc:sldLayoutMkLst>
        </pc:sldLayoutChg>
      </pc:sldMasterChg>
      <pc:sldMasterChg chg="del delSldLayout">
        <pc:chgData name="John Paserba" userId="77bd6c8a-d0c1-4fea-8705-0169f65d0c0e" providerId="ADAL" clId="{1001C0DD-7E82-4F82-A846-3EE15D16FE9F}" dt="2025-11-09T19:40:15.090" v="354" actId="47"/>
        <pc:sldMasterMkLst>
          <pc:docMk/>
          <pc:sldMasterMk cId="1884490074" sldId="2147483783"/>
        </pc:sldMasterMkLst>
        <pc:sldLayoutChg chg="del">
          <pc:chgData name="John Paserba" userId="77bd6c8a-d0c1-4fea-8705-0169f65d0c0e" providerId="ADAL" clId="{1001C0DD-7E82-4F82-A846-3EE15D16FE9F}" dt="2025-11-09T19:40:15.090" v="354" actId="47"/>
          <pc:sldLayoutMkLst>
            <pc:docMk/>
            <pc:sldMasterMk cId="1884490074" sldId="2147483783"/>
            <pc:sldLayoutMk cId="1203863289" sldId="2147483784"/>
          </pc:sldLayoutMkLst>
        </pc:sldLayoutChg>
        <pc:sldLayoutChg chg="del">
          <pc:chgData name="John Paserba" userId="77bd6c8a-d0c1-4fea-8705-0169f65d0c0e" providerId="ADAL" clId="{1001C0DD-7E82-4F82-A846-3EE15D16FE9F}" dt="2025-11-09T19:40:15.090" v="354" actId="47"/>
          <pc:sldLayoutMkLst>
            <pc:docMk/>
            <pc:sldMasterMk cId="1884490074" sldId="2147483783"/>
            <pc:sldLayoutMk cId="100492449" sldId="2147483785"/>
          </pc:sldLayoutMkLst>
        </pc:sldLayoutChg>
        <pc:sldLayoutChg chg="del">
          <pc:chgData name="John Paserba" userId="77bd6c8a-d0c1-4fea-8705-0169f65d0c0e" providerId="ADAL" clId="{1001C0DD-7E82-4F82-A846-3EE15D16FE9F}" dt="2025-11-09T19:40:15.090" v="354" actId="47"/>
          <pc:sldLayoutMkLst>
            <pc:docMk/>
            <pc:sldMasterMk cId="1884490074" sldId="2147483783"/>
            <pc:sldLayoutMk cId="1113948560" sldId="2147483786"/>
          </pc:sldLayoutMkLst>
        </pc:sldLayoutChg>
        <pc:sldLayoutChg chg="del">
          <pc:chgData name="John Paserba" userId="77bd6c8a-d0c1-4fea-8705-0169f65d0c0e" providerId="ADAL" clId="{1001C0DD-7E82-4F82-A846-3EE15D16FE9F}" dt="2025-11-09T19:40:15.090" v="354" actId="47"/>
          <pc:sldLayoutMkLst>
            <pc:docMk/>
            <pc:sldMasterMk cId="1884490074" sldId="2147483783"/>
            <pc:sldLayoutMk cId="3504196675" sldId="2147483787"/>
          </pc:sldLayoutMkLst>
        </pc:sldLayoutChg>
        <pc:sldLayoutChg chg="del">
          <pc:chgData name="John Paserba" userId="77bd6c8a-d0c1-4fea-8705-0169f65d0c0e" providerId="ADAL" clId="{1001C0DD-7E82-4F82-A846-3EE15D16FE9F}" dt="2025-11-09T19:40:15.090" v="354" actId="47"/>
          <pc:sldLayoutMkLst>
            <pc:docMk/>
            <pc:sldMasterMk cId="1884490074" sldId="2147483783"/>
            <pc:sldLayoutMk cId="1102718863" sldId="2147483788"/>
          </pc:sldLayoutMkLst>
        </pc:sldLayoutChg>
        <pc:sldLayoutChg chg="del">
          <pc:chgData name="John Paserba" userId="77bd6c8a-d0c1-4fea-8705-0169f65d0c0e" providerId="ADAL" clId="{1001C0DD-7E82-4F82-A846-3EE15D16FE9F}" dt="2025-11-09T19:40:15.090" v="354" actId="47"/>
          <pc:sldLayoutMkLst>
            <pc:docMk/>
            <pc:sldMasterMk cId="1884490074" sldId="2147483783"/>
            <pc:sldLayoutMk cId="2115274907" sldId="2147483789"/>
          </pc:sldLayoutMkLst>
        </pc:sldLayoutChg>
        <pc:sldLayoutChg chg="del">
          <pc:chgData name="John Paserba" userId="77bd6c8a-d0c1-4fea-8705-0169f65d0c0e" providerId="ADAL" clId="{1001C0DD-7E82-4F82-A846-3EE15D16FE9F}" dt="2025-11-09T19:40:15.090" v="354" actId="47"/>
          <pc:sldLayoutMkLst>
            <pc:docMk/>
            <pc:sldMasterMk cId="1884490074" sldId="2147483783"/>
            <pc:sldLayoutMk cId="799990360" sldId="2147483790"/>
          </pc:sldLayoutMkLst>
        </pc:sldLayoutChg>
        <pc:sldLayoutChg chg="del">
          <pc:chgData name="John Paserba" userId="77bd6c8a-d0c1-4fea-8705-0169f65d0c0e" providerId="ADAL" clId="{1001C0DD-7E82-4F82-A846-3EE15D16FE9F}" dt="2025-11-09T19:40:15.090" v="354" actId="47"/>
          <pc:sldLayoutMkLst>
            <pc:docMk/>
            <pc:sldMasterMk cId="1884490074" sldId="2147483783"/>
            <pc:sldLayoutMk cId="3366402083" sldId="2147483791"/>
          </pc:sldLayoutMkLst>
        </pc:sldLayoutChg>
        <pc:sldLayoutChg chg="del">
          <pc:chgData name="John Paserba" userId="77bd6c8a-d0c1-4fea-8705-0169f65d0c0e" providerId="ADAL" clId="{1001C0DD-7E82-4F82-A846-3EE15D16FE9F}" dt="2025-11-09T19:40:15.090" v="354" actId="47"/>
          <pc:sldLayoutMkLst>
            <pc:docMk/>
            <pc:sldMasterMk cId="1884490074" sldId="2147483783"/>
            <pc:sldLayoutMk cId="2562797859" sldId="2147483792"/>
          </pc:sldLayoutMkLst>
        </pc:sldLayoutChg>
        <pc:sldLayoutChg chg="del">
          <pc:chgData name="John Paserba" userId="77bd6c8a-d0c1-4fea-8705-0169f65d0c0e" providerId="ADAL" clId="{1001C0DD-7E82-4F82-A846-3EE15D16FE9F}" dt="2025-11-09T19:40:15.090" v="354" actId="47"/>
          <pc:sldLayoutMkLst>
            <pc:docMk/>
            <pc:sldMasterMk cId="1884490074" sldId="2147483783"/>
            <pc:sldLayoutMk cId="3788043784" sldId="2147483793"/>
          </pc:sldLayoutMkLst>
        </pc:sldLayoutChg>
        <pc:sldLayoutChg chg="del">
          <pc:chgData name="John Paserba" userId="77bd6c8a-d0c1-4fea-8705-0169f65d0c0e" providerId="ADAL" clId="{1001C0DD-7E82-4F82-A846-3EE15D16FE9F}" dt="2025-11-09T19:40:15.090" v="354" actId="47"/>
          <pc:sldLayoutMkLst>
            <pc:docMk/>
            <pc:sldMasterMk cId="1884490074" sldId="2147483783"/>
            <pc:sldLayoutMk cId="3940622077" sldId="2147483794"/>
          </pc:sldLayoutMkLst>
        </pc:sldLayoutChg>
        <pc:sldLayoutChg chg="del">
          <pc:chgData name="John Paserba" userId="77bd6c8a-d0c1-4fea-8705-0169f65d0c0e" providerId="ADAL" clId="{1001C0DD-7E82-4F82-A846-3EE15D16FE9F}" dt="2025-11-09T19:40:15.090" v="354" actId="47"/>
          <pc:sldLayoutMkLst>
            <pc:docMk/>
            <pc:sldMasterMk cId="1884490074" sldId="2147483783"/>
            <pc:sldLayoutMk cId="726771788" sldId="2147483795"/>
          </pc:sldLayoutMkLst>
        </pc:sldLayoutChg>
      </pc:sldMasterChg>
      <pc:sldMasterChg chg="del delSldLayout">
        <pc:chgData name="John Paserba" userId="77bd6c8a-d0c1-4fea-8705-0169f65d0c0e" providerId="ADAL" clId="{1001C0DD-7E82-4F82-A846-3EE15D16FE9F}" dt="2025-11-09T19:26:39.898" v="125" actId="47"/>
        <pc:sldMasterMkLst>
          <pc:docMk/>
          <pc:sldMasterMk cId="501761714" sldId="2147483835"/>
        </pc:sldMasterMkLst>
        <pc:sldLayoutChg chg="del">
          <pc:chgData name="John Paserba" userId="77bd6c8a-d0c1-4fea-8705-0169f65d0c0e" providerId="ADAL" clId="{1001C0DD-7E82-4F82-A846-3EE15D16FE9F}" dt="2025-11-09T19:26:39.898" v="125" actId="47"/>
          <pc:sldLayoutMkLst>
            <pc:docMk/>
            <pc:sldMasterMk cId="501761714" sldId="2147483835"/>
            <pc:sldLayoutMk cId="3821742816" sldId="2147483836"/>
          </pc:sldLayoutMkLst>
        </pc:sldLayoutChg>
        <pc:sldLayoutChg chg="del">
          <pc:chgData name="John Paserba" userId="77bd6c8a-d0c1-4fea-8705-0169f65d0c0e" providerId="ADAL" clId="{1001C0DD-7E82-4F82-A846-3EE15D16FE9F}" dt="2025-11-09T19:26:39.898" v="125" actId="47"/>
          <pc:sldLayoutMkLst>
            <pc:docMk/>
            <pc:sldMasterMk cId="501761714" sldId="2147483835"/>
            <pc:sldLayoutMk cId="134513277" sldId="2147483837"/>
          </pc:sldLayoutMkLst>
        </pc:sldLayoutChg>
        <pc:sldLayoutChg chg="del">
          <pc:chgData name="John Paserba" userId="77bd6c8a-d0c1-4fea-8705-0169f65d0c0e" providerId="ADAL" clId="{1001C0DD-7E82-4F82-A846-3EE15D16FE9F}" dt="2025-11-09T19:26:39.898" v="125" actId="47"/>
          <pc:sldLayoutMkLst>
            <pc:docMk/>
            <pc:sldMasterMk cId="501761714" sldId="2147483835"/>
            <pc:sldLayoutMk cId="2654419027" sldId="2147483838"/>
          </pc:sldLayoutMkLst>
        </pc:sldLayoutChg>
        <pc:sldLayoutChg chg="del">
          <pc:chgData name="John Paserba" userId="77bd6c8a-d0c1-4fea-8705-0169f65d0c0e" providerId="ADAL" clId="{1001C0DD-7E82-4F82-A846-3EE15D16FE9F}" dt="2025-11-09T19:26:39.898" v="125" actId="47"/>
          <pc:sldLayoutMkLst>
            <pc:docMk/>
            <pc:sldMasterMk cId="501761714" sldId="2147483835"/>
            <pc:sldLayoutMk cId="2817591512" sldId="2147483839"/>
          </pc:sldLayoutMkLst>
        </pc:sldLayoutChg>
        <pc:sldLayoutChg chg="del">
          <pc:chgData name="John Paserba" userId="77bd6c8a-d0c1-4fea-8705-0169f65d0c0e" providerId="ADAL" clId="{1001C0DD-7E82-4F82-A846-3EE15D16FE9F}" dt="2025-11-09T19:26:39.898" v="125" actId="47"/>
          <pc:sldLayoutMkLst>
            <pc:docMk/>
            <pc:sldMasterMk cId="501761714" sldId="2147483835"/>
            <pc:sldLayoutMk cId="3005777969" sldId="2147483840"/>
          </pc:sldLayoutMkLst>
        </pc:sldLayoutChg>
      </pc:sldMasterChg>
      <pc:sldMasterChg chg="del delSldLayout">
        <pc:chgData name="John Paserba" userId="77bd6c8a-d0c1-4fea-8705-0169f65d0c0e" providerId="ADAL" clId="{1001C0DD-7E82-4F82-A846-3EE15D16FE9F}" dt="2025-11-09T19:40:18.832" v="355" actId="47"/>
        <pc:sldMasterMkLst>
          <pc:docMk/>
          <pc:sldMasterMk cId="3145953692" sldId="2147483841"/>
        </pc:sldMasterMkLst>
        <pc:sldLayoutChg chg="del">
          <pc:chgData name="John Paserba" userId="77bd6c8a-d0c1-4fea-8705-0169f65d0c0e" providerId="ADAL" clId="{1001C0DD-7E82-4F82-A846-3EE15D16FE9F}" dt="2025-11-09T19:40:18.832" v="355" actId="47"/>
          <pc:sldLayoutMkLst>
            <pc:docMk/>
            <pc:sldMasterMk cId="3145953692" sldId="2147483841"/>
            <pc:sldLayoutMk cId="3351248966" sldId="2147483842"/>
          </pc:sldLayoutMkLst>
        </pc:sldLayoutChg>
        <pc:sldLayoutChg chg="del">
          <pc:chgData name="John Paserba" userId="77bd6c8a-d0c1-4fea-8705-0169f65d0c0e" providerId="ADAL" clId="{1001C0DD-7E82-4F82-A846-3EE15D16FE9F}" dt="2025-11-09T19:40:18.832" v="355" actId="47"/>
          <pc:sldLayoutMkLst>
            <pc:docMk/>
            <pc:sldMasterMk cId="3145953692" sldId="2147483841"/>
            <pc:sldLayoutMk cId="3917049175" sldId="2147483843"/>
          </pc:sldLayoutMkLst>
        </pc:sldLayoutChg>
      </pc:sldMasterChg>
      <pc:sldMasterChg chg="del delSldLayout">
        <pc:chgData name="John Paserba" userId="77bd6c8a-d0c1-4fea-8705-0169f65d0c0e" providerId="ADAL" clId="{1001C0DD-7E82-4F82-A846-3EE15D16FE9F}" dt="2025-11-09T19:27:44.275" v="204" actId="47"/>
        <pc:sldMasterMkLst>
          <pc:docMk/>
          <pc:sldMasterMk cId="1001239418" sldId="2147483845"/>
        </pc:sldMasterMkLst>
        <pc:sldLayoutChg chg="del">
          <pc:chgData name="John Paserba" userId="77bd6c8a-d0c1-4fea-8705-0169f65d0c0e" providerId="ADAL" clId="{1001C0DD-7E82-4F82-A846-3EE15D16FE9F}" dt="2025-11-09T19:27:44.275" v="204" actId="47"/>
          <pc:sldLayoutMkLst>
            <pc:docMk/>
            <pc:sldMasterMk cId="1001239418" sldId="2147483845"/>
            <pc:sldLayoutMk cId="586765636" sldId="2147483846"/>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3932631377" sldId="2147483847"/>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3286792795" sldId="2147483848"/>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1772826720" sldId="2147483849"/>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3010940057" sldId="2147483850"/>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1688989571" sldId="2147483851"/>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900919684" sldId="2147483852"/>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2755864516" sldId="2147483853"/>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2353996902" sldId="2147483854"/>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4185414152" sldId="2147483855"/>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1501741489" sldId="2147483856"/>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4027214882" sldId="2147483857"/>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2979434550" sldId="2147483858"/>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684224446" sldId="2147483859"/>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487554478" sldId="2147483860"/>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1925270864" sldId="2147483861"/>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1233491416" sldId="2147483862"/>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2442379375" sldId="2147483863"/>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651414781" sldId="2147483864"/>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1702028133" sldId="2147483865"/>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1133950061" sldId="2147483866"/>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1387416430" sldId="2147483867"/>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2391161078" sldId="2147483868"/>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3273378385" sldId="2147483869"/>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696890807" sldId="2147483870"/>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2556348987" sldId="2147483871"/>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3004028875" sldId="2147483872"/>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805180977" sldId="2147483873"/>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2940780993" sldId="2147483874"/>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2323097757" sldId="2147483875"/>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1851203231" sldId="2147483876"/>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576179147" sldId="2147483877"/>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3935890942" sldId="2147483878"/>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1033172637" sldId="2147483879"/>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2020602816" sldId="2147483880"/>
          </pc:sldLayoutMkLst>
        </pc:sldLayoutChg>
        <pc:sldLayoutChg chg="del">
          <pc:chgData name="John Paserba" userId="77bd6c8a-d0c1-4fea-8705-0169f65d0c0e" providerId="ADAL" clId="{1001C0DD-7E82-4F82-A846-3EE15D16FE9F}" dt="2025-11-09T19:27:44.275" v="204" actId="47"/>
          <pc:sldLayoutMkLst>
            <pc:docMk/>
            <pc:sldMasterMk cId="1001239418" sldId="2147483845"/>
            <pc:sldLayoutMk cId="2878405183" sldId="2147483881"/>
          </pc:sldLayoutMkLst>
        </pc:sldLayoutChg>
        <pc:sldLayoutChg chg="del">
          <pc:chgData name="John Paserba" userId="77bd6c8a-d0c1-4fea-8705-0169f65d0c0e" providerId="ADAL" clId="{1001C0DD-7E82-4F82-A846-3EE15D16FE9F}" dt="2025-11-09T19:27:24.964" v="192" actId="47"/>
          <pc:sldLayoutMkLst>
            <pc:docMk/>
            <pc:sldMasterMk cId="1001239418" sldId="2147483845"/>
            <pc:sldLayoutMk cId="3017028130" sldId="2147483959"/>
          </pc:sldLayoutMkLst>
        </pc:sldLayoutChg>
      </pc:sldMasterChg>
      <pc:sldMasterChg chg="del delSldLayout">
        <pc:chgData name="John Paserba" userId="77bd6c8a-d0c1-4fea-8705-0169f65d0c0e" providerId="ADAL" clId="{1001C0DD-7E82-4F82-A846-3EE15D16FE9F}" dt="2025-11-09T19:27:25.660" v="194" actId="47"/>
        <pc:sldMasterMkLst>
          <pc:docMk/>
          <pc:sldMasterMk cId="2698812277" sldId="2147483884"/>
        </pc:sldMasterMkLst>
        <pc:sldLayoutChg chg="del">
          <pc:chgData name="John Paserba" userId="77bd6c8a-d0c1-4fea-8705-0169f65d0c0e" providerId="ADAL" clId="{1001C0DD-7E82-4F82-A846-3EE15D16FE9F}" dt="2025-11-09T19:27:25.660" v="194" actId="47"/>
          <pc:sldLayoutMkLst>
            <pc:docMk/>
            <pc:sldMasterMk cId="2698812277" sldId="2147483884"/>
            <pc:sldLayoutMk cId="1759236162" sldId="2147483885"/>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91510107" sldId="2147483886"/>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2522383730" sldId="2147483887"/>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3319097022" sldId="2147483888"/>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3714373706" sldId="2147483889"/>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4167736526" sldId="2147483890"/>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3822379291" sldId="2147483891"/>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203681301" sldId="2147483892"/>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497907426" sldId="2147483893"/>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342834015" sldId="2147483894"/>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1395061887" sldId="2147483895"/>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3439553491" sldId="2147483896"/>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1117347706" sldId="2147483897"/>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488577597" sldId="2147483898"/>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1738526480" sldId="2147483899"/>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3201012927" sldId="2147483900"/>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2109581373" sldId="2147483901"/>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3079068991" sldId="2147483902"/>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466229976" sldId="2147483903"/>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3606030097" sldId="2147483904"/>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1917377207" sldId="2147483905"/>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4242251845" sldId="2147483906"/>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3168998314" sldId="2147483907"/>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4017138396" sldId="2147483908"/>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2683893207" sldId="2147483909"/>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124286319" sldId="2147483910"/>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3025917634" sldId="2147483911"/>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3411844637" sldId="2147483912"/>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2689837722" sldId="2147483913"/>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2104728472" sldId="2147483914"/>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738284453" sldId="2147483915"/>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3308686769" sldId="2147483916"/>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2931609891" sldId="2147483917"/>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1305485141" sldId="2147483918"/>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1061074675" sldId="2147483919"/>
          </pc:sldLayoutMkLst>
        </pc:sldLayoutChg>
        <pc:sldLayoutChg chg="del">
          <pc:chgData name="John Paserba" userId="77bd6c8a-d0c1-4fea-8705-0169f65d0c0e" providerId="ADAL" clId="{1001C0DD-7E82-4F82-A846-3EE15D16FE9F}" dt="2025-11-09T19:27:25.660" v="194" actId="47"/>
          <pc:sldLayoutMkLst>
            <pc:docMk/>
            <pc:sldMasterMk cId="2698812277" sldId="2147483884"/>
            <pc:sldLayoutMk cId="3231397542" sldId="2147483920"/>
          </pc:sldLayoutMkLst>
        </pc:sldLayoutChg>
      </pc:sldMasterChg>
      <pc:sldMasterChg chg="del delSldLayout">
        <pc:chgData name="John Paserba" userId="77bd6c8a-d0c1-4fea-8705-0169f65d0c0e" providerId="ADAL" clId="{1001C0DD-7E82-4F82-A846-3EE15D16FE9F}" dt="2025-11-09T19:40:35.362" v="357" actId="47"/>
        <pc:sldMasterMkLst>
          <pc:docMk/>
          <pc:sldMasterMk cId="2153469380" sldId="2147483960"/>
        </pc:sldMasterMkLst>
        <pc:sldLayoutChg chg="del">
          <pc:chgData name="John Paserba" userId="77bd6c8a-d0c1-4fea-8705-0169f65d0c0e" providerId="ADAL" clId="{1001C0DD-7E82-4F82-A846-3EE15D16FE9F}" dt="2025-11-09T19:40:35.362" v="357" actId="47"/>
          <pc:sldLayoutMkLst>
            <pc:docMk/>
            <pc:sldMasterMk cId="2153469380" sldId="2147483960"/>
            <pc:sldLayoutMk cId="3032609805" sldId="2147483961"/>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2478896557" sldId="2147483962"/>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4143294420" sldId="2147483963"/>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2794427339" sldId="2147483964"/>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1390809894" sldId="2147483965"/>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2552549110" sldId="2147483966"/>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3556715580" sldId="2147483967"/>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1779852871" sldId="2147483968"/>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2590508479" sldId="2147483969"/>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3781360473" sldId="2147483970"/>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4061005500" sldId="2147483971"/>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497718659" sldId="2147483972"/>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3369342824" sldId="2147483973"/>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1486513674" sldId="2147483974"/>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1994652954" sldId="2147483975"/>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3714406015" sldId="2147483976"/>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1152443648" sldId="2147483977"/>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1575134808" sldId="2147483978"/>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13703139" sldId="2147483979"/>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3494651809" sldId="2147483980"/>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2441173111" sldId="2147483981"/>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223226763" sldId="2147483982"/>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3135233350" sldId="2147483983"/>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1350089150" sldId="2147483984"/>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2350278522" sldId="2147483985"/>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1592331900" sldId="2147483986"/>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2912757051" sldId="2147483987"/>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2781014855" sldId="2147483988"/>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6954254" sldId="2147483989"/>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2611474256" sldId="2147483990"/>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2690548613" sldId="2147483991"/>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3183235501" sldId="2147483992"/>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3239362008" sldId="2147483993"/>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230983345" sldId="2147483994"/>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526549559" sldId="2147483995"/>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1172078037" sldId="2147483996"/>
          </pc:sldLayoutMkLst>
        </pc:sldLayoutChg>
        <pc:sldLayoutChg chg="del">
          <pc:chgData name="John Paserba" userId="77bd6c8a-d0c1-4fea-8705-0169f65d0c0e" providerId="ADAL" clId="{1001C0DD-7E82-4F82-A846-3EE15D16FE9F}" dt="2025-11-09T19:40:35.362" v="357" actId="47"/>
          <pc:sldLayoutMkLst>
            <pc:docMk/>
            <pc:sldMasterMk cId="2153469380" sldId="2147483960"/>
            <pc:sldLayoutMk cId="2793644253" sldId="2147483997"/>
          </pc:sldLayoutMkLst>
        </pc:sldLayoutChg>
      </pc:sldMasterChg>
    </pc:docChg>
  </pc:docChgLst>
  <pc:docChgLst>
    <pc:chgData name="John Paserba" userId="77bd6c8a-d0c1-4fea-8705-0169f65d0c0e" providerId="ADAL" clId="{9C21DD65-54F1-43C5-A4ED-A2C467859D96}"/>
    <pc:docChg chg="undo redo custSel addSld delSld modSld sldOrd addMainMaster delMainMaster">
      <pc:chgData name="John Paserba" userId="77bd6c8a-d0c1-4fea-8705-0169f65d0c0e" providerId="ADAL" clId="{9C21DD65-54F1-43C5-A4ED-A2C467859D96}" dt="2025-07-22T17:14:08.494" v="1560" actId="14100"/>
      <pc:docMkLst>
        <pc:docMk/>
      </pc:docMkLst>
      <pc:sldChg chg="modSp add mod">
        <pc:chgData name="John Paserba" userId="77bd6c8a-d0c1-4fea-8705-0169f65d0c0e" providerId="ADAL" clId="{9C21DD65-54F1-43C5-A4ED-A2C467859D96}" dt="2025-07-18T18:10:05.585" v="575" actId="1036"/>
        <pc:sldMkLst>
          <pc:docMk/>
          <pc:sldMk cId="3260108025" sldId="2147471143"/>
        </pc:sldMkLst>
        <pc:spChg chg="mod">
          <ac:chgData name="John Paserba" userId="77bd6c8a-d0c1-4fea-8705-0169f65d0c0e" providerId="ADAL" clId="{9C21DD65-54F1-43C5-A4ED-A2C467859D96}" dt="2025-07-18T14:20:30.393" v="1" actId="1076"/>
          <ac:spMkLst>
            <pc:docMk/>
            <pc:sldMk cId="3260108025" sldId="2147471143"/>
            <ac:spMk id="2" creationId="{A4B4D972-7AC4-441C-9847-01CEA9E73027}"/>
          </ac:spMkLst>
        </pc:spChg>
        <pc:spChg chg="mod">
          <ac:chgData name="John Paserba" userId="77bd6c8a-d0c1-4fea-8705-0169f65d0c0e" providerId="ADAL" clId="{9C21DD65-54F1-43C5-A4ED-A2C467859D96}" dt="2025-07-18T18:10:05.585" v="575" actId="1036"/>
          <ac:spMkLst>
            <pc:docMk/>
            <pc:sldMk cId="3260108025" sldId="2147471143"/>
            <ac:spMk id="43" creationId="{ED1898D7-B64C-C5FA-7660-FD1B62F07C3E}"/>
          </ac:spMkLst>
        </pc:spChg>
      </pc:sldChg>
      <pc:sldChg chg="del">
        <pc:chgData name="John Paserba" userId="77bd6c8a-d0c1-4fea-8705-0169f65d0c0e" providerId="ADAL" clId="{9C21DD65-54F1-43C5-A4ED-A2C467859D96}" dt="2025-07-22T16:02:16.115" v="1016" actId="47"/>
        <pc:sldMkLst>
          <pc:docMk/>
          <pc:sldMk cId="3973842841" sldId="2147471233"/>
        </pc:sldMkLst>
      </pc:sldChg>
      <pc:sldChg chg="add">
        <pc:chgData name="John Paserba" userId="77bd6c8a-d0c1-4fea-8705-0169f65d0c0e" providerId="ADAL" clId="{9C21DD65-54F1-43C5-A4ED-A2C467859D96}" dt="2025-07-18T14:22:43.585" v="4"/>
        <pc:sldMkLst>
          <pc:docMk/>
          <pc:sldMk cId="1798689786" sldId="2147471316"/>
        </pc:sldMkLst>
      </pc:sldChg>
      <pc:sldChg chg="modSp add mod">
        <pc:chgData name="John Paserba" userId="77bd6c8a-d0c1-4fea-8705-0169f65d0c0e" providerId="ADAL" clId="{9C21DD65-54F1-43C5-A4ED-A2C467859D96}" dt="2025-07-22T16:01:10.314" v="1015" actId="207"/>
        <pc:sldMkLst>
          <pc:docMk/>
          <pc:sldMk cId="227166264" sldId="2147471327"/>
        </pc:sldMkLst>
        <pc:spChg chg="mod">
          <ac:chgData name="John Paserba" userId="77bd6c8a-d0c1-4fea-8705-0169f65d0c0e" providerId="ADAL" clId="{9C21DD65-54F1-43C5-A4ED-A2C467859D96}" dt="2025-07-22T15:58:38.338" v="1009" actId="6549"/>
          <ac:spMkLst>
            <pc:docMk/>
            <pc:sldMk cId="227166264" sldId="2147471327"/>
            <ac:spMk id="4" creationId="{429BD2AD-7122-CB79-A5CF-BBE29586E74B}"/>
          </ac:spMkLst>
        </pc:spChg>
        <pc:spChg chg="mod">
          <ac:chgData name="John Paserba" userId="77bd6c8a-d0c1-4fea-8705-0169f65d0c0e" providerId="ADAL" clId="{9C21DD65-54F1-43C5-A4ED-A2C467859D96}" dt="2025-07-22T16:00:47.552" v="1011" actId="207"/>
          <ac:spMkLst>
            <pc:docMk/>
            <pc:sldMk cId="227166264" sldId="2147471327"/>
            <ac:spMk id="6" creationId="{B6CC29C9-274B-5417-B9D2-0B5001B2C5D1}"/>
          </ac:spMkLst>
        </pc:spChg>
        <pc:spChg chg="mod">
          <ac:chgData name="John Paserba" userId="77bd6c8a-d0c1-4fea-8705-0169f65d0c0e" providerId="ADAL" clId="{9C21DD65-54F1-43C5-A4ED-A2C467859D96}" dt="2025-07-22T16:00:47.552" v="1011" actId="207"/>
          <ac:spMkLst>
            <pc:docMk/>
            <pc:sldMk cId="227166264" sldId="2147471327"/>
            <ac:spMk id="7" creationId="{7BACED1F-255B-31CF-1B3A-CFEC4680348D}"/>
          </ac:spMkLst>
        </pc:spChg>
        <pc:spChg chg="mod">
          <ac:chgData name="John Paserba" userId="77bd6c8a-d0c1-4fea-8705-0169f65d0c0e" providerId="ADAL" clId="{9C21DD65-54F1-43C5-A4ED-A2C467859D96}" dt="2025-07-22T16:00:47.552" v="1011" actId="207"/>
          <ac:spMkLst>
            <pc:docMk/>
            <pc:sldMk cId="227166264" sldId="2147471327"/>
            <ac:spMk id="19" creationId="{2328F2B2-FA7E-2F29-7243-93994433DAD1}"/>
          </ac:spMkLst>
        </pc:spChg>
        <pc:spChg chg="mod">
          <ac:chgData name="John Paserba" userId="77bd6c8a-d0c1-4fea-8705-0169f65d0c0e" providerId="ADAL" clId="{9C21DD65-54F1-43C5-A4ED-A2C467859D96}" dt="2025-07-22T16:00:47.552" v="1011" actId="207"/>
          <ac:spMkLst>
            <pc:docMk/>
            <pc:sldMk cId="227166264" sldId="2147471327"/>
            <ac:spMk id="20" creationId="{4CDD2D05-FC2C-6FC6-CBE1-A4466F3CDA30}"/>
          </ac:spMkLst>
        </pc:spChg>
        <pc:spChg chg="mod">
          <ac:chgData name="John Paserba" userId="77bd6c8a-d0c1-4fea-8705-0169f65d0c0e" providerId="ADAL" clId="{9C21DD65-54F1-43C5-A4ED-A2C467859D96}" dt="2025-07-22T16:00:47.552" v="1011" actId="207"/>
          <ac:spMkLst>
            <pc:docMk/>
            <pc:sldMk cId="227166264" sldId="2147471327"/>
            <ac:spMk id="22" creationId="{C64BEE64-2B56-E2D5-54A5-0F73A959D7EF}"/>
          </ac:spMkLst>
        </pc:spChg>
        <pc:spChg chg="mod">
          <ac:chgData name="John Paserba" userId="77bd6c8a-d0c1-4fea-8705-0169f65d0c0e" providerId="ADAL" clId="{9C21DD65-54F1-43C5-A4ED-A2C467859D96}" dt="2025-07-22T16:00:47.552" v="1011" actId="207"/>
          <ac:spMkLst>
            <pc:docMk/>
            <pc:sldMk cId="227166264" sldId="2147471327"/>
            <ac:spMk id="23" creationId="{54BC2994-4F5B-8161-DEDC-EC2BC3C56333}"/>
          </ac:spMkLst>
        </pc:spChg>
        <pc:spChg chg="mod">
          <ac:chgData name="John Paserba" userId="77bd6c8a-d0c1-4fea-8705-0169f65d0c0e" providerId="ADAL" clId="{9C21DD65-54F1-43C5-A4ED-A2C467859D96}" dt="2025-07-22T16:00:47.552" v="1011" actId="207"/>
          <ac:spMkLst>
            <pc:docMk/>
            <pc:sldMk cId="227166264" sldId="2147471327"/>
            <ac:spMk id="24" creationId="{7CE36655-799A-74B4-DE03-8DF8F0969AEE}"/>
          </ac:spMkLst>
        </pc:spChg>
        <pc:spChg chg="mod">
          <ac:chgData name="John Paserba" userId="77bd6c8a-d0c1-4fea-8705-0169f65d0c0e" providerId="ADAL" clId="{9C21DD65-54F1-43C5-A4ED-A2C467859D96}" dt="2025-07-22T16:01:10.314" v="1015" actId="207"/>
          <ac:spMkLst>
            <pc:docMk/>
            <pc:sldMk cId="227166264" sldId="2147471327"/>
            <ac:spMk id="3328012" creationId="{71CE656D-750C-F6AE-D7D3-CD9282411A4D}"/>
          </ac:spMkLst>
        </pc:spChg>
      </pc:sldChg>
      <pc:sldChg chg="add">
        <pc:chgData name="John Paserba" userId="77bd6c8a-d0c1-4fea-8705-0169f65d0c0e" providerId="ADAL" clId="{9C21DD65-54F1-43C5-A4ED-A2C467859D96}" dt="2025-07-18T14:22:43.585" v="4"/>
        <pc:sldMkLst>
          <pc:docMk/>
          <pc:sldMk cId="4018940102" sldId="2147471332"/>
        </pc:sldMkLst>
      </pc:sldChg>
      <pc:sldChg chg="del">
        <pc:chgData name="John Paserba" userId="77bd6c8a-d0c1-4fea-8705-0169f65d0c0e" providerId="ADAL" clId="{9C21DD65-54F1-43C5-A4ED-A2C467859D96}" dt="2025-07-22T16:02:16.115" v="1016" actId="47"/>
        <pc:sldMkLst>
          <pc:docMk/>
          <pc:sldMk cId="3626863204" sldId="2147471336"/>
        </pc:sldMkLst>
      </pc:sldChg>
      <pc:sldChg chg="del">
        <pc:chgData name="John Paserba" userId="77bd6c8a-d0c1-4fea-8705-0169f65d0c0e" providerId="ADAL" clId="{9C21DD65-54F1-43C5-A4ED-A2C467859D96}" dt="2025-07-22T16:02:16.115" v="1016" actId="47"/>
        <pc:sldMkLst>
          <pc:docMk/>
          <pc:sldMk cId="382756534" sldId="2147471337"/>
        </pc:sldMkLst>
      </pc:sldChg>
      <pc:sldChg chg="del">
        <pc:chgData name="John Paserba" userId="77bd6c8a-d0c1-4fea-8705-0169f65d0c0e" providerId="ADAL" clId="{9C21DD65-54F1-43C5-A4ED-A2C467859D96}" dt="2025-07-22T16:02:16.115" v="1016" actId="47"/>
        <pc:sldMkLst>
          <pc:docMk/>
          <pc:sldMk cId="3079251302" sldId="2147471338"/>
        </pc:sldMkLst>
      </pc:sldChg>
      <pc:sldChg chg="del">
        <pc:chgData name="John Paserba" userId="77bd6c8a-d0c1-4fea-8705-0169f65d0c0e" providerId="ADAL" clId="{9C21DD65-54F1-43C5-A4ED-A2C467859D96}" dt="2025-07-22T16:02:16.115" v="1016" actId="47"/>
        <pc:sldMkLst>
          <pc:docMk/>
          <pc:sldMk cId="231882232" sldId="2147471339"/>
        </pc:sldMkLst>
      </pc:sldChg>
      <pc:sldChg chg="delSp modSp add del mod">
        <pc:chgData name="John Paserba" userId="77bd6c8a-d0c1-4fea-8705-0169f65d0c0e" providerId="ADAL" clId="{9C21DD65-54F1-43C5-A4ED-A2C467859D96}" dt="2025-07-22T16:59:37.753" v="1304" actId="20577"/>
        <pc:sldMkLst>
          <pc:docMk/>
          <pc:sldMk cId="4270083759" sldId="2147471342"/>
        </pc:sldMkLst>
        <pc:spChg chg="mod">
          <ac:chgData name="John Paserba" userId="77bd6c8a-d0c1-4fea-8705-0169f65d0c0e" providerId="ADAL" clId="{9C21DD65-54F1-43C5-A4ED-A2C467859D96}" dt="2025-07-22T16:58:40.992" v="1298" actId="14100"/>
          <ac:spMkLst>
            <pc:docMk/>
            <pc:sldMk cId="4270083759" sldId="2147471342"/>
            <ac:spMk id="3" creationId="{DB9B0D7D-3E2B-4D98-97A6-ACD381F30AF9}"/>
          </ac:spMkLst>
        </pc:spChg>
        <pc:spChg chg="mod">
          <ac:chgData name="John Paserba" userId="77bd6c8a-d0c1-4fea-8705-0169f65d0c0e" providerId="ADAL" clId="{9C21DD65-54F1-43C5-A4ED-A2C467859D96}" dt="2025-07-22T16:58:34.942" v="1297" actId="255"/>
          <ac:spMkLst>
            <pc:docMk/>
            <pc:sldMk cId="4270083759" sldId="2147471342"/>
            <ac:spMk id="14" creationId="{2AC617F8-A319-4AD2-B639-D24418E10B18}"/>
          </ac:spMkLst>
        </pc:spChg>
        <pc:spChg chg="del">
          <ac:chgData name="John Paserba" userId="77bd6c8a-d0c1-4fea-8705-0169f65d0c0e" providerId="ADAL" clId="{9C21DD65-54F1-43C5-A4ED-A2C467859D96}" dt="2025-07-22T16:57:49.576" v="1290" actId="478"/>
          <ac:spMkLst>
            <pc:docMk/>
            <pc:sldMk cId="4270083759" sldId="2147471342"/>
            <ac:spMk id="15" creationId="{B470785F-3FE8-49C8-B90F-751FDCB9BB20}"/>
          </ac:spMkLst>
        </pc:spChg>
        <pc:spChg chg="mod">
          <ac:chgData name="John Paserba" userId="77bd6c8a-d0c1-4fea-8705-0169f65d0c0e" providerId="ADAL" clId="{9C21DD65-54F1-43C5-A4ED-A2C467859D96}" dt="2025-07-22T16:59:37.753" v="1304" actId="20577"/>
          <ac:spMkLst>
            <pc:docMk/>
            <pc:sldMk cId="4270083759" sldId="2147471342"/>
            <ac:spMk id="3328002" creationId="{00000000-0000-0000-0000-000000000000}"/>
          </ac:spMkLst>
        </pc:spChg>
      </pc:sldChg>
      <pc:sldChg chg="delSp modSp add del mod">
        <pc:chgData name="John Paserba" userId="77bd6c8a-d0c1-4fea-8705-0169f65d0c0e" providerId="ADAL" clId="{9C21DD65-54F1-43C5-A4ED-A2C467859D96}" dt="2025-07-22T16:59:58.137" v="1321" actId="20577"/>
        <pc:sldMkLst>
          <pc:docMk/>
          <pc:sldMk cId="158777242" sldId="2147471343"/>
        </pc:sldMkLst>
        <pc:spChg chg="mod">
          <ac:chgData name="John Paserba" userId="77bd6c8a-d0c1-4fea-8705-0169f65d0c0e" providerId="ADAL" clId="{9C21DD65-54F1-43C5-A4ED-A2C467859D96}" dt="2025-07-22T16:59:05.458" v="1300" actId="14100"/>
          <ac:spMkLst>
            <pc:docMk/>
            <pc:sldMk cId="158777242" sldId="2147471343"/>
            <ac:spMk id="14" creationId="{2AC617F8-A319-4AD2-B639-D24418E10B18}"/>
          </ac:spMkLst>
        </pc:spChg>
        <pc:spChg chg="del">
          <ac:chgData name="John Paserba" userId="77bd6c8a-d0c1-4fea-8705-0169f65d0c0e" providerId="ADAL" clId="{9C21DD65-54F1-43C5-A4ED-A2C467859D96}" dt="2025-07-22T16:59:12.567" v="1301" actId="478"/>
          <ac:spMkLst>
            <pc:docMk/>
            <pc:sldMk cId="158777242" sldId="2147471343"/>
            <ac:spMk id="15" creationId="{EC4F1D34-0EB9-4EE2-B5DC-01B37F5D95F8}"/>
          </ac:spMkLst>
        </pc:spChg>
        <pc:spChg chg="mod">
          <ac:chgData name="John Paserba" userId="77bd6c8a-d0c1-4fea-8705-0169f65d0c0e" providerId="ADAL" clId="{9C21DD65-54F1-43C5-A4ED-A2C467859D96}" dt="2025-07-22T16:59:58.137" v="1321" actId="20577"/>
          <ac:spMkLst>
            <pc:docMk/>
            <pc:sldMk cId="158777242" sldId="2147471343"/>
            <ac:spMk id="3328002" creationId="{00000000-0000-0000-0000-000000000000}"/>
          </ac:spMkLst>
        </pc:spChg>
      </pc:sldChg>
      <pc:sldChg chg="delSp modSp add del mod">
        <pc:chgData name="John Paserba" userId="77bd6c8a-d0c1-4fea-8705-0169f65d0c0e" providerId="ADAL" clId="{9C21DD65-54F1-43C5-A4ED-A2C467859D96}" dt="2025-07-22T17:00:46.942" v="1336" actId="12"/>
        <pc:sldMkLst>
          <pc:docMk/>
          <pc:sldMk cId="828907581" sldId="2147471344"/>
        </pc:sldMkLst>
        <pc:spChg chg="mod">
          <ac:chgData name="John Paserba" userId="77bd6c8a-d0c1-4fea-8705-0169f65d0c0e" providerId="ADAL" clId="{9C21DD65-54F1-43C5-A4ED-A2C467859D96}" dt="2025-07-22T17:00:46.942" v="1336" actId="12"/>
          <ac:spMkLst>
            <pc:docMk/>
            <pc:sldMk cId="828907581" sldId="2147471344"/>
            <ac:spMk id="14" creationId="{2AC617F8-A319-4AD2-B639-D24418E10B18}"/>
          </ac:spMkLst>
        </pc:spChg>
        <pc:spChg chg="del">
          <ac:chgData name="John Paserba" userId="77bd6c8a-d0c1-4fea-8705-0169f65d0c0e" providerId="ADAL" clId="{9C21DD65-54F1-43C5-A4ED-A2C467859D96}" dt="2025-07-22T17:00:19.403" v="1329" actId="478"/>
          <ac:spMkLst>
            <pc:docMk/>
            <pc:sldMk cId="828907581" sldId="2147471344"/>
            <ac:spMk id="15" creationId="{F78109ED-9001-442F-9518-080664EE5A18}"/>
          </ac:spMkLst>
        </pc:spChg>
        <pc:spChg chg="mod">
          <ac:chgData name="John Paserba" userId="77bd6c8a-d0c1-4fea-8705-0169f65d0c0e" providerId="ADAL" clId="{9C21DD65-54F1-43C5-A4ED-A2C467859D96}" dt="2025-07-22T17:00:12.261" v="1328" actId="20577"/>
          <ac:spMkLst>
            <pc:docMk/>
            <pc:sldMk cId="828907581" sldId="2147471344"/>
            <ac:spMk id="3328002" creationId="{00000000-0000-0000-0000-000000000000}"/>
          </ac:spMkLst>
        </pc:spChg>
        <pc:picChg chg="mod">
          <ac:chgData name="John Paserba" userId="77bd6c8a-d0c1-4fea-8705-0169f65d0c0e" providerId="ADAL" clId="{9C21DD65-54F1-43C5-A4ED-A2C467859D96}" dt="2025-07-22T17:00:24.279" v="1331" actId="1076"/>
          <ac:picMkLst>
            <pc:docMk/>
            <pc:sldMk cId="828907581" sldId="2147471344"/>
            <ac:picMk id="6" creationId="{FE10D6D8-C369-4CF4-96D0-469C3439BD7A}"/>
          </ac:picMkLst>
        </pc:picChg>
      </pc:sldChg>
      <pc:sldChg chg="add">
        <pc:chgData name="John Paserba" userId="77bd6c8a-d0c1-4fea-8705-0169f65d0c0e" providerId="ADAL" clId="{9C21DD65-54F1-43C5-A4ED-A2C467859D96}" dt="2025-07-18T14:22:43.585" v="4"/>
        <pc:sldMkLst>
          <pc:docMk/>
          <pc:sldMk cId="3051881803" sldId="2147471368"/>
        </pc:sldMkLst>
      </pc:sldChg>
      <pc:sldChg chg="modSp mod">
        <pc:chgData name="John Paserba" userId="77bd6c8a-d0c1-4fea-8705-0169f65d0c0e" providerId="ADAL" clId="{9C21DD65-54F1-43C5-A4ED-A2C467859D96}" dt="2025-07-18T18:19:10.471" v="630" actId="14100"/>
        <pc:sldMkLst>
          <pc:docMk/>
          <pc:sldMk cId="3498029312" sldId="2147471414"/>
        </pc:sldMkLst>
        <pc:spChg chg="mod">
          <ac:chgData name="John Paserba" userId="77bd6c8a-d0c1-4fea-8705-0169f65d0c0e" providerId="ADAL" clId="{9C21DD65-54F1-43C5-A4ED-A2C467859D96}" dt="2025-07-18T18:19:10.471" v="630" actId="14100"/>
          <ac:spMkLst>
            <pc:docMk/>
            <pc:sldMk cId="3498029312" sldId="2147471414"/>
            <ac:spMk id="14" creationId="{10A16B51-145A-4CBD-8A82-6F764B6F9830}"/>
          </ac:spMkLst>
        </pc:spChg>
        <pc:graphicFrameChg chg="modGraphic">
          <ac:chgData name="John Paserba" userId="77bd6c8a-d0c1-4fea-8705-0169f65d0c0e" providerId="ADAL" clId="{9C21DD65-54F1-43C5-A4ED-A2C467859D96}" dt="2025-07-18T18:18:43.518" v="623" actId="20577"/>
          <ac:graphicFrameMkLst>
            <pc:docMk/>
            <pc:sldMk cId="3498029312" sldId="2147471414"/>
            <ac:graphicFrameMk id="11" creationId="{F3DED44F-C0EF-4935-A06B-3FC910885FD8}"/>
          </ac:graphicFrameMkLst>
        </pc:graphicFrameChg>
        <pc:graphicFrameChg chg="mod">
          <ac:chgData name="John Paserba" userId="77bd6c8a-d0c1-4fea-8705-0169f65d0c0e" providerId="ADAL" clId="{9C21DD65-54F1-43C5-A4ED-A2C467859D96}" dt="2025-07-18T18:18:35.425" v="621"/>
          <ac:graphicFrameMkLst>
            <pc:docMk/>
            <pc:sldMk cId="3498029312" sldId="2147471414"/>
            <ac:graphicFrameMk id="24" creationId="{15813888-BDE7-483A-B111-3A6C5F25E35B}"/>
          </ac:graphicFrameMkLst>
        </pc:graphicFrameChg>
      </pc:sldChg>
      <pc:sldChg chg="delSp add del mod">
        <pc:chgData name="John Paserba" userId="77bd6c8a-d0c1-4fea-8705-0169f65d0c0e" providerId="ADAL" clId="{9C21DD65-54F1-43C5-A4ED-A2C467859D96}" dt="2025-07-22T16:04:14.755" v="1032" actId="478"/>
        <pc:sldMkLst>
          <pc:docMk/>
          <pc:sldMk cId="609624571" sldId="2147471423"/>
        </pc:sldMkLst>
        <pc:spChg chg="del">
          <ac:chgData name="John Paserba" userId="77bd6c8a-d0c1-4fea-8705-0169f65d0c0e" providerId="ADAL" clId="{9C21DD65-54F1-43C5-A4ED-A2C467859D96}" dt="2025-07-22T16:04:14.755" v="1032" actId="478"/>
          <ac:spMkLst>
            <pc:docMk/>
            <pc:sldMk cId="609624571" sldId="2147471423"/>
            <ac:spMk id="14" creationId="{CCE01A7C-F595-4E50-BB04-9749B91695FB}"/>
          </ac:spMkLst>
        </pc:spChg>
      </pc:sldChg>
      <pc:sldChg chg="add">
        <pc:chgData name="John Paserba" userId="77bd6c8a-d0c1-4fea-8705-0169f65d0c0e" providerId="ADAL" clId="{9C21DD65-54F1-43C5-A4ED-A2C467859D96}" dt="2025-07-18T14:22:43.585" v="4"/>
        <pc:sldMkLst>
          <pc:docMk/>
          <pc:sldMk cId="591490453" sldId="2147471424"/>
        </pc:sldMkLst>
      </pc:sldChg>
      <pc:sldChg chg="modSp add mod">
        <pc:chgData name="John Paserba" userId="77bd6c8a-d0c1-4fea-8705-0169f65d0c0e" providerId="ADAL" clId="{9C21DD65-54F1-43C5-A4ED-A2C467859D96}" dt="2025-07-18T14:20:50.490" v="2" actId="1076"/>
        <pc:sldMkLst>
          <pc:docMk/>
          <pc:sldMk cId="4140170611" sldId="2147471425"/>
        </pc:sldMkLst>
        <pc:spChg chg="mod">
          <ac:chgData name="John Paserba" userId="77bd6c8a-d0c1-4fea-8705-0169f65d0c0e" providerId="ADAL" clId="{9C21DD65-54F1-43C5-A4ED-A2C467859D96}" dt="2025-07-18T14:20:50.490" v="2" actId="1076"/>
          <ac:spMkLst>
            <pc:docMk/>
            <pc:sldMk cId="4140170611" sldId="2147471425"/>
            <ac:spMk id="6" creationId="{15F65942-0B2E-441A-8324-CEC18488751A}"/>
          </ac:spMkLst>
        </pc:spChg>
      </pc:sldChg>
      <pc:sldChg chg="add">
        <pc:chgData name="John Paserba" userId="77bd6c8a-d0c1-4fea-8705-0169f65d0c0e" providerId="ADAL" clId="{9C21DD65-54F1-43C5-A4ED-A2C467859D96}" dt="2025-07-18T14:20:26.001" v="0"/>
        <pc:sldMkLst>
          <pc:docMk/>
          <pc:sldMk cId="1427769353" sldId="2147471426"/>
        </pc:sldMkLst>
      </pc:sldChg>
      <pc:sldChg chg="addSp modSp mod">
        <pc:chgData name="John Paserba" userId="77bd6c8a-d0c1-4fea-8705-0169f65d0c0e" providerId="ADAL" clId="{9C21DD65-54F1-43C5-A4ED-A2C467859D96}" dt="2025-07-18T18:05:08.921" v="533" actId="14100"/>
        <pc:sldMkLst>
          <pc:docMk/>
          <pc:sldMk cId="3658783816" sldId="2147471428"/>
        </pc:sldMkLst>
        <pc:spChg chg="add mod">
          <ac:chgData name="John Paserba" userId="77bd6c8a-d0c1-4fea-8705-0169f65d0c0e" providerId="ADAL" clId="{9C21DD65-54F1-43C5-A4ED-A2C467859D96}" dt="2025-07-18T18:05:08.921" v="533" actId="14100"/>
          <ac:spMkLst>
            <pc:docMk/>
            <pc:sldMk cId="3658783816" sldId="2147471428"/>
            <ac:spMk id="12" creationId="{72822A0C-4B77-47B8-B994-8AEB2FEF6024}"/>
          </ac:spMkLst>
        </pc:spChg>
        <pc:graphicFrameChg chg="modGraphic">
          <ac:chgData name="John Paserba" userId="77bd6c8a-d0c1-4fea-8705-0169f65d0c0e" providerId="ADAL" clId="{9C21DD65-54F1-43C5-A4ED-A2C467859D96}" dt="2025-07-18T18:04:56.401" v="526" actId="20577"/>
          <ac:graphicFrameMkLst>
            <pc:docMk/>
            <pc:sldMk cId="3658783816" sldId="2147471428"/>
            <ac:graphicFrameMk id="11" creationId="{F3DED44F-C0EF-4935-A06B-3FC910885FD8}"/>
          </ac:graphicFrameMkLst>
        </pc:graphicFrameChg>
      </pc:sldChg>
      <pc:sldChg chg="add">
        <pc:chgData name="John Paserba" userId="77bd6c8a-d0c1-4fea-8705-0169f65d0c0e" providerId="ADAL" clId="{9C21DD65-54F1-43C5-A4ED-A2C467859D96}" dt="2025-07-18T14:21:29.630" v="3"/>
        <pc:sldMkLst>
          <pc:docMk/>
          <pc:sldMk cId="2682349257" sldId="2147471431"/>
        </pc:sldMkLst>
      </pc:sldChg>
      <pc:sldChg chg="add">
        <pc:chgData name="John Paserba" userId="77bd6c8a-d0c1-4fea-8705-0169f65d0c0e" providerId="ADAL" clId="{9C21DD65-54F1-43C5-A4ED-A2C467859D96}" dt="2025-07-18T14:22:43.585" v="4"/>
        <pc:sldMkLst>
          <pc:docMk/>
          <pc:sldMk cId="2055567960" sldId="2147471432"/>
        </pc:sldMkLst>
      </pc:sldChg>
      <pc:sldChg chg="add">
        <pc:chgData name="John Paserba" userId="77bd6c8a-d0c1-4fea-8705-0169f65d0c0e" providerId="ADAL" clId="{9C21DD65-54F1-43C5-A4ED-A2C467859D96}" dt="2025-07-18T14:22:43.585" v="4"/>
        <pc:sldMkLst>
          <pc:docMk/>
          <pc:sldMk cId="3744353635" sldId="2147471433"/>
        </pc:sldMkLst>
      </pc:sldChg>
      <pc:sldChg chg="del">
        <pc:chgData name="John Paserba" userId="77bd6c8a-d0c1-4fea-8705-0169f65d0c0e" providerId="ADAL" clId="{9C21DD65-54F1-43C5-A4ED-A2C467859D96}" dt="2025-07-21T22:34:32.399" v="635" actId="47"/>
        <pc:sldMkLst>
          <pc:docMk/>
          <pc:sldMk cId="2561390062" sldId="2147471439"/>
        </pc:sldMkLst>
      </pc:sldChg>
      <pc:sldChg chg="del">
        <pc:chgData name="John Paserba" userId="77bd6c8a-d0c1-4fea-8705-0169f65d0c0e" providerId="ADAL" clId="{9C21DD65-54F1-43C5-A4ED-A2C467859D96}" dt="2025-07-21T22:34:32.399" v="635" actId="47"/>
        <pc:sldMkLst>
          <pc:docMk/>
          <pc:sldMk cId="1648446080" sldId="2147471473"/>
        </pc:sldMkLst>
      </pc:sldChg>
      <pc:sldChg chg="del">
        <pc:chgData name="John Paserba" userId="77bd6c8a-d0c1-4fea-8705-0169f65d0c0e" providerId="ADAL" clId="{9C21DD65-54F1-43C5-A4ED-A2C467859D96}" dt="2025-07-21T22:34:32.399" v="635" actId="47"/>
        <pc:sldMkLst>
          <pc:docMk/>
          <pc:sldMk cId="907444897" sldId="2147471474"/>
        </pc:sldMkLst>
      </pc:sldChg>
      <pc:sldChg chg="del">
        <pc:chgData name="John Paserba" userId="77bd6c8a-d0c1-4fea-8705-0169f65d0c0e" providerId="ADAL" clId="{9C21DD65-54F1-43C5-A4ED-A2C467859D96}" dt="2025-07-21T22:34:32.399" v="635" actId="47"/>
        <pc:sldMkLst>
          <pc:docMk/>
          <pc:sldMk cId="4171080166" sldId="2147471475"/>
        </pc:sldMkLst>
      </pc:sldChg>
      <pc:sldChg chg="modSp add del mod">
        <pc:chgData name="John Paserba" userId="77bd6c8a-d0c1-4fea-8705-0169f65d0c0e" providerId="ADAL" clId="{9C21DD65-54F1-43C5-A4ED-A2C467859D96}" dt="2025-07-22T16:21:26.077" v="1200" actId="207"/>
        <pc:sldMkLst>
          <pc:docMk/>
          <pc:sldMk cId="777246713" sldId="2147471488"/>
        </pc:sldMkLst>
        <pc:spChg chg="mod">
          <ac:chgData name="John Paserba" userId="77bd6c8a-d0c1-4fea-8705-0169f65d0c0e" providerId="ADAL" clId="{9C21DD65-54F1-43C5-A4ED-A2C467859D96}" dt="2025-07-22T16:21:26.077" v="1200" actId="207"/>
          <ac:spMkLst>
            <pc:docMk/>
            <pc:sldMk cId="777246713" sldId="2147471488"/>
            <ac:spMk id="2" creationId="{24EFA49A-D6F0-94EB-2E4A-46AC510574DD}"/>
          </ac:spMkLst>
        </pc:spChg>
      </pc:sldChg>
      <pc:sldChg chg="delSp add del mod">
        <pc:chgData name="John Paserba" userId="77bd6c8a-d0c1-4fea-8705-0169f65d0c0e" providerId="ADAL" clId="{9C21DD65-54F1-43C5-A4ED-A2C467859D96}" dt="2025-07-22T16:19:37.897" v="1191" actId="47"/>
        <pc:sldMkLst>
          <pc:docMk/>
          <pc:sldMk cId="190898153" sldId="2147471496"/>
        </pc:sldMkLst>
        <pc:spChg chg="del">
          <ac:chgData name="John Paserba" userId="77bd6c8a-d0c1-4fea-8705-0169f65d0c0e" providerId="ADAL" clId="{9C21DD65-54F1-43C5-A4ED-A2C467859D96}" dt="2025-07-22T16:18:42.933" v="1188" actId="478"/>
          <ac:spMkLst>
            <pc:docMk/>
            <pc:sldMk cId="190898153" sldId="2147471496"/>
            <ac:spMk id="3" creationId="{0D0A170B-9A94-4047-BB70-AC9B20A4B61D}"/>
          </ac:spMkLst>
        </pc:spChg>
      </pc:sldChg>
      <pc:sldChg chg="del">
        <pc:chgData name="John Paserba" userId="77bd6c8a-d0c1-4fea-8705-0169f65d0c0e" providerId="ADAL" clId="{9C21DD65-54F1-43C5-A4ED-A2C467859D96}" dt="2025-07-22T15:26:06.674" v="698" actId="47"/>
        <pc:sldMkLst>
          <pc:docMk/>
          <pc:sldMk cId="2010013416" sldId="2147471506"/>
        </pc:sldMkLst>
      </pc:sldChg>
      <pc:sldChg chg="del">
        <pc:chgData name="John Paserba" userId="77bd6c8a-d0c1-4fea-8705-0169f65d0c0e" providerId="ADAL" clId="{9C21DD65-54F1-43C5-A4ED-A2C467859D96}" dt="2025-07-22T15:26:06.674" v="698" actId="47"/>
        <pc:sldMkLst>
          <pc:docMk/>
          <pc:sldMk cId="1780269051" sldId="2147471509"/>
        </pc:sldMkLst>
      </pc:sldChg>
      <pc:sldChg chg="addSp modSp add del mod">
        <pc:chgData name="John Paserba" userId="77bd6c8a-d0c1-4fea-8705-0169f65d0c0e" providerId="ADAL" clId="{9C21DD65-54F1-43C5-A4ED-A2C467859D96}" dt="2025-07-22T17:07:12.052" v="1369" actId="115"/>
        <pc:sldMkLst>
          <pc:docMk/>
          <pc:sldMk cId="2101646990" sldId="2147471531"/>
        </pc:sldMkLst>
        <pc:spChg chg="mod">
          <ac:chgData name="John Paserba" userId="77bd6c8a-d0c1-4fea-8705-0169f65d0c0e" providerId="ADAL" clId="{9C21DD65-54F1-43C5-A4ED-A2C467859D96}" dt="2025-07-22T17:06:25.035" v="1340" actId="1076"/>
          <ac:spMkLst>
            <pc:docMk/>
            <pc:sldMk cId="2101646990" sldId="2147471531"/>
            <ac:spMk id="3" creationId="{F8358893-2814-0C48-714C-F1E0DE1627C4}"/>
          </ac:spMkLst>
        </pc:spChg>
        <pc:spChg chg="add mod">
          <ac:chgData name="John Paserba" userId="77bd6c8a-d0c1-4fea-8705-0169f65d0c0e" providerId="ADAL" clId="{9C21DD65-54F1-43C5-A4ED-A2C467859D96}" dt="2025-07-22T17:07:12.052" v="1369" actId="115"/>
          <ac:spMkLst>
            <pc:docMk/>
            <pc:sldMk cId="2101646990" sldId="2147471531"/>
            <ac:spMk id="19" creationId="{0167192F-E338-48B3-B510-D77EECFE4165}"/>
          </ac:spMkLst>
        </pc:spChg>
      </pc:sldChg>
      <pc:sldChg chg="modSp add del mod">
        <pc:chgData name="John Paserba" userId="77bd6c8a-d0c1-4fea-8705-0169f65d0c0e" providerId="ADAL" clId="{9C21DD65-54F1-43C5-A4ED-A2C467859D96}" dt="2025-07-22T17:11:09.805" v="1478" actId="14100"/>
        <pc:sldMkLst>
          <pc:docMk/>
          <pc:sldMk cId="2607821654" sldId="2147471533"/>
        </pc:sldMkLst>
        <pc:spChg chg="mod">
          <ac:chgData name="John Paserba" userId="77bd6c8a-d0c1-4fea-8705-0169f65d0c0e" providerId="ADAL" clId="{9C21DD65-54F1-43C5-A4ED-A2C467859D96}" dt="2025-07-22T17:11:09.805" v="1478" actId="14100"/>
          <ac:spMkLst>
            <pc:docMk/>
            <pc:sldMk cId="2607821654" sldId="2147471533"/>
            <ac:spMk id="3" creationId="{F8358893-2814-0C48-714C-F1E0DE1627C4}"/>
          </ac:spMkLst>
        </pc:spChg>
      </pc:sldChg>
      <pc:sldChg chg="add del">
        <pc:chgData name="John Paserba" userId="77bd6c8a-d0c1-4fea-8705-0169f65d0c0e" providerId="ADAL" clId="{9C21DD65-54F1-43C5-A4ED-A2C467859D96}" dt="2025-07-22T16:18:34.948" v="1187"/>
        <pc:sldMkLst>
          <pc:docMk/>
          <pc:sldMk cId="2601545666" sldId="2147471538"/>
        </pc:sldMkLst>
      </pc:sldChg>
      <pc:sldChg chg="modSp add del">
        <pc:chgData name="John Paserba" userId="77bd6c8a-d0c1-4fea-8705-0169f65d0c0e" providerId="ADAL" clId="{9C21DD65-54F1-43C5-A4ED-A2C467859D96}" dt="2025-07-22T16:20:20.624" v="1195"/>
        <pc:sldMkLst>
          <pc:docMk/>
          <pc:sldMk cId="2433923164" sldId="2147471541"/>
        </pc:sldMkLst>
        <pc:spChg chg="mod">
          <ac:chgData name="John Paserba" userId="77bd6c8a-d0c1-4fea-8705-0169f65d0c0e" providerId="ADAL" clId="{9C21DD65-54F1-43C5-A4ED-A2C467859D96}" dt="2025-07-22T16:20:20.624" v="1195"/>
          <ac:spMkLst>
            <pc:docMk/>
            <pc:sldMk cId="2433923164" sldId="2147471541"/>
            <ac:spMk id="3328002" creationId="{00000000-0000-0000-0000-000000000000}"/>
          </ac:spMkLst>
        </pc:spChg>
      </pc:sldChg>
      <pc:sldChg chg="delSp modSp add del mod">
        <pc:chgData name="John Paserba" userId="77bd6c8a-d0c1-4fea-8705-0169f65d0c0e" providerId="ADAL" clId="{9C21DD65-54F1-43C5-A4ED-A2C467859D96}" dt="2025-07-22T16:57:42.219" v="1289" actId="20577"/>
        <pc:sldMkLst>
          <pc:docMk/>
          <pc:sldMk cId="2748499433" sldId="2147471546"/>
        </pc:sldMkLst>
        <pc:spChg chg="mod">
          <ac:chgData name="John Paserba" userId="77bd6c8a-d0c1-4fea-8705-0169f65d0c0e" providerId="ADAL" clId="{9C21DD65-54F1-43C5-A4ED-A2C467859D96}" dt="2025-07-22T16:57:42.219" v="1289" actId="20577"/>
          <ac:spMkLst>
            <pc:docMk/>
            <pc:sldMk cId="2748499433" sldId="2147471546"/>
            <ac:spMk id="6" creationId="{11401FA7-99A4-4677-90CA-A64318CD730A}"/>
          </ac:spMkLst>
        </pc:spChg>
        <pc:spChg chg="del">
          <ac:chgData name="John Paserba" userId="77bd6c8a-d0c1-4fea-8705-0169f65d0c0e" providerId="ADAL" clId="{9C21DD65-54F1-43C5-A4ED-A2C467859D96}" dt="2025-07-22T16:56:52.808" v="1281" actId="478"/>
          <ac:spMkLst>
            <pc:docMk/>
            <pc:sldMk cId="2748499433" sldId="2147471546"/>
            <ac:spMk id="7" creationId="{B7756D67-442D-4CBC-863F-F2C7C693DB1A}"/>
          </ac:spMkLst>
        </pc:spChg>
      </pc:sldChg>
      <pc:sldChg chg="add">
        <pc:chgData name="John Paserba" userId="77bd6c8a-d0c1-4fea-8705-0169f65d0c0e" providerId="ADAL" clId="{9C21DD65-54F1-43C5-A4ED-A2C467859D96}" dt="2025-07-18T14:22:43.585" v="4"/>
        <pc:sldMkLst>
          <pc:docMk/>
          <pc:sldMk cId="2692168719" sldId="2147471548"/>
        </pc:sldMkLst>
      </pc:sldChg>
      <pc:sldChg chg="addSp modSp add del">
        <pc:chgData name="John Paserba" userId="77bd6c8a-d0c1-4fea-8705-0169f65d0c0e" providerId="ADAL" clId="{9C21DD65-54F1-43C5-A4ED-A2C467859D96}" dt="2025-07-22T15:23:01.910" v="644" actId="47"/>
        <pc:sldMkLst>
          <pc:docMk/>
          <pc:sldMk cId="2606923427" sldId="2147471549"/>
        </pc:sldMkLst>
        <pc:spChg chg="add mod">
          <ac:chgData name="John Paserba" userId="77bd6c8a-d0c1-4fea-8705-0169f65d0c0e" providerId="ADAL" clId="{9C21DD65-54F1-43C5-A4ED-A2C467859D96}" dt="2025-07-18T14:36:16.923" v="15"/>
          <ac:spMkLst>
            <pc:docMk/>
            <pc:sldMk cId="2606923427" sldId="2147471549"/>
            <ac:spMk id="12" creationId="{0371D2D5-1BDD-4494-9476-3CF08242180F}"/>
          </ac:spMkLst>
        </pc:spChg>
      </pc:sldChg>
      <pc:sldChg chg="add del">
        <pc:chgData name="John Paserba" userId="77bd6c8a-d0c1-4fea-8705-0169f65d0c0e" providerId="ADAL" clId="{9C21DD65-54F1-43C5-A4ED-A2C467859D96}" dt="2025-07-22T15:23:00.710" v="643" actId="47"/>
        <pc:sldMkLst>
          <pc:docMk/>
          <pc:sldMk cId="2976226202" sldId="2147471550"/>
        </pc:sldMkLst>
      </pc:sldChg>
      <pc:sldChg chg="add del">
        <pc:chgData name="John Paserba" userId="77bd6c8a-d0c1-4fea-8705-0169f65d0c0e" providerId="ADAL" clId="{9C21DD65-54F1-43C5-A4ED-A2C467859D96}" dt="2025-07-22T15:26:10.199" v="699"/>
        <pc:sldMkLst>
          <pc:docMk/>
          <pc:sldMk cId="3241094630" sldId="2147471567"/>
        </pc:sldMkLst>
      </pc:sldChg>
      <pc:sldChg chg="add del">
        <pc:chgData name="John Paserba" userId="77bd6c8a-d0c1-4fea-8705-0169f65d0c0e" providerId="ADAL" clId="{9C21DD65-54F1-43C5-A4ED-A2C467859D96}" dt="2025-07-22T15:26:10.199" v="699"/>
        <pc:sldMkLst>
          <pc:docMk/>
          <pc:sldMk cId="225414114" sldId="2147471571"/>
        </pc:sldMkLst>
      </pc:sldChg>
      <pc:sldChg chg="add del">
        <pc:chgData name="John Paserba" userId="77bd6c8a-d0c1-4fea-8705-0169f65d0c0e" providerId="ADAL" clId="{9C21DD65-54F1-43C5-A4ED-A2C467859D96}" dt="2025-07-22T15:26:10.199" v="699"/>
        <pc:sldMkLst>
          <pc:docMk/>
          <pc:sldMk cId="1850612918" sldId="2147471573"/>
        </pc:sldMkLst>
      </pc:sldChg>
      <pc:sldChg chg="modSp add del mod">
        <pc:chgData name="John Paserba" userId="77bd6c8a-d0c1-4fea-8705-0169f65d0c0e" providerId="ADAL" clId="{9C21DD65-54F1-43C5-A4ED-A2C467859D96}" dt="2025-07-22T17:07:55.385" v="1375" actId="12"/>
        <pc:sldMkLst>
          <pc:docMk/>
          <pc:sldMk cId="649508728" sldId="2147471574"/>
        </pc:sldMkLst>
        <pc:spChg chg="mod">
          <ac:chgData name="John Paserba" userId="77bd6c8a-d0c1-4fea-8705-0169f65d0c0e" providerId="ADAL" clId="{9C21DD65-54F1-43C5-A4ED-A2C467859D96}" dt="2025-07-22T17:07:34.595" v="1371" actId="1076"/>
          <ac:spMkLst>
            <pc:docMk/>
            <pc:sldMk cId="649508728" sldId="2147471574"/>
            <ac:spMk id="21" creationId="{FE4B2705-C7C6-4EE0-9E21-FED3D5C31F03}"/>
          </ac:spMkLst>
        </pc:spChg>
        <pc:spChg chg="mod">
          <ac:chgData name="John Paserba" userId="77bd6c8a-d0c1-4fea-8705-0169f65d0c0e" providerId="ADAL" clId="{9C21DD65-54F1-43C5-A4ED-A2C467859D96}" dt="2025-07-22T17:07:38.755" v="1372" actId="1076"/>
          <ac:spMkLst>
            <pc:docMk/>
            <pc:sldMk cId="649508728" sldId="2147471574"/>
            <ac:spMk id="22" creationId="{89788484-C2CE-4447-A3C6-EBD321F1E2F1}"/>
          </ac:spMkLst>
        </pc:spChg>
        <pc:spChg chg="mod">
          <ac:chgData name="John Paserba" userId="77bd6c8a-d0c1-4fea-8705-0169f65d0c0e" providerId="ADAL" clId="{9C21DD65-54F1-43C5-A4ED-A2C467859D96}" dt="2025-07-22T17:07:55.385" v="1375" actId="12"/>
          <ac:spMkLst>
            <pc:docMk/>
            <pc:sldMk cId="649508728" sldId="2147471574"/>
            <ac:spMk id="27" creationId="{48790CF8-9819-40A9-9326-7F423C80CF72}"/>
          </ac:spMkLst>
        </pc:spChg>
      </pc:sldChg>
      <pc:sldChg chg="modSp add del mod">
        <pc:chgData name="John Paserba" userId="77bd6c8a-d0c1-4fea-8705-0169f65d0c0e" providerId="ADAL" clId="{9C21DD65-54F1-43C5-A4ED-A2C467859D96}" dt="2025-07-22T17:13:56.294" v="1559" actId="255"/>
        <pc:sldMkLst>
          <pc:docMk/>
          <pc:sldMk cId="2546989764" sldId="2147471575"/>
        </pc:sldMkLst>
        <pc:spChg chg="mod">
          <ac:chgData name="John Paserba" userId="77bd6c8a-d0c1-4fea-8705-0169f65d0c0e" providerId="ADAL" clId="{9C21DD65-54F1-43C5-A4ED-A2C467859D96}" dt="2025-07-22T17:13:56.294" v="1559" actId="255"/>
          <ac:spMkLst>
            <pc:docMk/>
            <pc:sldMk cId="2546989764" sldId="2147471575"/>
            <ac:spMk id="27" creationId="{48790CF8-9819-40A9-9326-7F423C80CF72}"/>
          </ac:spMkLst>
        </pc:spChg>
      </pc:sldChg>
      <pc:sldChg chg="addSp modSp add del mod">
        <pc:chgData name="John Paserba" userId="77bd6c8a-d0c1-4fea-8705-0169f65d0c0e" providerId="ADAL" clId="{9C21DD65-54F1-43C5-A4ED-A2C467859D96}" dt="2025-07-22T17:11:58.538" v="1510" actId="1036"/>
        <pc:sldMkLst>
          <pc:docMk/>
          <pc:sldMk cId="1095522058" sldId="2147471576"/>
        </pc:sldMkLst>
        <pc:spChg chg="mod">
          <ac:chgData name="John Paserba" userId="77bd6c8a-d0c1-4fea-8705-0169f65d0c0e" providerId="ADAL" clId="{9C21DD65-54F1-43C5-A4ED-A2C467859D96}" dt="2025-07-18T14:44:42.074" v="163" actId="1076"/>
          <ac:spMkLst>
            <pc:docMk/>
            <pc:sldMk cId="1095522058" sldId="2147471576"/>
            <ac:spMk id="8" creationId="{7AF590DC-BD17-49C4-9D29-A4CA1B7E38DF}"/>
          </ac:spMkLst>
        </pc:spChg>
        <pc:spChg chg="add mod">
          <ac:chgData name="John Paserba" userId="77bd6c8a-d0c1-4fea-8705-0169f65d0c0e" providerId="ADAL" clId="{9C21DD65-54F1-43C5-A4ED-A2C467859D96}" dt="2025-07-18T14:43:50.805" v="155"/>
          <ac:spMkLst>
            <pc:docMk/>
            <pc:sldMk cId="1095522058" sldId="2147471576"/>
            <ac:spMk id="9" creationId="{5409EC53-40BF-4E5D-9DD6-74E8DCE1AAAC}"/>
          </ac:spMkLst>
        </pc:spChg>
        <pc:spChg chg="mod">
          <ac:chgData name="John Paserba" userId="77bd6c8a-d0c1-4fea-8705-0169f65d0c0e" providerId="ADAL" clId="{9C21DD65-54F1-43C5-A4ED-A2C467859D96}" dt="2025-07-22T17:11:39.015" v="1479"/>
          <ac:spMkLst>
            <pc:docMk/>
            <pc:sldMk cId="1095522058" sldId="2147471576"/>
            <ac:spMk id="9" creationId="{B840415E-E97D-4754-A3F5-9FFA9D563D9B}"/>
          </ac:spMkLst>
        </pc:spChg>
        <pc:spChg chg="mod">
          <ac:chgData name="John Paserba" userId="77bd6c8a-d0c1-4fea-8705-0169f65d0c0e" providerId="ADAL" clId="{9C21DD65-54F1-43C5-A4ED-A2C467859D96}" dt="2025-07-22T15:43:09.787" v="891"/>
          <ac:spMkLst>
            <pc:docMk/>
            <pc:sldMk cId="1095522058" sldId="2147471576"/>
            <ac:spMk id="9" creationId="{BC22C5F4-3F42-47E1-AA1B-F5EA7C226BEA}"/>
          </ac:spMkLst>
        </pc:spChg>
        <pc:spChg chg="mod">
          <ac:chgData name="John Paserba" userId="77bd6c8a-d0c1-4fea-8705-0169f65d0c0e" providerId="ADAL" clId="{9C21DD65-54F1-43C5-A4ED-A2C467859D96}" dt="2025-07-22T15:43:09.787" v="891"/>
          <ac:spMkLst>
            <pc:docMk/>
            <pc:sldMk cId="1095522058" sldId="2147471576"/>
            <ac:spMk id="12" creationId="{08EBCC02-58F3-4997-9311-98A7E23522FB}"/>
          </ac:spMkLst>
        </pc:spChg>
        <pc:spChg chg="mod">
          <ac:chgData name="John Paserba" userId="77bd6c8a-d0c1-4fea-8705-0169f65d0c0e" providerId="ADAL" clId="{9C21DD65-54F1-43C5-A4ED-A2C467859D96}" dt="2025-07-22T17:11:39.015" v="1479"/>
          <ac:spMkLst>
            <pc:docMk/>
            <pc:sldMk cId="1095522058" sldId="2147471576"/>
            <ac:spMk id="12" creationId="{AE1F742E-CA14-4B95-8954-D26278091F49}"/>
          </ac:spMkLst>
        </pc:spChg>
        <pc:spChg chg="mod">
          <ac:chgData name="John Paserba" userId="77bd6c8a-d0c1-4fea-8705-0169f65d0c0e" providerId="ADAL" clId="{9C21DD65-54F1-43C5-A4ED-A2C467859D96}" dt="2025-07-22T15:44:36.628" v="914" actId="1037"/>
          <ac:spMkLst>
            <pc:docMk/>
            <pc:sldMk cId="1095522058" sldId="2147471576"/>
            <ac:spMk id="3328002" creationId="{00000000-0000-0000-0000-000000000000}"/>
          </ac:spMkLst>
        </pc:spChg>
        <pc:grpChg chg="add mod">
          <ac:chgData name="John Paserba" userId="77bd6c8a-d0c1-4fea-8705-0169f65d0c0e" providerId="ADAL" clId="{9C21DD65-54F1-43C5-A4ED-A2C467859D96}" dt="2025-07-22T17:11:47.802" v="1480" actId="167"/>
          <ac:grpSpMkLst>
            <pc:docMk/>
            <pc:sldMk cId="1095522058" sldId="2147471576"/>
            <ac:grpSpMk id="8" creationId="{08A8E094-7FC9-4767-9F64-2A29CEDE1332}"/>
          </ac:grpSpMkLst>
        </pc:grpChg>
        <pc:grpChg chg="add mod">
          <ac:chgData name="John Paserba" userId="77bd6c8a-d0c1-4fea-8705-0169f65d0c0e" providerId="ADAL" clId="{9C21DD65-54F1-43C5-A4ED-A2C467859D96}" dt="2025-07-22T15:44:26.508" v="901" actId="167"/>
          <ac:grpSpMkLst>
            <pc:docMk/>
            <pc:sldMk cId="1095522058" sldId="2147471576"/>
            <ac:grpSpMk id="8" creationId="{EC59E0DD-A693-4A57-9105-AADFB80FCAB8}"/>
          </ac:grpSpMkLst>
        </pc:grpChg>
        <pc:grpChg chg="add mod">
          <ac:chgData name="John Paserba" userId="77bd6c8a-d0c1-4fea-8705-0169f65d0c0e" providerId="ADAL" clId="{9C21DD65-54F1-43C5-A4ED-A2C467859D96}" dt="2025-07-22T15:43:09.787" v="891"/>
          <ac:grpSpMkLst>
            <pc:docMk/>
            <pc:sldMk cId="1095522058" sldId="2147471576"/>
            <ac:grpSpMk id="11" creationId="{04AF1707-30E1-4030-8980-00C0E7FB0DE7}"/>
          </ac:grpSpMkLst>
        </pc:grpChg>
        <pc:grpChg chg="add mod">
          <ac:chgData name="John Paserba" userId="77bd6c8a-d0c1-4fea-8705-0169f65d0c0e" providerId="ADAL" clId="{9C21DD65-54F1-43C5-A4ED-A2C467859D96}" dt="2025-07-22T17:11:39.015" v="1479"/>
          <ac:grpSpMkLst>
            <pc:docMk/>
            <pc:sldMk cId="1095522058" sldId="2147471576"/>
            <ac:grpSpMk id="11" creationId="{485DDC22-3D29-45FF-9E80-0A8F577EEB3A}"/>
          </ac:grpSpMkLst>
        </pc:grpChg>
        <pc:graphicFrameChg chg="mod modGraphic">
          <ac:chgData name="John Paserba" userId="77bd6c8a-d0c1-4fea-8705-0169f65d0c0e" providerId="ADAL" clId="{9C21DD65-54F1-43C5-A4ED-A2C467859D96}" dt="2025-07-22T17:11:58.538" v="1510" actId="1036"/>
          <ac:graphicFrameMkLst>
            <pc:docMk/>
            <pc:sldMk cId="1095522058" sldId="2147471576"/>
            <ac:graphicFrameMk id="2" creationId="{1B358E56-AC5F-4DD4-80F6-DDE55309771C}"/>
          </ac:graphicFrameMkLst>
        </pc:graphicFrameChg>
        <pc:picChg chg="mod">
          <ac:chgData name="John Paserba" userId="77bd6c8a-d0c1-4fea-8705-0169f65d0c0e" providerId="ADAL" clId="{9C21DD65-54F1-43C5-A4ED-A2C467859D96}" dt="2025-07-22T17:11:39.015" v="1479"/>
          <ac:picMkLst>
            <pc:docMk/>
            <pc:sldMk cId="1095522058" sldId="2147471576"/>
            <ac:picMk id="10" creationId="{887AE0FC-719F-470D-914D-32E6F967AEFE}"/>
          </ac:picMkLst>
        </pc:picChg>
        <pc:picChg chg="mod">
          <ac:chgData name="John Paserba" userId="77bd6c8a-d0c1-4fea-8705-0169f65d0c0e" providerId="ADAL" clId="{9C21DD65-54F1-43C5-A4ED-A2C467859D96}" dt="2025-07-22T15:43:09.787" v="891"/>
          <ac:picMkLst>
            <pc:docMk/>
            <pc:sldMk cId="1095522058" sldId="2147471576"/>
            <ac:picMk id="10" creationId="{E6A3E96D-462E-4564-A8F9-AC8E78FC62E7}"/>
          </ac:picMkLst>
        </pc:picChg>
        <pc:picChg chg="mod">
          <ac:chgData name="John Paserba" userId="77bd6c8a-d0c1-4fea-8705-0169f65d0c0e" providerId="ADAL" clId="{9C21DD65-54F1-43C5-A4ED-A2C467859D96}" dt="2025-07-22T17:11:39.015" v="1479"/>
          <ac:picMkLst>
            <pc:docMk/>
            <pc:sldMk cId="1095522058" sldId="2147471576"/>
            <ac:picMk id="13" creationId="{7A9DE9EF-166D-4006-87D8-5D44F1A02401}"/>
          </ac:picMkLst>
        </pc:picChg>
        <pc:picChg chg="mod">
          <ac:chgData name="John Paserba" userId="77bd6c8a-d0c1-4fea-8705-0169f65d0c0e" providerId="ADAL" clId="{9C21DD65-54F1-43C5-A4ED-A2C467859D96}" dt="2025-07-22T15:43:09.787" v="891"/>
          <ac:picMkLst>
            <pc:docMk/>
            <pc:sldMk cId="1095522058" sldId="2147471576"/>
            <ac:picMk id="13" creationId="{99028157-24ED-4A16-B51B-D6B548F9458E}"/>
          </ac:picMkLst>
        </pc:picChg>
      </pc:sldChg>
      <pc:sldChg chg="add del">
        <pc:chgData name="John Paserba" userId="77bd6c8a-d0c1-4fea-8705-0169f65d0c0e" providerId="ADAL" clId="{9C21DD65-54F1-43C5-A4ED-A2C467859D96}" dt="2025-07-22T15:26:10.199" v="699"/>
        <pc:sldMkLst>
          <pc:docMk/>
          <pc:sldMk cId="1338355350" sldId="2147471577"/>
        </pc:sldMkLst>
      </pc:sldChg>
      <pc:sldChg chg="add del">
        <pc:chgData name="John Paserba" userId="77bd6c8a-d0c1-4fea-8705-0169f65d0c0e" providerId="ADAL" clId="{9C21DD65-54F1-43C5-A4ED-A2C467859D96}" dt="2025-07-22T15:26:10.199" v="699"/>
        <pc:sldMkLst>
          <pc:docMk/>
          <pc:sldMk cId="363196986" sldId="2147471578"/>
        </pc:sldMkLst>
      </pc:sldChg>
      <pc:sldChg chg="modSp add del mod">
        <pc:chgData name="John Paserba" userId="77bd6c8a-d0c1-4fea-8705-0169f65d0c0e" providerId="ADAL" clId="{9C21DD65-54F1-43C5-A4ED-A2C467859D96}" dt="2025-07-22T15:29:02.633" v="734" actId="948"/>
        <pc:sldMkLst>
          <pc:docMk/>
          <pc:sldMk cId="471544151" sldId="2147471579"/>
        </pc:sldMkLst>
        <pc:spChg chg="mod">
          <ac:chgData name="John Paserba" userId="77bd6c8a-d0c1-4fea-8705-0169f65d0c0e" providerId="ADAL" clId="{9C21DD65-54F1-43C5-A4ED-A2C467859D96}" dt="2025-07-22T15:29:02.633" v="734" actId="948"/>
          <ac:spMkLst>
            <pc:docMk/>
            <pc:sldMk cId="471544151" sldId="2147471579"/>
            <ac:spMk id="3" creationId="{E6993746-A424-4F09-867F-B919F4E18ECB}"/>
          </ac:spMkLst>
        </pc:spChg>
      </pc:sldChg>
      <pc:sldChg chg="add del">
        <pc:chgData name="John Paserba" userId="77bd6c8a-d0c1-4fea-8705-0169f65d0c0e" providerId="ADAL" clId="{9C21DD65-54F1-43C5-A4ED-A2C467859D96}" dt="2025-07-22T15:26:10.199" v="699"/>
        <pc:sldMkLst>
          <pc:docMk/>
          <pc:sldMk cId="1394849283" sldId="2147471580"/>
        </pc:sldMkLst>
      </pc:sldChg>
      <pc:sldChg chg="modSp add del mod">
        <pc:chgData name="John Paserba" userId="77bd6c8a-d0c1-4fea-8705-0169f65d0c0e" providerId="ADAL" clId="{9C21DD65-54F1-43C5-A4ED-A2C467859D96}" dt="2025-07-22T17:14:08.494" v="1560" actId="14100"/>
        <pc:sldMkLst>
          <pc:docMk/>
          <pc:sldMk cId="3997758254" sldId="2147471581"/>
        </pc:sldMkLst>
        <pc:spChg chg="mod">
          <ac:chgData name="John Paserba" userId="77bd6c8a-d0c1-4fea-8705-0169f65d0c0e" providerId="ADAL" clId="{9C21DD65-54F1-43C5-A4ED-A2C467859D96}" dt="2025-07-22T17:14:08.494" v="1560" actId="14100"/>
          <ac:spMkLst>
            <pc:docMk/>
            <pc:sldMk cId="3997758254" sldId="2147471581"/>
            <ac:spMk id="13" creationId="{8F7EF60A-DD9C-428C-A50D-E71CD420B12B}"/>
          </ac:spMkLst>
        </pc:spChg>
      </pc:sldChg>
      <pc:sldChg chg="del">
        <pc:chgData name="John Paserba" userId="77bd6c8a-d0c1-4fea-8705-0169f65d0c0e" providerId="ADAL" clId="{9C21DD65-54F1-43C5-A4ED-A2C467859D96}" dt="2025-07-21T22:38:16.435" v="642" actId="47"/>
        <pc:sldMkLst>
          <pc:docMk/>
          <pc:sldMk cId="686154714" sldId="2147471584"/>
        </pc:sldMkLst>
      </pc:sldChg>
      <pc:sldChg chg="del">
        <pc:chgData name="John Paserba" userId="77bd6c8a-d0c1-4fea-8705-0169f65d0c0e" providerId="ADAL" clId="{9C21DD65-54F1-43C5-A4ED-A2C467859D96}" dt="2025-07-21T22:38:16.435" v="642" actId="47"/>
        <pc:sldMkLst>
          <pc:docMk/>
          <pc:sldMk cId="3308868071" sldId="2147471585"/>
        </pc:sldMkLst>
      </pc:sldChg>
      <pc:sldChg chg="del">
        <pc:chgData name="John Paserba" userId="77bd6c8a-d0c1-4fea-8705-0169f65d0c0e" providerId="ADAL" clId="{9C21DD65-54F1-43C5-A4ED-A2C467859D96}" dt="2025-07-21T22:38:16.435" v="642" actId="47"/>
        <pc:sldMkLst>
          <pc:docMk/>
          <pc:sldMk cId="2807248214" sldId="2147471586"/>
        </pc:sldMkLst>
      </pc:sldChg>
      <pc:sldChg chg="del">
        <pc:chgData name="John Paserba" userId="77bd6c8a-d0c1-4fea-8705-0169f65d0c0e" providerId="ADAL" clId="{9C21DD65-54F1-43C5-A4ED-A2C467859D96}" dt="2025-07-21T22:38:16.435" v="642" actId="47"/>
        <pc:sldMkLst>
          <pc:docMk/>
          <pc:sldMk cId="1630224689" sldId="2147471587"/>
        </pc:sldMkLst>
      </pc:sldChg>
      <pc:sldChg chg="add del">
        <pc:chgData name="John Paserba" userId="77bd6c8a-d0c1-4fea-8705-0169f65d0c0e" providerId="ADAL" clId="{9C21DD65-54F1-43C5-A4ED-A2C467859D96}" dt="2025-07-22T16:18:34.948" v="1187"/>
        <pc:sldMkLst>
          <pc:docMk/>
          <pc:sldMk cId="3831343774" sldId="2147471590"/>
        </pc:sldMkLst>
      </pc:sldChg>
      <pc:sldChg chg="modSp add del mod">
        <pc:chgData name="John Paserba" userId="77bd6c8a-d0c1-4fea-8705-0169f65d0c0e" providerId="ADAL" clId="{9C21DD65-54F1-43C5-A4ED-A2C467859D96}" dt="2025-07-22T16:21:06.995" v="1199" actId="255"/>
        <pc:sldMkLst>
          <pc:docMk/>
          <pc:sldMk cId="3886136744" sldId="2147471591"/>
        </pc:sldMkLst>
        <pc:spChg chg="mod">
          <ac:chgData name="John Paserba" userId="77bd6c8a-d0c1-4fea-8705-0169f65d0c0e" providerId="ADAL" clId="{9C21DD65-54F1-43C5-A4ED-A2C467859D96}" dt="2025-07-22T16:21:06.995" v="1199" actId="255"/>
          <ac:spMkLst>
            <pc:docMk/>
            <pc:sldMk cId="3886136744" sldId="2147471591"/>
            <ac:spMk id="3328002" creationId="{00000000-0000-0000-0000-000000000000}"/>
          </ac:spMkLst>
        </pc:spChg>
      </pc:sldChg>
      <pc:sldChg chg="del">
        <pc:chgData name="John Paserba" userId="77bd6c8a-d0c1-4fea-8705-0169f65d0c0e" providerId="ADAL" clId="{9C21DD65-54F1-43C5-A4ED-A2C467859D96}" dt="2025-07-21T22:38:16.435" v="642" actId="47"/>
        <pc:sldMkLst>
          <pc:docMk/>
          <pc:sldMk cId="4066292765" sldId="2147471593"/>
        </pc:sldMkLst>
      </pc:sldChg>
      <pc:sldChg chg="del">
        <pc:chgData name="John Paserba" userId="77bd6c8a-d0c1-4fea-8705-0169f65d0c0e" providerId="ADAL" clId="{9C21DD65-54F1-43C5-A4ED-A2C467859D96}" dt="2025-07-21T22:38:16.435" v="642" actId="47"/>
        <pc:sldMkLst>
          <pc:docMk/>
          <pc:sldMk cId="690595499" sldId="2147471597"/>
        </pc:sldMkLst>
      </pc:sldChg>
      <pc:sldChg chg="del">
        <pc:chgData name="John Paserba" userId="77bd6c8a-d0c1-4fea-8705-0169f65d0c0e" providerId="ADAL" clId="{9C21DD65-54F1-43C5-A4ED-A2C467859D96}" dt="2025-07-21T22:38:16.435" v="642" actId="47"/>
        <pc:sldMkLst>
          <pc:docMk/>
          <pc:sldMk cId="269872277" sldId="2147471598"/>
        </pc:sldMkLst>
      </pc:sldChg>
      <pc:sldChg chg="del">
        <pc:chgData name="John Paserba" userId="77bd6c8a-d0c1-4fea-8705-0169f65d0c0e" providerId="ADAL" clId="{9C21DD65-54F1-43C5-A4ED-A2C467859D96}" dt="2025-07-21T22:38:16.435" v="642" actId="47"/>
        <pc:sldMkLst>
          <pc:docMk/>
          <pc:sldMk cId="1429609541" sldId="2147471599"/>
        </pc:sldMkLst>
      </pc:sldChg>
      <pc:sldChg chg="del">
        <pc:chgData name="John Paserba" userId="77bd6c8a-d0c1-4fea-8705-0169f65d0c0e" providerId="ADAL" clId="{9C21DD65-54F1-43C5-A4ED-A2C467859D96}" dt="2025-07-22T15:26:06.674" v="698" actId="47"/>
        <pc:sldMkLst>
          <pc:docMk/>
          <pc:sldMk cId="2218924476" sldId="2147471602"/>
        </pc:sldMkLst>
      </pc:sldChg>
      <pc:sldChg chg="del">
        <pc:chgData name="John Paserba" userId="77bd6c8a-d0c1-4fea-8705-0169f65d0c0e" providerId="ADAL" clId="{9C21DD65-54F1-43C5-A4ED-A2C467859D96}" dt="2025-07-22T15:26:06.674" v="698" actId="47"/>
        <pc:sldMkLst>
          <pc:docMk/>
          <pc:sldMk cId="19358584" sldId="2147471603"/>
        </pc:sldMkLst>
      </pc:sldChg>
      <pc:sldChg chg="del">
        <pc:chgData name="John Paserba" userId="77bd6c8a-d0c1-4fea-8705-0169f65d0c0e" providerId="ADAL" clId="{9C21DD65-54F1-43C5-A4ED-A2C467859D96}" dt="2025-07-22T15:26:06.674" v="698" actId="47"/>
        <pc:sldMkLst>
          <pc:docMk/>
          <pc:sldMk cId="1261426958" sldId="2147471604"/>
        </pc:sldMkLst>
      </pc:sldChg>
      <pc:sldChg chg="del">
        <pc:chgData name="John Paserba" userId="77bd6c8a-d0c1-4fea-8705-0169f65d0c0e" providerId="ADAL" clId="{9C21DD65-54F1-43C5-A4ED-A2C467859D96}" dt="2025-07-22T15:26:06.674" v="698" actId="47"/>
        <pc:sldMkLst>
          <pc:docMk/>
          <pc:sldMk cId="3519490064" sldId="2147471605"/>
        </pc:sldMkLst>
      </pc:sldChg>
      <pc:sldChg chg="del">
        <pc:chgData name="John Paserba" userId="77bd6c8a-d0c1-4fea-8705-0169f65d0c0e" providerId="ADAL" clId="{9C21DD65-54F1-43C5-A4ED-A2C467859D96}" dt="2025-07-22T15:26:06.674" v="698" actId="47"/>
        <pc:sldMkLst>
          <pc:docMk/>
          <pc:sldMk cId="2194695294" sldId="2147471606"/>
        </pc:sldMkLst>
      </pc:sldChg>
      <pc:sldChg chg="del">
        <pc:chgData name="John Paserba" userId="77bd6c8a-d0c1-4fea-8705-0169f65d0c0e" providerId="ADAL" clId="{9C21DD65-54F1-43C5-A4ED-A2C467859D96}" dt="2025-07-22T15:26:06.674" v="698" actId="47"/>
        <pc:sldMkLst>
          <pc:docMk/>
          <pc:sldMk cId="4046313635" sldId="2147471607"/>
        </pc:sldMkLst>
      </pc:sldChg>
      <pc:sldChg chg="addSp delSp modSp add del mod">
        <pc:chgData name="John Paserba" userId="77bd6c8a-d0c1-4fea-8705-0169f65d0c0e" providerId="ADAL" clId="{9C21DD65-54F1-43C5-A4ED-A2C467859D96}" dt="2025-07-22T15:36:30.856" v="808" actId="478"/>
        <pc:sldMkLst>
          <pc:docMk/>
          <pc:sldMk cId="976164263" sldId="2147471608"/>
        </pc:sldMkLst>
        <pc:spChg chg="add del mod">
          <ac:chgData name="John Paserba" userId="77bd6c8a-d0c1-4fea-8705-0169f65d0c0e" providerId="ADAL" clId="{9C21DD65-54F1-43C5-A4ED-A2C467859D96}" dt="2025-07-22T15:36:30.856" v="808" actId="478"/>
          <ac:spMkLst>
            <pc:docMk/>
            <pc:sldMk cId="976164263" sldId="2147471608"/>
            <ac:spMk id="21" creationId="{17861C52-2A28-47FD-8ED7-7D0ABEA2DB15}"/>
          </ac:spMkLst>
        </pc:spChg>
        <pc:spChg chg="mod">
          <ac:chgData name="John Paserba" userId="77bd6c8a-d0c1-4fea-8705-0169f65d0c0e" providerId="ADAL" clId="{9C21DD65-54F1-43C5-A4ED-A2C467859D96}" dt="2025-07-22T15:29:42.633" v="735" actId="2711"/>
          <ac:spMkLst>
            <pc:docMk/>
            <pc:sldMk cId="976164263" sldId="2147471608"/>
            <ac:spMk id="31" creationId="{0187A2FE-4952-48F8-BD31-8690380594D9}"/>
          </ac:spMkLst>
        </pc:spChg>
        <pc:spChg chg="mod">
          <ac:chgData name="John Paserba" userId="77bd6c8a-d0c1-4fea-8705-0169f65d0c0e" providerId="ADAL" clId="{9C21DD65-54F1-43C5-A4ED-A2C467859D96}" dt="2025-07-22T15:30:49.867" v="737" actId="1076"/>
          <ac:spMkLst>
            <pc:docMk/>
            <pc:sldMk cId="976164263" sldId="2147471608"/>
            <ac:spMk id="3328002" creationId="{00000000-0000-0000-0000-000000000000}"/>
          </ac:spMkLst>
        </pc:spChg>
      </pc:sldChg>
      <pc:sldChg chg="addSp delSp modSp add del mod">
        <pc:chgData name="John Paserba" userId="77bd6c8a-d0c1-4fea-8705-0169f65d0c0e" providerId="ADAL" clId="{9C21DD65-54F1-43C5-A4ED-A2C467859D96}" dt="2025-07-22T15:58:25.163" v="1005" actId="20577"/>
        <pc:sldMkLst>
          <pc:docMk/>
          <pc:sldMk cId="2252215513" sldId="2147471610"/>
        </pc:sldMkLst>
        <pc:spChg chg="del">
          <ac:chgData name="John Paserba" userId="77bd6c8a-d0c1-4fea-8705-0169f65d0c0e" providerId="ADAL" clId="{9C21DD65-54F1-43C5-A4ED-A2C467859D96}" dt="2025-07-22T15:58:17.849" v="1001" actId="478"/>
          <ac:spMkLst>
            <pc:docMk/>
            <pc:sldMk cId="2252215513" sldId="2147471610"/>
            <ac:spMk id="12" creationId="{877B9D4C-619B-4F38-B85E-1A24DFC150E8}"/>
          </ac:spMkLst>
        </pc:spChg>
        <pc:spChg chg="add mod">
          <ac:chgData name="John Paserba" userId="77bd6c8a-d0c1-4fea-8705-0169f65d0c0e" providerId="ADAL" clId="{9C21DD65-54F1-43C5-A4ED-A2C467859D96}" dt="2025-07-22T15:58:25.163" v="1005" actId="20577"/>
          <ac:spMkLst>
            <pc:docMk/>
            <pc:sldMk cId="2252215513" sldId="2147471610"/>
            <ac:spMk id="13" creationId="{333B4120-E4C4-4698-A7D9-888EE0819D62}"/>
          </ac:spMkLst>
        </pc:spChg>
      </pc:sldChg>
      <pc:sldChg chg="add del">
        <pc:chgData name="John Paserba" userId="77bd6c8a-d0c1-4fea-8705-0169f65d0c0e" providerId="ADAL" clId="{9C21DD65-54F1-43C5-A4ED-A2C467859D96}" dt="2025-07-22T16:02:23.679" v="1017"/>
        <pc:sldMkLst>
          <pc:docMk/>
          <pc:sldMk cId="3752514244" sldId="2147471613"/>
        </pc:sldMkLst>
      </pc:sldChg>
      <pc:sldChg chg="delSp add del mod">
        <pc:chgData name="John Paserba" userId="77bd6c8a-d0c1-4fea-8705-0169f65d0c0e" providerId="ADAL" clId="{9C21DD65-54F1-43C5-A4ED-A2C467859D96}" dt="2025-07-22T16:02:40.434" v="1020" actId="478"/>
        <pc:sldMkLst>
          <pc:docMk/>
          <pc:sldMk cId="3681720179" sldId="2147471622"/>
        </pc:sldMkLst>
        <pc:spChg chg="del">
          <ac:chgData name="John Paserba" userId="77bd6c8a-d0c1-4fea-8705-0169f65d0c0e" providerId="ADAL" clId="{9C21DD65-54F1-43C5-A4ED-A2C467859D96}" dt="2025-07-22T16:02:40.434" v="1020" actId="478"/>
          <ac:spMkLst>
            <pc:docMk/>
            <pc:sldMk cId="3681720179" sldId="2147471622"/>
            <ac:spMk id="18" creationId="{F3EE528C-2D15-409E-84C3-9343B76BACC5}"/>
          </ac:spMkLst>
        </pc:spChg>
        <pc:spChg chg="del">
          <ac:chgData name="John Paserba" userId="77bd6c8a-d0c1-4fea-8705-0169f65d0c0e" providerId="ADAL" clId="{9C21DD65-54F1-43C5-A4ED-A2C467859D96}" dt="2025-07-22T16:02:31.706" v="1018" actId="478"/>
          <ac:spMkLst>
            <pc:docMk/>
            <pc:sldMk cId="3681720179" sldId="2147471622"/>
            <ac:spMk id="20" creationId="{30BC2D3D-10C8-4001-BFAC-2DC0E4F7FD70}"/>
          </ac:spMkLst>
        </pc:spChg>
        <pc:spChg chg="del">
          <ac:chgData name="John Paserba" userId="77bd6c8a-d0c1-4fea-8705-0169f65d0c0e" providerId="ADAL" clId="{9C21DD65-54F1-43C5-A4ED-A2C467859D96}" dt="2025-07-22T16:02:37.304" v="1019" actId="478"/>
          <ac:spMkLst>
            <pc:docMk/>
            <pc:sldMk cId="3681720179" sldId="2147471622"/>
            <ac:spMk id="21" creationId="{EF650E70-7494-4102-8230-598C5AD7D876}"/>
          </ac:spMkLst>
        </pc:spChg>
      </pc:sldChg>
      <pc:sldChg chg="delSp modSp add del mod">
        <pc:chgData name="John Paserba" userId="77bd6c8a-d0c1-4fea-8705-0169f65d0c0e" providerId="ADAL" clId="{9C21DD65-54F1-43C5-A4ED-A2C467859D96}" dt="2025-07-22T16:12:23.052" v="1117" actId="13926"/>
        <pc:sldMkLst>
          <pc:docMk/>
          <pc:sldMk cId="4056519351" sldId="2147471625"/>
        </pc:sldMkLst>
        <pc:spChg chg="del">
          <ac:chgData name="John Paserba" userId="77bd6c8a-d0c1-4fea-8705-0169f65d0c0e" providerId="ADAL" clId="{9C21DD65-54F1-43C5-A4ED-A2C467859D96}" dt="2025-07-22T16:07:51.156" v="1063" actId="478"/>
          <ac:spMkLst>
            <pc:docMk/>
            <pc:sldMk cId="4056519351" sldId="2147471625"/>
            <ac:spMk id="16" creationId="{AD7CD474-C212-478A-A3D8-CF11A4604D99}"/>
          </ac:spMkLst>
        </pc:spChg>
        <pc:spChg chg="del">
          <ac:chgData name="John Paserba" userId="77bd6c8a-d0c1-4fea-8705-0169f65d0c0e" providerId="ADAL" clId="{9C21DD65-54F1-43C5-A4ED-A2C467859D96}" dt="2025-07-22T16:07:48.135" v="1062" actId="478"/>
          <ac:spMkLst>
            <pc:docMk/>
            <pc:sldMk cId="4056519351" sldId="2147471625"/>
            <ac:spMk id="17" creationId="{3650ADD6-0753-47ED-8648-E99CC0EAE902}"/>
          </ac:spMkLst>
        </pc:spChg>
        <pc:spChg chg="mod">
          <ac:chgData name="John Paserba" userId="77bd6c8a-d0c1-4fea-8705-0169f65d0c0e" providerId="ADAL" clId="{9C21DD65-54F1-43C5-A4ED-A2C467859D96}" dt="2025-07-22T16:10:37.696" v="1069" actId="688"/>
          <ac:spMkLst>
            <pc:docMk/>
            <pc:sldMk cId="4056519351" sldId="2147471625"/>
            <ac:spMk id="18" creationId="{19965AA2-BADD-4435-BC54-EE4744F9008B}"/>
          </ac:spMkLst>
        </pc:spChg>
        <pc:spChg chg="mod">
          <ac:chgData name="John Paserba" userId="77bd6c8a-d0c1-4fea-8705-0169f65d0c0e" providerId="ADAL" clId="{9C21DD65-54F1-43C5-A4ED-A2C467859D96}" dt="2025-07-22T16:12:23.052" v="1117" actId="13926"/>
          <ac:spMkLst>
            <pc:docMk/>
            <pc:sldMk cId="4056519351" sldId="2147471625"/>
            <ac:spMk id="20" creationId="{4D0E4E71-6D2E-4332-8740-13F2DCDF2F5E}"/>
          </ac:spMkLst>
        </pc:spChg>
        <pc:graphicFrameChg chg="mod">
          <ac:chgData name="John Paserba" userId="77bd6c8a-d0c1-4fea-8705-0169f65d0c0e" providerId="ADAL" clId="{9C21DD65-54F1-43C5-A4ED-A2C467859D96}" dt="2025-07-22T16:11:52.781" v="1082"/>
          <ac:graphicFrameMkLst>
            <pc:docMk/>
            <pc:sldMk cId="4056519351" sldId="2147471625"/>
            <ac:graphicFrameMk id="5" creationId="{00000000-0000-0000-0000-000000000000}"/>
          </ac:graphicFrameMkLst>
        </pc:graphicFrameChg>
      </pc:sldChg>
      <pc:sldChg chg="delSp modSp add del mod">
        <pc:chgData name="John Paserba" userId="77bd6c8a-d0c1-4fea-8705-0169f65d0c0e" providerId="ADAL" clId="{9C21DD65-54F1-43C5-A4ED-A2C467859D96}" dt="2025-07-22T15:58:30.720" v="1008" actId="20577"/>
        <pc:sldMkLst>
          <pc:docMk/>
          <pc:sldMk cId="2472254228" sldId="2147471632"/>
        </pc:sldMkLst>
        <pc:spChg chg="mod">
          <ac:chgData name="John Paserba" userId="77bd6c8a-d0c1-4fea-8705-0169f65d0c0e" providerId="ADAL" clId="{9C21DD65-54F1-43C5-A4ED-A2C467859D96}" dt="2025-07-22T15:58:30.720" v="1008" actId="20577"/>
          <ac:spMkLst>
            <pc:docMk/>
            <pc:sldMk cId="2472254228" sldId="2147471632"/>
            <ac:spMk id="18" creationId="{323FB5F8-207B-40ED-833E-7E678AFE05FD}"/>
          </ac:spMkLst>
        </pc:spChg>
        <pc:spChg chg="del">
          <ac:chgData name="John Paserba" userId="77bd6c8a-d0c1-4fea-8705-0169f65d0c0e" providerId="ADAL" clId="{9C21DD65-54F1-43C5-A4ED-A2C467859D96}" dt="2025-07-22T15:55:41.508" v="968" actId="478"/>
          <ac:spMkLst>
            <pc:docMk/>
            <pc:sldMk cId="2472254228" sldId="2147471632"/>
            <ac:spMk id="20" creationId="{C2C141C1-25CD-426F-955D-A1E66E6C41C1}"/>
          </ac:spMkLst>
        </pc:spChg>
        <pc:spChg chg="del">
          <ac:chgData name="John Paserba" userId="77bd6c8a-d0c1-4fea-8705-0169f65d0c0e" providerId="ADAL" clId="{9C21DD65-54F1-43C5-A4ED-A2C467859D96}" dt="2025-07-22T15:55:44.082" v="969" actId="478"/>
          <ac:spMkLst>
            <pc:docMk/>
            <pc:sldMk cId="2472254228" sldId="2147471632"/>
            <ac:spMk id="21" creationId="{E32BA2E3-28DE-4616-AF71-120C8D23C9B0}"/>
          </ac:spMkLst>
        </pc:spChg>
        <pc:spChg chg="mod">
          <ac:chgData name="John Paserba" userId="77bd6c8a-d0c1-4fea-8705-0169f65d0c0e" providerId="ADAL" clId="{9C21DD65-54F1-43C5-A4ED-A2C467859D96}" dt="2025-07-22T15:56:31.263" v="999" actId="13926"/>
          <ac:spMkLst>
            <pc:docMk/>
            <pc:sldMk cId="2472254228" sldId="2147471632"/>
            <ac:spMk id="23" creationId="{9A58F41F-A6CC-478A-A45C-43902016E283}"/>
          </ac:spMkLst>
        </pc:spChg>
      </pc:sldChg>
      <pc:sldChg chg="modSp add del mod">
        <pc:chgData name="John Paserba" userId="77bd6c8a-d0c1-4fea-8705-0169f65d0c0e" providerId="ADAL" clId="{9C21DD65-54F1-43C5-A4ED-A2C467859D96}" dt="2025-07-22T16:14:17.537" v="1176" actId="1076"/>
        <pc:sldMkLst>
          <pc:docMk/>
          <pc:sldMk cId="488572414" sldId="2147471639"/>
        </pc:sldMkLst>
        <pc:spChg chg="mod">
          <ac:chgData name="John Paserba" userId="77bd6c8a-d0c1-4fea-8705-0169f65d0c0e" providerId="ADAL" clId="{9C21DD65-54F1-43C5-A4ED-A2C467859D96}" dt="2025-07-22T16:14:17.537" v="1176" actId="1076"/>
          <ac:spMkLst>
            <pc:docMk/>
            <pc:sldMk cId="488572414" sldId="2147471639"/>
            <ac:spMk id="12" creationId="{0495458C-8A63-47A4-A414-4AE3C2B35C39}"/>
          </ac:spMkLst>
        </pc:spChg>
      </pc:sldChg>
      <pc:sldChg chg="modSp mod">
        <pc:chgData name="John Paserba" userId="77bd6c8a-d0c1-4fea-8705-0169f65d0c0e" providerId="ADAL" clId="{9C21DD65-54F1-43C5-A4ED-A2C467859D96}" dt="2025-07-18T18:08:43.841" v="574" actId="1076"/>
        <pc:sldMkLst>
          <pc:docMk/>
          <pc:sldMk cId="2485570784" sldId="2147471643"/>
        </pc:sldMkLst>
        <pc:spChg chg="mod">
          <ac:chgData name="John Paserba" userId="77bd6c8a-d0c1-4fea-8705-0169f65d0c0e" providerId="ADAL" clId="{9C21DD65-54F1-43C5-A4ED-A2C467859D96}" dt="2025-07-18T18:05:37.055" v="540" actId="14100"/>
          <ac:spMkLst>
            <pc:docMk/>
            <pc:sldMk cId="2485570784" sldId="2147471643"/>
            <ac:spMk id="21" creationId="{162F52AD-3BF8-4DA7-9699-1FBCA3F31B22}"/>
          </ac:spMkLst>
        </pc:spChg>
        <pc:spChg chg="mod">
          <ac:chgData name="John Paserba" userId="77bd6c8a-d0c1-4fea-8705-0169f65d0c0e" providerId="ADAL" clId="{9C21DD65-54F1-43C5-A4ED-A2C467859D96}" dt="2025-07-18T18:08:43.841" v="574" actId="1076"/>
          <ac:spMkLst>
            <pc:docMk/>
            <pc:sldMk cId="2485570784" sldId="2147471643"/>
            <ac:spMk id="27" creationId="{756418B6-D77C-49FB-82D0-449E1514005D}"/>
          </ac:spMkLst>
        </pc:spChg>
        <pc:graphicFrameChg chg="mod">
          <ac:chgData name="John Paserba" userId="77bd6c8a-d0c1-4fea-8705-0169f65d0c0e" providerId="ADAL" clId="{9C21DD65-54F1-43C5-A4ED-A2C467859D96}" dt="2025-07-18T18:08:26.873" v="573"/>
          <ac:graphicFrameMkLst>
            <pc:docMk/>
            <pc:sldMk cId="2485570784" sldId="2147471643"/>
            <ac:graphicFrameMk id="16" creationId="{A9B09697-6D04-4AED-B8DA-7964DF323193}"/>
          </ac:graphicFrameMkLst>
        </pc:graphicFrameChg>
        <pc:graphicFrameChg chg="mod">
          <ac:chgData name="John Paserba" userId="77bd6c8a-d0c1-4fea-8705-0169f65d0c0e" providerId="ADAL" clId="{9C21DD65-54F1-43C5-A4ED-A2C467859D96}" dt="2025-07-18T18:07:10.309" v="563"/>
          <ac:graphicFrameMkLst>
            <pc:docMk/>
            <pc:sldMk cId="2485570784" sldId="2147471643"/>
            <ac:graphicFrameMk id="17" creationId="{92E26C94-F162-4B18-8B6C-AF382DB389C3}"/>
          </ac:graphicFrameMkLst>
        </pc:graphicFrameChg>
        <pc:graphicFrameChg chg="modGraphic">
          <ac:chgData name="John Paserba" userId="77bd6c8a-d0c1-4fea-8705-0169f65d0c0e" providerId="ADAL" clId="{9C21DD65-54F1-43C5-A4ED-A2C467859D96}" dt="2025-07-18T18:07:25.914" v="567" actId="20577"/>
          <ac:graphicFrameMkLst>
            <pc:docMk/>
            <pc:sldMk cId="2485570784" sldId="2147471643"/>
            <ac:graphicFrameMk id="22" creationId="{44E69467-56B4-473E-AA04-9341F5A64D36}"/>
          </ac:graphicFrameMkLst>
        </pc:graphicFrameChg>
      </pc:sldChg>
      <pc:sldChg chg="delSp add del mod">
        <pc:chgData name="John Paserba" userId="77bd6c8a-d0c1-4fea-8705-0169f65d0c0e" providerId="ADAL" clId="{9C21DD65-54F1-43C5-A4ED-A2C467859D96}" dt="2025-07-22T15:57:52.109" v="1000" actId="478"/>
        <pc:sldMkLst>
          <pc:docMk/>
          <pc:sldMk cId="889899731" sldId="2147471651"/>
        </pc:sldMkLst>
        <pc:spChg chg="del">
          <ac:chgData name="John Paserba" userId="77bd6c8a-d0c1-4fea-8705-0169f65d0c0e" providerId="ADAL" clId="{9C21DD65-54F1-43C5-A4ED-A2C467859D96}" dt="2025-07-22T15:57:52.109" v="1000" actId="478"/>
          <ac:spMkLst>
            <pc:docMk/>
            <pc:sldMk cId="889899731" sldId="2147471651"/>
            <ac:spMk id="7" creationId="{D9CD20AD-ECD8-4A7A-A2C9-96F7D666A49A}"/>
          </ac:spMkLst>
        </pc:spChg>
      </pc:sldChg>
      <pc:sldChg chg="delSp modSp add del mod">
        <pc:chgData name="John Paserba" userId="77bd6c8a-d0c1-4fea-8705-0169f65d0c0e" providerId="ADAL" clId="{9C21DD65-54F1-43C5-A4ED-A2C467859D96}" dt="2025-07-22T16:04:03.732" v="1031" actId="478"/>
        <pc:sldMkLst>
          <pc:docMk/>
          <pc:sldMk cId="1426578598" sldId="2147471653"/>
        </pc:sldMkLst>
        <pc:spChg chg="mod">
          <ac:chgData name="John Paserba" userId="77bd6c8a-d0c1-4fea-8705-0169f65d0c0e" providerId="ADAL" clId="{9C21DD65-54F1-43C5-A4ED-A2C467859D96}" dt="2025-07-22T16:03:43.315" v="1028" actId="20577"/>
          <ac:spMkLst>
            <pc:docMk/>
            <pc:sldMk cId="1426578598" sldId="2147471653"/>
            <ac:spMk id="3" creationId="{E6993746-A424-4F09-867F-B919F4E18ECB}"/>
          </ac:spMkLst>
        </pc:spChg>
        <pc:spChg chg="del">
          <ac:chgData name="John Paserba" userId="77bd6c8a-d0c1-4fea-8705-0169f65d0c0e" providerId="ADAL" clId="{9C21DD65-54F1-43C5-A4ED-A2C467859D96}" dt="2025-07-22T16:04:03.732" v="1031" actId="478"/>
          <ac:spMkLst>
            <pc:docMk/>
            <pc:sldMk cId="1426578598" sldId="2147471653"/>
            <ac:spMk id="7" creationId="{D4001C68-FB84-476D-916D-A73330FDB365}"/>
          </ac:spMkLst>
        </pc:spChg>
        <pc:spChg chg="mod">
          <ac:chgData name="John Paserba" userId="77bd6c8a-d0c1-4fea-8705-0169f65d0c0e" providerId="ADAL" clId="{9C21DD65-54F1-43C5-A4ED-A2C467859D96}" dt="2025-07-22T16:04:01.163" v="1030" actId="12"/>
          <ac:spMkLst>
            <pc:docMk/>
            <pc:sldMk cId="1426578598" sldId="2147471653"/>
            <ac:spMk id="12" creationId="{6052F144-7250-49E5-B832-4F896371D59A}"/>
          </ac:spMkLst>
        </pc:spChg>
      </pc:sldChg>
      <pc:sldChg chg="delSp modSp add del mod">
        <pc:chgData name="John Paserba" userId="77bd6c8a-d0c1-4fea-8705-0169f65d0c0e" providerId="ADAL" clId="{9C21DD65-54F1-43C5-A4ED-A2C467859D96}" dt="2025-07-22T16:13:42.235" v="1174" actId="13926"/>
        <pc:sldMkLst>
          <pc:docMk/>
          <pc:sldMk cId="3935530728" sldId="2147471654"/>
        </pc:sldMkLst>
        <pc:spChg chg="mod">
          <ac:chgData name="John Paserba" userId="77bd6c8a-d0c1-4fea-8705-0169f65d0c0e" providerId="ADAL" clId="{9C21DD65-54F1-43C5-A4ED-A2C467859D96}" dt="2025-07-22T16:13:17.689" v="1154" actId="20577"/>
          <ac:spMkLst>
            <pc:docMk/>
            <pc:sldMk cId="3935530728" sldId="2147471654"/>
            <ac:spMk id="3" creationId="{E6993746-A424-4F09-867F-B919F4E18ECB}"/>
          </ac:spMkLst>
        </pc:spChg>
        <pc:spChg chg="del">
          <ac:chgData name="John Paserba" userId="77bd6c8a-d0c1-4fea-8705-0169f65d0c0e" providerId="ADAL" clId="{9C21DD65-54F1-43C5-A4ED-A2C467859D96}" dt="2025-07-22T16:12:31.018" v="1118" actId="478"/>
          <ac:spMkLst>
            <pc:docMk/>
            <pc:sldMk cId="3935530728" sldId="2147471654"/>
            <ac:spMk id="7" creationId="{B9C26F21-36A6-46DF-A52C-5355825CB4C6}"/>
          </ac:spMkLst>
        </pc:spChg>
        <pc:spChg chg="mod">
          <ac:chgData name="John Paserba" userId="77bd6c8a-d0c1-4fea-8705-0169f65d0c0e" providerId="ADAL" clId="{9C21DD65-54F1-43C5-A4ED-A2C467859D96}" dt="2025-07-22T16:13:42.235" v="1174" actId="13926"/>
          <ac:spMkLst>
            <pc:docMk/>
            <pc:sldMk cId="3935530728" sldId="2147471654"/>
            <ac:spMk id="12" creationId="{6052F144-7250-49E5-B832-4F896371D59A}"/>
          </ac:spMkLst>
        </pc:spChg>
      </pc:sldChg>
      <pc:sldChg chg="delSp modSp add del mod">
        <pc:chgData name="John Paserba" userId="77bd6c8a-d0c1-4fea-8705-0169f65d0c0e" providerId="ADAL" clId="{9C21DD65-54F1-43C5-A4ED-A2C467859D96}" dt="2025-07-22T16:15:13.774" v="1185" actId="12"/>
        <pc:sldMkLst>
          <pc:docMk/>
          <pc:sldMk cId="1316239094" sldId="2147471655"/>
        </pc:sldMkLst>
        <pc:spChg chg="mod">
          <ac:chgData name="John Paserba" userId="77bd6c8a-d0c1-4fea-8705-0169f65d0c0e" providerId="ADAL" clId="{9C21DD65-54F1-43C5-A4ED-A2C467859D96}" dt="2025-07-22T16:15:13.774" v="1185" actId="12"/>
          <ac:spMkLst>
            <pc:docMk/>
            <pc:sldMk cId="1316239094" sldId="2147471655"/>
            <ac:spMk id="5" creationId="{6F20F5EE-239B-245C-C76E-33E3340BDF30}"/>
          </ac:spMkLst>
        </pc:spChg>
        <pc:spChg chg="del">
          <ac:chgData name="John Paserba" userId="77bd6c8a-d0c1-4fea-8705-0169f65d0c0e" providerId="ADAL" clId="{9C21DD65-54F1-43C5-A4ED-A2C467859D96}" dt="2025-07-22T16:14:21.440" v="1177" actId="478"/>
          <ac:spMkLst>
            <pc:docMk/>
            <pc:sldMk cId="1316239094" sldId="2147471655"/>
            <ac:spMk id="14" creationId="{D0221B24-CD36-4E52-B077-298974FE77F4}"/>
          </ac:spMkLst>
        </pc:spChg>
      </pc:sldChg>
      <pc:sldChg chg="add">
        <pc:chgData name="John Paserba" userId="77bd6c8a-d0c1-4fea-8705-0169f65d0c0e" providerId="ADAL" clId="{9C21DD65-54F1-43C5-A4ED-A2C467859D96}" dt="2025-07-18T14:22:43.585" v="4"/>
        <pc:sldMkLst>
          <pc:docMk/>
          <pc:sldMk cId="3581618067" sldId="2147471656"/>
        </pc:sldMkLst>
      </pc:sldChg>
      <pc:sldChg chg="add del">
        <pc:chgData name="John Paserba" userId="77bd6c8a-d0c1-4fea-8705-0169f65d0c0e" providerId="ADAL" clId="{9C21DD65-54F1-43C5-A4ED-A2C467859D96}" dt="2025-07-22T15:55:26.663" v="966"/>
        <pc:sldMkLst>
          <pc:docMk/>
          <pc:sldMk cId="2303667209" sldId="2147471657"/>
        </pc:sldMkLst>
      </pc:sldChg>
      <pc:sldChg chg="addSp modSp add">
        <pc:chgData name="John Paserba" userId="77bd6c8a-d0c1-4fea-8705-0169f65d0c0e" providerId="ADAL" clId="{9C21DD65-54F1-43C5-A4ED-A2C467859D96}" dt="2025-07-18T14:36:17.870" v="16"/>
        <pc:sldMkLst>
          <pc:docMk/>
          <pc:sldMk cId="438874774" sldId="2147471662"/>
        </pc:sldMkLst>
        <pc:spChg chg="add mod">
          <ac:chgData name="John Paserba" userId="77bd6c8a-d0c1-4fea-8705-0169f65d0c0e" providerId="ADAL" clId="{9C21DD65-54F1-43C5-A4ED-A2C467859D96}" dt="2025-07-18T14:36:17.870" v="16"/>
          <ac:spMkLst>
            <pc:docMk/>
            <pc:sldMk cId="438874774" sldId="2147471662"/>
            <ac:spMk id="12" creationId="{9271B09D-6787-4319-A454-AEEDF285BCC3}"/>
          </ac:spMkLst>
        </pc:spChg>
      </pc:sldChg>
      <pc:sldChg chg="add del">
        <pc:chgData name="John Paserba" userId="77bd6c8a-d0c1-4fea-8705-0169f65d0c0e" providerId="ADAL" clId="{9C21DD65-54F1-43C5-A4ED-A2C467859D96}" dt="2025-07-22T17:06:07.285" v="1337" actId="47"/>
        <pc:sldMkLst>
          <pc:docMk/>
          <pc:sldMk cId="1858184123" sldId="2147471667"/>
        </pc:sldMkLst>
      </pc:sldChg>
      <pc:sldChg chg="add del">
        <pc:chgData name="John Paserba" userId="77bd6c8a-d0c1-4fea-8705-0169f65d0c0e" providerId="ADAL" clId="{9C21DD65-54F1-43C5-A4ED-A2C467859D96}" dt="2025-07-22T17:06:07.285" v="1337" actId="47"/>
        <pc:sldMkLst>
          <pc:docMk/>
          <pc:sldMk cId="2523675820" sldId="2147471668"/>
        </pc:sldMkLst>
      </pc:sldChg>
      <pc:sldChg chg="add del">
        <pc:chgData name="John Paserba" userId="77bd6c8a-d0c1-4fea-8705-0169f65d0c0e" providerId="ADAL" clId="{9C21DD65-54F1-43C5-A4ED-A2C467859D96}" dt="2025-07-22T16:18:34.948" v="1187"/>
        <pc:sldMkLst>
          <pc:docMk/>
          <pc:sldMk cId="3892713205" sldId="2147471673"/>
        </pc:sldMkLst>
      </pc:sldChg>
      <pc:sldChg chg="add">
        <pc:chgData name="John Paserba" userId="77bd6c8a-d0c1-4fea-8705-0169f65d0c0e" providerId="ADAL" clId="{9C21DD65-54F1-43C5-A4ED-A2C467859D96}" dt="2025-07-18T14:22:43.585" v="4"/>
        <pc:sldMkLst>
          <pc:docMk/>
          <pc:sldMk cId="1433889411" sldId="2147471674"/>
        </pc:sldMkLst>
      </pc:sldChg>
      <pc:sldChg chg="add del">
        <pc:chgData name="John Paserba" userId="77bd6c8a-d0c1-4fea-8705-0169f65d0c0e" providerId="ADAL" clId="{9C21DD65-54F1-43C5-A4ED-A2C467859D96}" dt="2025-07-18T14:47:35.494" v="165" actId="47"/>
        <pc:sldMkLst>
          <pc:docMk/>
          <pc:sldMk cId="3164514132" sldId="2147471675"/>
        </pc:sldMkLst>
      </pc:sldChg>
      <pc:sldChg chg="add del">
        <pc:chgData name="John Paserba" userId="77bd6c8a-d0c1-4fea-8705-0169f65d0c0e" providerId="ADAL" clId="{9C21DD65-54F1-43C5-A4ED-A2C467859D96}" dt="2025-07-18T14:35:34.806" v="5" actId="47"/>
        <pc:sldMkLst>
          <pc:docMk/>
          <pc:sldMk cId="3058605711" sldId="2147471677"/>
        </pc:sldMkLst>
      </pc:sldChg>
      <pc:sldChg chg="add del">
        <pc:chgData name="John Paserba" userId="77bd6c8a-d0c1-4fea-8705-0169f65d0c0e" providerId="ADAL" clId="{9C21DD65-54F1-43C5-A4ED-A2C467859D96}" dt="2025-07-18T14:35:36.909" v="6" actId="47"/>
        <pc:sldMkLst>
          <pc:docMk/>
          <pc:sldMk cId="2139653318" sldId="2147471679"/>
        </pc:sldMkLst>
      </pc:sldChg>
      <pc:sldChg chg="add">
        <pc:chgData name="John Paserba" userId="77bd6c8a-d0c1-4fea-8705-0169f65d0c0e" providerId="ADAL" clId="{9C21DD65-54F1-43C5-A4ED-A2C467859D96}" dt="2025-07-18T14:21:29.630" v="3"/>
        <pc:sldMkLst>
          <pc:docMk/>
          <pc:sldMk cId="967086952" sldId="2147471680"/>
        </pc:sldMkLst>
      </pc:sldChg>
      <pc:sldChg chg="addSp modSp add mod">
        <pc:chgData name="John Paserba" userId="77bd6c8a-d0c1-4fea-8705-0169f65d0c0e" providerId="ADAL" clId="{9C21DD65-54F1-43C5-A4ED-A2C467859D96}" dt="2025-07-18T14:36:08.776" v="11" actId="1076"/>
        <pc:sldMkLst>
          <pc:docMk/>
          <pc:sldMk cId="3651935271" sldId="2147471682"/>
        </pc:sldMkLst>
        <pc:spChg chg="add mod">
          <ac:chgData name="John Paserba" userId="77bd6c8a-d0c1-4fea-8705-0169f65d0c0e" providerId="ADAL" clId="{9C21DD65-54F1-43C5-A4ED-A2C467859D96}" dt="2025-07-18T14:36:08.776" v="11" actId="1076"/>
          <ac:spMkLst>
            <pc:docMk/>
            <pc:sldMk cId="3651935271" sldId="2147471682"/>
            <ac:spMk id="3" creationId="{1B443256-94D0-4D91-B682-A16C358FFF43}"/>
          </ac:spMkLst>
        </pc:spChg>
      </pc:sldChg>
      <pc:sldChg chg="addSp modSp add">
        <pc:chgData name="John Paserba" userId="77bd6c8a-d0c1-4fea-8705-0169f65d0c0e" providerId="ADAL" clId="{9C21DD65-54F1-43C5-A4ED-A2C467859D96}" dt="2025-07-18T14:36:11.955" v="12"/>
        <pc:sldMkLst>
          <pc:docMk/>
          <pc:sldMk cId="3727219174" sldId="2147471683"/>
        </pc:sldMkLst>
        <pc:spChg chg="add mod">
          <ac:chgData name="John Paserba" userId="77bd6c8a-d0c1-4fea-8705-0169f65d0c0e" providerId="ADAL" clId="{9C21DD65-54F1-43C5-A4ED-A2C467859D96}" dt="2025-07-18T14:36:11.955" v="12"/>
          <ac:spMkLst>
            <pc:docMk/>
            <pc:sldMk cId="3727219174" sldId="2147471683"/>
            <ac:spMk id="4" creationId="{D60ACCC4-70D7-4215-A0FB-D09E2A03B879}"/>
          </ac:spMkLst>
        </pc:spChg>
      </pc:sldChg>
      <pc:sldChg chg="addSp modSp add">
        <pc:chgData name="John Paserba" userId="77bd6c8a-d0c1-4fea-8705-0169f65d0c0e" providerId="ADAL" clId="{9C21DD65-54F1-43C5-A4ED-A2C467859D96}" dt="2025-07-18T14:36:12.839" v="13"/>
        <pc:sldMkLst>
          <pc:docMk/>
          <pc:sldMk cId="333539668" sldId="2147471684"/>
        </pc:sldMkLst>
        <pc:spChg chg="add mod">
          <ac:chgData name="John Paserba" userId="77bd6c8a-d0c1-4fea-8705-0169f65d0c0e" providerId="ADAL" clId="{9C21DD65-54F1-43C5-A4ED-A2C467859D96}" dt="2025-07-18T14:36:12.839" v="13"/>
          <ac:spMkLst>
            <pc:docMk/>
            <pc:sldMk cId="333539668" sldId="2147471684"/>
            <ac:spMk id="3" creationId="{1193A7BF-4DC9-4703-B43D-FA6B96CBCB03}"/>
          </ac:spMkLst>
        </pc:spChg>
      </pc:sldChg>
      <pc:sldChg chg="addSp modSp add">
        <pc:chgData name="John Paserba" userId="77bd6c8a-d0c1-4fea-8705-0169f65d0c0e" providerId="ADAL" clId="{9C21DD65-54F1-43C5-A4ED-A2C467859D96}" dt="2025-07-18T14:36:13.826" v="14"/>
        <pc:sldMkLst>
          <pc:docMk/>
          <pc:sldMk cId="1741024592" sldId="2147471685"/>
        </pc:sldMkLst>
        <pc:spChg chg="add mod">
          <ac:chgData name="John Paserba" userId="77bd6c8a-d0c1-4fea-8705-0169f65d0c0e" providerId="ADAL" clId="{9C21DD65-54F1-43C5-A4ED-A2C467859D96}" dt="2025-07-18T14:36:13.826" v="14"/>
          <ac:spMkLst>
            <pc:docMk/>
            <pc:sldMk cId="1741024592" sldId="2147471685"/>
            <ac:spMk id="3" creationId="{1F116D3C-6970-4867-BAFD-C6F48DF03F27}"/>
          </ac:spMkLst>
        </pc:spChg>
      </pc:sldChg>
      <pc:sldChg chg="add">
        <pc:chgData name="John Paserba" userId="77bd6c8a-d0c1-4fea-8705-0169f65d0c0e" providerId="ADAL" clId="{9C21DD65-54F1-43C5-A4ED-A2C467859D96}" dt="2025-07-18T14:20:26.001" v="0"/>
        <pc:sldMkLst>
          <pc:docMk/>
          <pc:sldMk cId="1079165612" sldId="2147471688"/>
        </pc:sldMkLst>
      </pc:sldChg>
      <pc:sldChg chg="add del">
        <pc:chgData name="John Paserba" userId="77bd6c8a-d0c1-4fea-8705-0169f65d0c0e" providerId="ADAL" clId="{9C21DD65-54F1-43C5-A4ED-A2C467859D96}" dt="2025-07-18T14:35:38.749" v="7" actId="47"/>
        <pc:sldMkLst>
          <pc:docMk/>
          <pc:sldMk cId="95119100" sldId="2147471689"/>
        </pc:sldMkLst>
      </pc:sldChg>
      <pc:sldChg chg="del">
        <pc:chgData name="John Paserba" userId="77bd6c8a-d0c1-4fea-8705-0169f65d0c0e" providerId="ADAL" clId="{9C21DD65-54F1-43C5-A4ED-A2C467859D96}" dt="2025-07-22T15:26:06.674" v="698" actId="47"/>
        <pc:sldMkLst>
          <pc:docMk/>
          <pc:sldMk cId="3754066107" sldId="2147471690"/>
        </pc:sldMkLst>
      </pc:sldChg>
      <pc:sldChg chg="del">
        <pc:chgData name="John Paserba" userId="77bd6c8a-d0c1-4fea-8705-0169f65d0c0e" providerId="ADAL" clId="{9C21DD65-54F1-43C5-A4ED-A2C467859D96}" dt="2025-07-21T22:34:32.399" v="635" actId="47"/>
        <pc:sldMkLst>
          <pc:docMk/>
          <pc:sldMk cId="2771696798" sldId="2147471691"/>
        </pc:sldMkLst>
      </pc:sldChg>
      <pc:sldChg chg="addSp modSp add">
        <pc:chgData name="John Paserba" userId="77bd6c8a-d0c1-4fea-8705-0169f65d0c0e" providerId="ADAL" clId="{9C21DD65-54F1-43C5-A4ED-A2C467859D96}" dt="2025-07-18T14:36:18.715" v="17"/>
        <pc:sldMkLst>
          <pc:docMk/>
          <pc:sldMk cId="938011944" sldId="2147471692"/>
        </pc:sldMkLst>
        <pc:spChg chg="add mod">
          <ac:chgData name="John Paserba" userId="77bd6c8a-d0c1-4fea-8705-0169f65d0c0e" providerId="ADAL" clId="{9C21DD65-54F1-43C5-A4ED-A2C467859D96}" dt="2025-07-18T14:36:18.715" v="17"/>
          <ac:spMkLst>
            <pc:docMk/>
            <pc:sldMk cId="938011944" sldId="2147471692"/>
            <ac:spMk id="7" creationId="{8A5945B2-1E1E-437F-9F4B-60688C3999F2}"/>
          </ac:spMkLst>
        </pc:spChg>
      </pc:sldChg>
      <pc:sldChg chg="del">
        <pc:chgData name="John Paserba" userId="77bd6c8a-d0c1-4fea-8705-0169f65d0c0e" providerId="ADAL" clId="{9C21DD65-54F1-43C5-A4ED-A2C467859D96}" dt="2025-07-18T18:17:02.319" v="615" actId="47"/>
        <pc:sldMkLst>
          <pc:docMk/>
          <pc:sldMk cId="966262136" sldId="2147471695"/>
        </pc:sldMkLst>
      </pc:sldChg>
      <pc:sldChg chg="add">
        <pc:chgData name="John Paserba" userId="77bd6c8a-d0c1-4fea-8705-0169f65d0c0e" providerId="ADAL" clId="{9C21DD65-54F1-43C5-A4ED-A2C467859D96}" dt="2025-07-18T14:22:43.585" v="4"/>
        <pc:sldMkLst>
          <pc:docMk/>
          <pc:sldMk cId="4269995171" sldId="2147471696"/>
        </pc:sldMkLst>
      </pc:sldChg>
      <pc:sldChg chg="add del">
        <pc:chgData name="John Paserba" userId="77bd6c8a-d0c1-4fea-8705-0169f65d0c0e" providerId="ADAL" clId="{9C21DD65-54F1-43C5-A4ED-A2C467859D96}" dt="2025-07-18T14:47:35.963" v="166" actId="47"/>
        <pc:sldMkLst>
          <pc:docMk/>
          <pc:sldMk cId="3105094509" sldId="2147471697"/>
        </pc:sldMkLst>
      </pc:sldChg>
      <pc:sldChg chg="add">
        <pc:chgData name="John Paserba" userId="77bd6c8a-d0c1-4fea-8705-0169f65d0c0e" providerId="ADAL" clId="{9C21DD65-54F1-43C5-A4ED-A2C467859D96}" dt="2025-07-22T15:55:26.663" v="966"/>
        <pc:sldMkLst>
          <pc:docMk/>
          <pc:sldMk cId="3394760255" sldId="2147471697"/>
        </pc:sldMkLst>
      </pc:sldChg>
      <pc:sldChg chg="add">
        <pc:chgData name="John Paserba" userId="77bd6c8a-d0c1-4fea-8705-0169f65d0c0e" providerId="ADAL" clId="{9C21DD65-54F1-43C5-A4ED-A2C467859D96}" dt="2025-07-18T14:22:43.585" v="4"/>
        <pc:sldMkLst>
          <pc:docMk/>
          <pc:sldMk cId="346743070" sldId="2147471698"/>
        </pc:sldMkLst>
      </pc:sldChg>
      <pc:sldChg chg="add">
        <pc:chgData name="John Paserba" userId="77bd6c8a-d0c1-4fea-8705-0169f65d0c0e" providerId="ADAL" clId="{9C21DD65-54F1-43C5-A4ED-A2C467859D96}" dt="2025-07-22T15:55:26.663" v="966"/>
        <pc:sldMkLst>
          <pc:docMk/>
          <pc:sldMk cId="2090766154" sldId="2147471698"/>
        </pc:sldMkLst>
      </pc:sldChg>
      <pc:sldChg chg="add del">
        <pc:chgData name="John Paserba" userId="77bd6c8a-d0c1-4fea-8705-0169f65d0c0e" providerId="ADAL" clId="{9C21DD65-54F1-43C5-A4ED-A2C467859D96}" dt="2025-07-18T14:47:45.434" v="167" actId="47"/>
        <pc:sldMkLst>
          <pc:docMk/>
          <pc:sldMk cId="1896820689" sldId="2147471699"/>
        </pc:sldMkLst>
      </pc:sldChg>
      <pc:sldChg chg="add">
        <pc:chgData name="John Paserba" userId="77bd6c8a-d0c1-4fea-8705-0169f65d0c0e" providerId="ADAL" clId="{9C21DD65-54F1-43C5-A4ED-A2C467859D96}" dt="2025-07-18T14:22:43.585" v="4"/>
        <pc:sldMkLst>
          <pc:docMk/>
          <pc:sldMk cId="3828578127" sldId="2147471700"/>
        </pc:sldMkLst>
      </pc:sldChg>
      <pc:sldChg chg="add del">
        <pc:chgData name="John Paserba" userId="77bd6c8a-d0c1-4fea-8705-0169f65d0c0e" providerId="ADAL" clId="{9C21DD65-54F1-43C5-A4ED-A2C467859D96}" dt="2025-07-18T14:47:31.062" v="164" actId="47"/>
        <pc:sldMkLst>
          <pc:docMk/>
          <pc:sldMk cId="2164318488" sldId="2147471701"/>
        </pc:sldMkLst>
      </pc:sldChg>
      <pc:sldChg chg="addSp delSp modSp add del mod">
        <pc:chgData name="John Paserba" userId="77bd6c8a-d0c1-4fea-8705-0169f65d0c0e" providerId="ADAL" clId="{9C21DD65-54F1-43C5-A4ED-A2C467859D96}" dt="2025-07-22T17:12:39.766" v="1537" actId="20577"/>
        <pc:sldMkLst>
          <pc:docMk/>
          <pc:sldMk cId="73387506" sldId="2147471703"/>
        </pc:sldMkLst>
        <pc:spChg chg="add del mod">
          <ac:chgData name="John Paserba" userId="77bd6c8a-d0c1-4fea-8705-0169f65d0c0e" providerId="ADAL" clId="{9C21DD65-54F1-43C5-A4ED-A2C467859D96}" dt="2025-07-22T17:12:22.811" v="1525" actId="478"/>
          <ac:spMkLst>
            <pc:docMk/>
            <pc:sldMk cId="73387506" sldId="2147471703"/>
            <ac:spMk id="3" creationId="{F5A594C2-5560-48F7-B2DD-DD01CCB8BED6}"/>
          </ac:spMkLst>
        </pc:spChg>
        <pc:spChg chg="mod">
          <ac:chgData name="John Paserba" userId="77bd6c8a-d0c1-4fea-8705-0169f65d0c0e" providerId="ADAL" clId="{9C21DD65-54F1-43C5-A4ED-A2C467859D96}" dt="2025-07-22T17:12:01.178" v="1511"/>
          <ac:spMkLst>
            <pc:docMk/>
            <pc:sldMk cId="73387506" sldId="2147471703"/>
            <ac:spMk id="9" creationId="{FEB55B08-617F-4E26-9E87-C2D788AF2E47}"/>
          </ac:spMkLst>
        </pc:spChg>
        <pc:spChg chg="mod">
          <ac:chgData name="John Paserba" userId="77bd6c8a-d0c1-4fea-8705-0169f65d0c0e" providerId="ADAL" clId="{9C21DD65-54F1-43C5-A4ED-A2C467859D96}" dt="2025-07-22T17:12:01.178" v="1511"/>
          <ac:spMkLst>
            <pc:docMk/>
            <pc:sldMk cId="73387506" sldId="2147471703"/>
            <ac:spMk id="12" creationId="{1823919A-EEB6-46A7-B25D-D99776DDE486}"/>
          </ac:spMkLst>
        </pc:spChg>
        <pc:spChg chg="add mod">
          <ac:chgData name="John Paserba" userId="77bd6c8a-d0c1-4fea-8705-0169f65d0c0e" providerId="ADAL" clId="{9C21DD65-54F1-43C5-A4ED-A2C467859D96}" dt="2025-07-22T17:12:39.766" v="1537" actId="20577"/>
          <ac:spMkLst>
            <pc:docMk/>
            <pc:sldMk cId="73387506" sldId="2147471703"/>
            <ac:spMk id="17" creationId="{2DC639F6-D1A6-423F-AB74-798A3D5159A7}"/>
          </ac:spMkLst>
        </pc:spChg>
        <pc:spChg chg="del">
          <ac:chgData name="John Paserba" userId="77bd6c8a-d0c1-4fea-8705-0169f65d0c0e" providerId="ADAL" clId="{9C21DD65-54F1-43C5-A4ED-A2C467859D96}" dt="2025-07-22T17:12:19.414" v="1524" actId="478"/>
          <ac:spMkLst>
            <pc:docMk/>
            <pc:sldMk cId="73387506" sldId="2147471703"/>
            <ac:spMk id="3328002" creationId="{00000000-0000-0000-0000-000000000000}"/>
          </ac:spMkLst>
        </pc:spChg>
        <pc:grpChg chg="add mod">
          <ac:chgData name="John Paserba" userId="77bd6c8a-d0c1-4fea-8705-0169f65d0c0e" providerId="ADAL" clId="{9C21DD65-54F1-43C5-A4ED-A2C467859D96}" dt="2025-07-22T17:12:07.167" v="1512" actId="167"/>
          <ac:grpSpMkLst>
            <pc:docMk/>
            <pc:sldMk cId="73387506" sldId="2147471703"/>
            <ac:grpSpMk id="8" creationId="{9B91A41E-CE71-4753-B310-C2158F2F52B0}"/>
          </ac:grpSpMkLst>
        </pc:grpChg>
        <pc:grpChg chg="add mod">
          <ac:chgData name="John Paserba" userId="77bd6c8a-d0c1-4fea-8705-0169f65d0c0e" providerId="ADAL" clId="{9C21DD65-54F1-43C5-A4ED-A2C467859D96}" dt="2025-07-22T17:12:01.178" v="1511"/>
          <ac:grpSpMkLst>
            <pc:docMk/>
            <pc:sldMk cId="73387506" sldId="2147471703"/>
            <ac:grpSpMk id="11" creationId="{91B86078-36C1-42B4-8BCB-D5491E157A00}"/>
          </ac:grpSpMkLst>
        </pc:grpChg>
        <pc:picChg chg="mod">
          <ac:chgData name="John Paserba" userId="77bd6c8a-d0c1-4fea-8705-0169f65d0c0e" providerId="ADAL" clId="{9C21DD65-54F1-43C5-A4ED-A2C467859D96}" dt="2025-07-22T17:12:01.178" v="1511"/>
          <ac:picMkLst>
            <pc:docMk/>
            <pc:sldMk cId="73387506" sldId="2147471703"/>
            <ac:picMk id="10" creationId="{93129126-D786-48B1-A973-280BFA1D6E99}"/>
          </ac:picMkLst>
        </pc:picChg>
        <pc:picChg chg="mod">
          <ac:chgData name="John Paserba" userId="77bd6c8a-d0c1-4fea-8705-0169f65d0c0e" providerId="ADAL" clId="{9C21DD65-54F1-43C5-A4ED-A2C467859D96}" dt="2025-07-22T17:12:01.178" v="1511"/>
          <ac:picMkLst>
            <pc:docMk/>
            <pc:sldMk cId="73387506" sldId="2147471703"/>
            <ac:picMk id="13" creationId="{EADE543E-ED6F-4400-BDF2-309E52CD27EE}"/>
          </ac:picMkLst>
        </pc:picChg>
        <pc:picChg chg="mod">
          <ac:chgData name="John Paserba" userId="77bd6c8a-d0c1-4fea-8705-0169f65d0c0e" providerId="ADAL" clId="{9C21DD65-54F1-43C5-A4ED-A2C467859D96}" dt="2025-07-22T17:12:15.033" v="1523" actId="1036"/>
          <ac:picMkLst>
            <pc:docMk/>
            <pc:sldMk cId="73387506" sldId="2147471703"/>
            <ac:picMk id="14" creationId="{F01E9AF6-E98C-4470-8911-AF1DBA3385E7}"/>
          </ac:picMkLst>
        </pc:picChg>
        <pc:picChg chg="mod">
          <ac:chgData name="John Paserba" userId="77bd6c8a-d0c1-4fea-8705-0169f65d0c0e" providerId="ADAL" clId="{9C21DD65-54F1-43C5-A4ED-A2C467859D96}" dt="2025-07-22T17:12:15.033" v="1523" actId="1036"/>
          <ac:picMkLst>
            <pc:docMk/>
            <pc:sldMk cId="73387506" sldId="2147471703"/>
            <ac:picMk id="16" creationId="{E5E8D371-9CD7-42B1-8A09-DFBA51C372EE}"/>
          </ac:picMkLst>
        </pc:picChg>
      </pc:sldChg>
      <pc:sldChg chg="del">
        <pc:chgData name="John Paserba" userId="77bd6c8a-d0c1-4fea-8705-0169f65d0c0e" providerId="ADAL" clId="{9C21DD65-54F1-43C5-A4ED-A2C467859D96}" dt="2025-07-22T16:02:16.115" v="1016" actId="47"/>
        <pc:sldMkLst>
          <pc:docMk/>
          <pc:sldMk cId="1801735080" sldId="2147471705"/>
        </pc:sldMkLst>
      </pc:sldChg>
      <pc:sldChg chg="addSp modSp add del mod">
        <pc:chgData name="John Paserba" userId="77bd6c8a-d0c1-4fea-8705-0169f65d0c0e" providerId="ADAL" clId="{9C21DD65-54F1-43C5-A4ED-A2C467859D96}" dt="2025-07-22T16:25:49.713" v="1243" actId="2696"/>
        <pc:sldMkLst>
          <pc:docMk/>
          <pc:sldMk cId="3063618461" sldId="2147471705"/>
        </pc:sldMkLst>
        <pc:spChg chg="mod">
          <ac:chgData name="John Paserba" userId="77bd6c8a-d0c1-4fea-8705-0169f65d0c0e" providerId="ADAL" clId="{9C21DD65-54F1-43C5-A4ED-A2C467859D96}" dt="2025-07-22T16:25:37.930" v="1242"/>
          <ac:spMkLst>
            <pc:docMk/>
            <pc:sldMk cId="3063618461" sldId="2147471705"/>
            <ac:spMk id="9" creationId="{C356DED0-D3F9-4C15-87A5-939D507F170F}"/>
          </ac:spMkLst>
        </pc:spChg>
        <pc:spChg chg="mod">
          <ac:chgData name="John Paserba" userId="77bd6c8a-d0c1-4fea-8705-0169f65d0c0e" providerId="ADAL" clId="{9C21DD65-54F1-43C5-A4ED-A2C467859D96}" dt="2025-07-22T16:25:37.930" v="1242"/>
          <ac:spMkLst>
            <pc:docMk/>
            <pc:sldMk cId="3063618461" sldId="2147471705"/>
            <ac:spMk id="12" creationId="{EFCE1E35-BA08-4426-8FAC-04DE231A847E}"/>
          </ac:spMkLst>
        </pc:spChg>
        <pc:spChg chg="mod">
          <ac:chgData name="John Paserba" userId="77bd6c8a-d0c1-4fea-8705-0169f65d0c0e" providerId="ADAL" clId="{9C21DD65-54F1-43C5-A4ED-A2C467859D96}" dt="2025-07-22T16:25:17.571" v="1241" actId="1076"/>
          <ac:spMkLst>
            <pc:docMk/>
            <pc:sldMk cId="3063618461" sldId="2147471705"/>
            <ac:spMk id="3328002" creationId="{00000000-0000-0000-0000-000000000000}"/>
          </ac:spMkLst>
        </pc:spChg>
        <pc:grpChg chg="add mod">
          <ac:chgData name="John Paserba" userId="77bd6c8a-d0c1-4fea-8705-0169f65d0c0e" providerId="ADAL" clId="{9C21DD65-54F1-43C5-A4ED-A2C467859D96}" dt="2025-07-22T16:25:37.930" v="1242"/>
          <ac:grpSpMkLst>
            <pc:docMk/>
            <pc:sldMk cId="3063618461" sldId="2147471705"/>
            <ac:grpSpMk id="8" creationId="{B0C403F8-9607-40EA-940A-15D03A10B053}"/>
          </ac:grpSpMkLst>
        </pc:grpChg>
        <pc:grpChg chg="add mod">
          <ac:chgData name="John Paserba" userId="77bd6c8a-d0c1-4fea-8705-0169f65d0c0e" providerId="ADAL" clId="{9C21DD65-54F1-43C5-A4ED-A2C467859D96}" dt="2025-07-22T16:25:37.930" v="1242"/>
          <ac:grpSpMkLst>
            <pc:docMk/>
            <pc:sldMk cId="3063618461" sldId="2147471705"/>
            <ac:grpSpMk id="11" creationId="{4ED56127-2146-4CC5-B77C-7562EA9EB255}"/>
          </ac:grpSpMkLst>
        </pc:grpChg>
        <pc:picChg chg="mod">
          <ac:chgData name="John Paserba" userId="77bd6c8a-d0c1-4fea-8705-0169f65d0c0e" providerId="ADAL" clId="{9C21DD65-54F1-43C5-A4ED-A2C467859D96}" dt="2025-07-22T16:25:37.930" v="1242"/>
          <ac:picMkLst>
            <pc:docMk/>
            <pc:sldMk cId="3063618461" sldId="2147471705"/>
            <ac:picMk id="10" creationId="{582F9FE4-A5A0-4877-B9C7-FA4132127BFA}"/>
          </ac:picMkLst>
        </pc:picChg>
        <pc:picChg chg="mod">
          <ac:chgData name="John Paserba" userId="77bd6c8a-d0c1-4fea-8705-0169f65d0c0e" providerId="ADAL" clId="{9C21DD65-54F1-43C5-A4ED-A2C467859D96}" dt="2025-07-22T16:25:37.930" v="1242"/>
          <ac:picMkLst>
            <pc:docMk/>
            <pc:sldMk cId="3063618461" sldId="2147471705"/>
            <ac:picMk id="13" creationId="{EF360065-4168-4208-B81D-AE5A0AA6DB25}"/>
          </ac:picMkLst>
        </pc:picChg>
      </pc:sldChg>
      <pc:sldChg chg="del">
        <pc:chgData name="John Paserba" userId="77bd6c8a-d0c1-4fea-8705-0169f65d0c0e" providerId="ADAL" clId="{9C21DD65-54F1-43C5-A4ED-A2C467859D96}" dt="2025-07-22T16:28:25.905" v="1278" actId="47"/>
        <pc:sldMkLst>
          <pc:docMk/>
          <pc:sldMk cId="3677509208" sldId="2147471705"/>
        </pc:sldMkLst>
      </pc:sldChg>
      <pc:sldChg chg="modSp add del mod">
        <pc:chgData name="John Paserba" userId="77bd6c8a-d0c1-4fea-8705-0169f65d0c0e" providerId="ADAL" clId="{9C21DD65-54F1-43C5-A4ED-A2C467859D96}" dt="2025-07-22T16:24:51.473" v="1237" actId="20577"/>
        <pc:sldMkLst>
          <pc:docMk/>
          <pc:sldMk cId="1227424827" sldId="2147471706"/>
        </pc:sldMkLst>
        <pc:spChg chg="mod">
          <ac:chgData name="John Paserba" userId="77bd6c8a-d0c1-4fea-8705-0169f65d0c0e" providerId="ADAL" clId="{9C21DD65-54F1-43C5-A4ED-A2C467859D96}" dt="2025-07-22T16:24:51.473" v="1237" actId="20577"/>
          <ac:spMkLst>
            <pc:docMk/>
            <pc:sldMk cId="1227424827" sldId="2147471706"/>
            <ac:spMk id="3" creationId="{E6993746-A424-4F09-867F-B919F4E18ECB}"/>
          </ac:spMkLst>
        </pc:spChg>
      </pc:sldChg>
      <pc:sldChg chg="modSp mod">
        <pc:chgData name="John Paserba" userId="77bd6c8a-d0c1-4fea-8705-0169f65d0c0e" providerId="ADAL" clId="{9C21DD65-54F1-43C5-A4ED-A2C467859D96}" dt="2025-07-18T18:01:28.817" v="515" actId="167"/>
        <pc:sldMkLst>
          <pc:docMk/>
          <pc:sldMk cId="3996962301" sldId="2147471706"/>
        </pc:sldMkLst>
        <pc:spChg chg="mod ord">
          <ac:chgData name="John Paserba" userId="77bd6c8a-d0c1-4fea-8705-0169f65d0c0e" providerId="ADAL" clId="{9C21DD65-54F1-43C5-A4ED-A2C467859D96}" dt="2025-07-18T18:01:04.109" v="509" actId="167"/>
          <ac:spMkLst>
            <pc:docMk/>
            <pc:sldMk cId="3996962301" sldId="2147471706"/>
            <ac:spMk id="6" creationId="{7EEBDDF9-60B0-4FFF-9754-EA7DF086357E}"/>
          </ac:spMkLst>
        </pc:spChg>
        <pc:spChg chg="ord">
          <ac:chgData name="John Paserba" userId="77bd6c8a-d0c1-4fea-8705-0169f65d0c0e" providerId="ADAL" clId="{9C21DD65-54F1-43C5-A4ED-A2C467859D96}" dt="2025-07-18T18:01:20.857" v="513" actId="167"/>
          <ac:spMkLst>
            <pc:docMk/>
            <pc:sldMk cId="3996962301" sldId="2147471706"/>
            <ac:spMk id="9" creationId="{F17936EC-A727-45A7-8BE9-824CFC677F0F}"/>
          </ac:spMkLst>
        </pc:spChg>
        <pc:spChg chg="ord">
          <ac:chgData name="John Paserba" userId="77bd6c8a-d0c1-4fea-8705-0169f65d0c0e" providerId="ADAL" clId="{9C21DD65-54F1-43C5-A4ED-A2C467859D96}" dt="2025-07-18T18:01:23.930" v="514" actId="167"/>
          <ac:spMkLst>
            <pc:docMk/>
            <pc:sldMk cId="3996962301" sldId="2147471706"/>
            <ac:spMk id="32" creationId="{A5594DAA-2BBD-46B3-9AA9-08B5F051964F}"/>
          </ac:spMkLst>
        </pc:spChg>
        <pc:spChg chg="ord">
          <ac:chgData name="John Paserba" userId="77bd6c8a-d0c1-4fea-8705-0169f65d0c0e" providerId="ADAL" clId="{9C21DD65-54F1-43C5-A4ED-A2C467859D96}" dt="2025-07-18T18:01:28.817" v="515" actId="167"/>
          <ac:spMkLst>
            <pc:docMk/>
            <pc:sldMk cId="3996962301" sldId="2147471706"/>
            <ac:spMk id="33" creationId="{E8F1E236-4504-4F5F-BC9A-4580A6ADE3F9}"/>
          </ac:spMkLst>
        </pc:spChg>
        <pc:picChg chg="mod ord">
          <ac:chgData name="John Paserba" userId="77bd6c8a-d0c1-4fea-8705-0169f65d0c0e" providerId="ADAL" clId="{9C21DD65-54F1-43C5-A4ED-A2C467859D96}" dt="2025-07-18T18:01:16.429" v="512" actId="167"/>
          <ac:picMkLst>
            <pc:docMk/>
            <pc:sldMk cId="3996962301" sldId="2147471706"/>
            <ac:picMk id="8" creationId="{96F6A5DC-6A55-428F-9C73-56D0546F5177}"/>
          </ac:picMkLst>
        </pc:picChg>
      </pc:sldChg>
      <pc:sldChg chg="addSp delSp modSp del mod">
        <pc:chgData name="John Paserba" userId="77bd6c8a-d0c1-4fea-8705-0169f65d0c0e" providerId="ADAL" clId="{9C21DD65-54F1-43C5-A4ED-A2C467859D96}" dt="2025-07-22T15:55:23.054" v="965" actId="47"/>
        <pc:sldMkLst>
          <pc:docMk/>
          <pc:sldMk cId="3300707688" sldId="2147471707"/>
        </pc:sldMkLst>
        <pc:spChg chg="add mod">
          <ac:chgData name="John Paserba" userId="77bd6c8a-d0c1-4fea-8705-0169f65d0c0e" providerId="ADAL" clId="{9C21DD65-54F1-43C5-A4ED-A2C467859D96}" dt="2025-07-21T21:25:20.345" v="634"/>
          <ac:spMkLst>
            <pc:docMk/>
            <pc:sldMk cId="3300707688" sldId="2147471707"/>
            <ac:spMk id="7" creationId="{770B5D75-097C-46A7-8D35-9475899BF386}"/>
          </ac:spMkLst>
        </pc:spChg>
        <pc:spChg chg="add mod">
          <ac:chgData name="John Paserba" userId="77bd6c8a-d0c1-4fea-8705-0169f65d0c0e" providerId="ADAL" clId="{9C21DD65-54F1-43C5-A4ED-A2C467859D96}" dt="2025-07-21T21:25:20.345" v="634"/>
          <ac:spMkLst>
            <pc:docMk/>
            <pc:sldMk cId="3300707688" sldId="2147471707"/>
            <ac:spMk id="9" creationId="{9FF5033E-03CE-411F-820C-CB508A02D527}"/>
          </ac:spMkLst>
        </pc:spChg>
        <pc:spChg chg="add mod">
          <ac:chgData name="John Paserba" userId="77bd6c8a-d0c1-4fea-8705-0169f65d0c0e" providerId="ADAL" clId="{9C21DD65-54F1-43C5-A4ED-A2C467859D96}" dt="2025-07-21T21:25:20.345" v="634"/>
          <ac:spMkLst>
            <pc:docMk/>
            <pc:sldMk cId="3300707688" sldId="2147471707"/>
            <ac:spMk id="10" creationId="{9913FF84-E048-429A-B36F-77470325F8A8}"/>
          </ac:spMkLst>
        </pc:spChg>
        <pc:spChg chg="add mod">
          <ac:chgData name="John Paserba" userId="77bd6c8a-d0c1-4fea-8705-0169f65d0c0e" providerId="ADAL" clId="{9C21DD65-54F1-43C5-A4ED-A2C467859D96}" dt="2025-07-21T21:25:20.345" v="634"/>
          <ac:spMkLst>
            <pc:docMk/>
            <pc:sldMk cId="3300707688" sldId="2147471707"/>
            <ac:spMk id="11" creationId="{0E17BB85-43B5-4BEF-8E40-EE7E1EDB6E00}"/>
          </ac:spMkLst>
        </pc:spChg>
        <pc:spChg chg="add mod">
          <ac:chgData name="John Paserba" userId="77bd6c8a-d0c1-4fea-8705-0169f65d0c0e" providerId="ADAL" clId="{9C21DD65-54F1-43C5-A4ED-A2C467859D96}" dt="2025-07-21T21:25:20.345" v="634"/>
          <ac:spMkLst>
            <pc:docMk/>
            <pc:sldMk cId="3300707688" sldId="2147471707"/>
            <ac:spMk id="16" creationId="{A91B1A4B-E043-4429-BC94-60EDA3A7BF47}"/>
          </ac:spMkLst>
        </pc:spChg>
        <pc:picChg chg="del">
          <ac:chgData name="John Paserba" userId="77bd6c8a-d0c1-4fea-8705-0169f65d0c0e" providerId="ADAL" clId="{9C21DD65-54F1-43C5-A4ED-A2C467859D96}" dt="2025-07-21T21:24:48.574" v="633" actId="478"/>
          <ac:picMkLst>
            <pc:docMk/>
            <pc:sldMk cId="3300707688" sldId="2147471707"/>
            <ac:picMk id="2" creationId="{BD53FCD3-C311-4AC8-B1A8-0B58572BACF1}"/>
          </ac:picMkLst>
        </pc:picChg>
        <pc:cxnChg chg="add mod">
          <ac:chgData name="John Paserba" userId="77bd6c8a-d0c1-4fea-8705-0169f65d0c0e" providerId="ADAL" clId="{9C21DD65-54F1-43C5-A4ED-A2C467859D96}" dt="2025-07-21T21:25:20.345" v="634"/>
          <ac:cxnSpMkLst>
            <pc:docMk/>
            <pc:sldMk cId="3300707688" sldId="2147471707"/>
            <ac:cxnSpMk id="8" creationId="{099BD9EC-6AA8-4015-AC73-E34CD25D2B3B}"/>
          </ac:cxnSpMkLst>
        </pc:cxnChg>
        <pc:cxnChg chg="add mod">
          <ac:chgData name="John Paserba" userId="77bd6c8a-d0c1-4fea-8705-0169f65d0c0e" providerId="ADAL" clId="{9C21DD65-54F1-43C5-A4ED-A2C467859D96}" dt="2025-07-21T21:25:20.345" v="634"/>
          <ac:cxnSpMkLst>
            <pc:docMk/>
            <pc:sldMk cId="3300707688" sldId="2147471707"/>
            <ac:cxnSpMk id="12" creationId="{264B91A0-7FAB-4DDC-8E95-67F2D94D15CA}"/>
          </ac:cxnSpMkLst>
        </pc:cxnChg>
        <pc:cxnChg chg="add mod">
          <ac:chgData name="John Paserba" userId="77bd6c8a-d0c1-4fea-8705-0169f65d0c0e" providerId="ADAL" clId="{9C21DD65-54F1-43C5-A4ED-A2C467859D96}" dt="2025-07-21T21:25:20.345" v="634"/>
          <ac:cxnSpMkLst>
            <pc:docMk/>
            <pc:sldMk cId="3300707688" sldId="2147471707"/>
            <ac:cxnSpMk id="13" creationId="{34EA4FC8-F863-454D-9E4B-9A8942B8E299}"/>
          </ac:cxnSpMkLst>
        </pc:cxnChg>
        <pc:cxnChg chg="add mod">
          <ac:chgData name="John Paserba" userId="77bd6c8a-d0c1-4fea-8705-0169f65d0c0e" providerId="ADAL" clId="{9C21DD65-54F1-43C5-A4ED-A2C467859D96}" dt="2025-07-21T21:25:20.345" v="634"/>
          <ac:cxnSpMkLst>
            <pc:docMk/>
            <pc:sldMk cId="3300707688" sldId="2147471707"/>
            <ac:cxnSpMk id="14" creationId="{EC001563-F62B-4708-9EBC-B3DA32E03085}"/>
          </ac:cxnSpMkLst>
        </pc:cxnChg>
        <pc:cxnChg chg="add mod">
          <ac:chgData name="John Paserba" userId="77bd6c8a-d0c1-4fea-8705-0169f65d0c0e" providerId="ADAL" clId="{9C21DD65-54F1-43C5-A4ED-A2C467859D96}" dt="2025-07-21T21:25:20.345" v="634"/>
          <ac:cxnSpMkLst>
            <pc:docMk/>
            <pc:sldMk cId="3300707688" sldId="2147471707"/>
            <ac:cxnSpMk id="15" creationId="{36BF661C-ED07-42E1-95CF-FA1CFACCA851}"/>
          </ac:cxnSpMkLst>
        </pc:cxnChg>
        <pc:cxnChg chg="add mod">
          <ac:chgData name="John Paserba" userId="77bd6c8a-d0c1-4fea-8705-0169f65d0c0e" providerId="ADAL" clId="{9C21DD65-54F1-43C5-A4ED-A2C467859D96}" dt="2025-07-21T21:25:20.345" v="634"/>
          <ac:cxnSpMkLst>
            <pc:docMk/>
            <pc:sldMk cId="3300707688" sldId="2147471707"/>
            <ac:cxnSpMk id="17" creationId="{49F09522-D4C6-4E86-BD7F-58EE282657DE}"/>
          </ac:cxnSpMkLst>
        </pc:cxnChg>
      </pc:sldChg>
      <pc:sldChg chg="modSp add mod">
        <pc:chgData name="John Paserba" userId="77bd6c8a-d0c1-4fea-8705-0169f65d0c0e" providerId="ADAL" clId="{9C21DD65-54F1-43C5-A4ED-A2C467859D96}" dt="2025-07-22T16:06:40.282" v="1058" actId="948"/>
        <pc:sldMkLst>
          <pc:docMk/>
          <pc:sldMk cId="4183405689" sldId="2147471707"/>
        </pc:sldMkLst>
        <pc:spChg chg="mod">
          <ac:chgData name="John Paserba" userId="77bd6c8a-d0c1-4fea-8705-0169f65d0c0e" providerId="ADAL" clId="{9C21DD65-54F1-43C5-A4ED-A2C467859D96}" dt="2025-07-22T16:06:40.282" v="1058" actId="948"/>
          <ac:spMkLst>
            <pc:docMk/>
            <pc:sldMk cId="4183405689" sldId="2147471707"/>
            <ac:spMk id="5" creationId="{6F20F5EE-239B-245C-C76E-33E3340BDF30}"/>
          </ac:spMkLst>
        </pc:spChg>
        <pc:spChg chg="mod">
          <ac:chgData name="John Paserba" userId="77bd6c8a-d0c1-4fea-8705-0169f65d0c0e" providerId="ADAL" clId="{9C21DD65-54F1-43C5-A4ED-A2C467859D96}" dt="2025-07-22T16:05:50.197" v="1055" actId="20577"/>
          <ac:spMkLst>
            <pc:docMk/>
            <pc:sldMk cId="4183405689" sldId="2147471707"/>
            <ac:spMk id="3328002" creationId="{00000000-0000-0000-0000-000000000000}"/>
          </ac:spMkLst>
        </pc:spChg>
      </pc:sldChg>
      <pc:sldChg chg="del">
        <pc:chgData name="John Paserba" userId="77bd6c8a-d0c1-4fea-8705-0169f65d0c0e" providerId="ADAL" clId="{9C21DD65-54F1-43C5-A4ED-A2C467859D96}" dt="2025-07-21T22:38:16.435" v="642" actId="47"/>
        <pc:sldMkLst>
          <pc:docMk/>
          <pc:sldMk cId="1227424827" sldId="2147471709"/>
        </pc:sldMkLst>
      </pc:sldChg>
      <pc:sldChg chg="modSp add mod">
        <pc:chgData name="John Paserba" userId="77bd6c8a-d0c1-4fea-8705-0169f65d0c0e" providerId="ADAL" clId="{9C21DD65-54F1-43C5-A4ED-A2C467859D96}" dt="2025-07-22T15:54:10.391" v="964" actId="12"/>
        <pc:sldMkLst>
          <pc:docMk/>
          <pc:sldMk cId="2459541753" sldId="2147471709"/>
        </pc:sldMkLst>
        <pc:spChg chg="mod">
          <ac:chgData name="John Paserba" userId="77bd6c8a-d0c1-4fea-8705-0169f65d0c0e" providerId="ADAL" clId="{9C21DD65-54F1-43C5-A4ED-A2C467859D96}" dt="2025-07-22T15:54:10.391" v="964" actId="12"/>
          <ac:spMkLst>
            <pc:docMk/>
            <pc:sldMk cId="2459541753" sldId="2147471709"/>
            <ac:spMk id="3" creationId="{E6993746-A424-4F09-867F-B919F4E18ECB}"/>
          </ac:spMkLst>
        </pc:spChg>
      </pc:sldChg>
      <pc:sldChg chg="modSp add mod">
        <pc:chgData name="John Paserba" userId="77bd6c8a-d0c1-4fea-8705-0169f65d0c0e" providerId="ADAL" clId="{9C21DD65-54F1-43C5-A4ED-A2C467859D96}" dt="2025-07-22T16:06:57.399" v="1060" actId="948"/>
        <pc:sldMkLst>
          <pc:docMk/>
          <pc:sldMk cId="1811450976" sldId="2147471710"/>
        </pc:sldMkLst>
        <pc:spChg chg="mod">
          <ac:chgData name="John Paserba" userId="77bd6c8a-d0c1-4fea-8705-0169f65d0c0e" providerId="ADAL" clId="{9C21DD65-54F1-43C5-A4ED-A2C467859D96}" dt="2025-07-22T16:06:57.399" v="1060" actId="948"/>
          <ac:spMkLst>
            <pc:docMk/>
            <pc:sldMk cId="1811450976" sldId="2147471710"/>
            <ac:spMk id="5" creationId="{6F20F5EE-239B-245C-C76E-33E3340BDF30}"/>
          </ac:spMkLst>
        </pc:spChg>
      </pc:sldChg>
      <pc:sldChg chg="del">
        <pc:chgData name="John Paserba" userId="77bd6c8a-d0c1-4fea-8705-0169f65d0c0e" providerId="ADAL" clId="{9C21DD65-54F1-43C5-A4ED-A2C467859D96}" dt="2025-07-21T22:38:16.435" v="642" actId="47"/>
        <pc:sldMkLst>
          <pc:docMk/>
          <pc:sldMk cId="3063618461" sldId="2147471710"/>
        </pc:sldMkLst>
      </pc:sldChg>
      <pc:sldChg chg="delSp add mod">
        <pc:chgData name="John Paserba" userId="77bd6c8a-d0c1-4fea-8705-0169f65d0c0e" providerId="ADAL" clId="{9C21DD65-54F1-43C5-A4ED-A2C467859D96}" dt="2025-07-21T22:35:40.372" v="641" actId="478"/>
        <pc:sldMkLst>
          <pc:docMk/>
          <pc:sldMk cId="1820092979" sldId="2147471711"/>
        </pc:sldMkLst>
        <pc:spChg chg="del">
          <ac:chgData name="John Paserba" userId="77bd6c8a-d0c1-4fea-8705-0169f65d0c0e" providerId="ADAL" clId="{9C21DD65-54F1-43C5-A4ED-A2C467859D96}" dt="2025-07-21T22:35:40.372" v="641" actId="478"/>
          <ac:spMkLst>
            <pc:docMk/>
            <pc:sldMk cId="1820092979" sldId="2147471711"/>
            <ac:spMk id="3" creationId="{FF35C57F-B3D5-4449-DB2D-395E94620D27}"/>
          </ac:spMkLst>
        </pc:spChg>
      </pc:sldChg>
      <pc:sldChg chg="modSp add mod">
        <pc:chgData name="John Paserba" userId="77bd6c8a-d0c1-4fea-8705-0169f65d0c0e" providerId="ADAL" clId="{9C21DD65-54F1-43C5-A4ED-A2C467859D96}" dt="2025-07-18T17:43:16.539" v="240" actId="14100"/>
        <pc:sldMkLst>
          <pc:docMk/>
          <pc:sldMk cId="1676387962" sldId="2147471712"/>
        </pc:sldMkLst>
        <pc:spChg chg="mod">
          <ac:chgData name="John Paserba" userId="77bd6c8a-d0c1-4fea-8705-0169f65d0c0e" providerId="ADAL" clId="{9C21DD65-54F1-43C5-A4ED-A2C467859D96}" dt="2025-07-18T14:49:12.770" v="207" actId="20577"/>
          <ac:spMkLst>
            <pc:docMk/>
            <pc:sldMk cId="1676387962" sldId="2147471712"/>
            <ac:spMk id="3" creationId="{E6993746-A424-4F09-867F-B919F4E18ECB}"/>
          </ac:spMkLst>
        </pc:spChg>
        <pc:spChg chg="mod">
          <ac:chgData name="John Paserba" userId="77bd6c8a-d0c1-4fea-8705-0169f65d0c0e" providerId="ADAL" clId="{9C21DD65-54F1-43C5-A4ED-A2C467859D96}" dt="2025-07-18T17:43:16.539" v="240" actId="14100"/>
          <ac:spMkLst>
            <pc:docMk/>
            <pc:sldMk cId="1676387962" sldId="2147471712"/>
            <ac:spMk id="12" creationId="{0371D2D5-1BDD-4494-9476-3CF08242180F}"/>
          </ac:spMkLst>
        </pc:spChg>
        <pc:spChg chg="mod">
          <ac:chgData name="John Paserba" userId="77bd6c8a-d0c1-4fea-8705-0169f65d0c0e" providerId="ADAL" clId="{9C21DD65-54F1-43C5-A4ED-A2C467859D96}" dt="2025-07-18T14:36:51.155" v="35" actId="20577"/>
          <ac:spMkLst>
            <pc:docMk/>
            <pc:sldMk cId="1676387962" sldId="2147471712"/>
            <ac:spMk id="3328002" creationId="{00000000-0000-0000-0000-000000000000}"/>
          </ac:spMkLst>
        </pc:spChg>
      </pc:sldChg>
      <pc:sldChg chg="addSp delSp modSp add mod">
        <pc:chgData name="John Paserba" userId="77bd6c8a-d0c1-4fea-8705-0169f65d0c0e" providerId="ADAL" clId="{9C21DD65-54F1-43C5-A4ED-A2C467859D96}" dt="2025-07-18T17:47:17.249" v="259" actId="255"/>
        <pc:sldMkLst>
          <pc:docMk/>
          <pc:sldMk cId="237403609" sldId="2147471713"/>
        </pc:sldMkLst>
        <pc:spChg chg="del">
          <ac:chgData name="John Paserba" userId="77bd6c8a-d0c1-4fea-8705-0169f65d0c0e" providerId="ADAL" clId="{9C21DD65-54F1-43C5-A4ED-A2C467859D96}" dt="2025-07-18T17:43:33.919" v="242" actId="478"/>
          <ac:spMkLst>
            <pc:docMk/>
            <pc:sldMk cId="237403609" sldId="2147471713"/>
            <ac:spMk id="3" creationId="{E6993746-A424-4F09-867F-B919F4E18ECB}"/>
          </ac:spMkLst>
        </pc:spChg>
        <pc:spChg chg="del">
          <ac:chgData name="John Paserba" userId="77bd6c8a-d0c1-4fea-8705-0169f65d0c0e" providerId="ADAL" clId="{9C21DD65-54F1-43C5-A4ED-A2C467859D96}" dt="2025-07-18T17:43:38.346" v="244" actId="478"/>
          <ac:spMkLst>
            <pc:docMk/>
            <pc:sldMk cId="237403609" sldId="2147471713"/>
            <ac:spMk id="12" creationId="{0371D2D5-1BDD-4494-9476-3CF08242180F}"/>
          </ac:spMkLst>
        </pc:spChg>
        <pc:spChg chg="add del mod">
          <ac:chgData name="John Paserba" userId="77bd6c8a-d0c1-4fea-8705-0169f65d0c0e" providerId="ADAL" clId="{9C21DD65-54F1-43C5-A4ED-A2C467859D96}" dt="2025-07-18T17:43:35.768" v="243" actId="478"/>
          <ac:spMkLst>
            <pc:docMk/>
            <pc:sldMk cId="237403609" sldId="2147471713"/>
            <ac:spMk id="13" creationId="{D0A1CD63-E566-4221-8C7B-397BC0A25441}"/>
          </ac:spMkLst>
        </pc:spChg>
        <pc:spChg chg="mod">
          <ac:chgData name="John Paserba" userId="77bd6c8a-d0c1-4fea-8705-0169f65d0c0e" providerId="ADAL" clId="{9C21DD65-54F1-43C5-A4ED-A2C467859D96}" dt="2025-07-18T17:47:17.249" v="259" actId="255"/>
          <ac:spMkLst>
            <pc:docMk/>
            <pc:sldMk cId="237403609" sldId="2147471713"/>
            <ac:spMk id="3328002" creationId="{00000000-0000-0000-0000-000000000000}"/>
          </ac:spMkLst>
        </pc:spChg>
        <pc:picChg chg="add mod modCrop">
          <ac:chgData name="John Paserba" userId="77bd6c8a-d0c1-4fea-8705-0169f65d0c0e" providerId="ADAL" clId="{9C21DD65-54F1-43C5-A4ED-A2C467859D96}" dt="2025-07-18T17:47:08.724" v="257" actId="1076"/>
          <ac:picMkLst>
            <pc:docMk/>
            <pc:sldMk cId="237403609" sldId="2147471713"/>
            <ac:picMk id="15" creationId="{A2412CB6-5129-4826-9A9F-0933CF51A90D}"/>
          </ac:picMkLst>
        </pc:picChg>
      </pc:sldChg>
      <pc:sldChg chg="addSp delSp modSp add mod">
        <pc:chgData name="John Paserba" userId="77bd6c8a-d0c1-4fea-8705-0169f65d0c0e" providerId="ADAL" clId="{9C21DD65-54F1-43C5-A4ED-A2C467859D96}" dt="2025-07-18T17:53:12.797" v="304" actId="1036"/>
        <pc:sldMkLst>
          <pc:docMk/>
          <pc:sldMk cId="1444063717" sldId="2147471714"/>
        </pc:sldMkLst>
        <pc:spChg chg="add mod">
          <ac:chgData name="John Paserba" userId="77bd6c8a-d0c1-4fea-8705-0169f65d0c0e" providerId="ADAL" clId="{9C21DD65-54F1-43C5-A4ED-A2C467859D96}" dt="2025-07-18T17:53:12.797" v="304" actId="1036"/>
          <ac:spMkLst>
            <pc:docMk/>
            <pc:sldMk cId="1444063717" sldId="2147471714"/>
            <ac:spMk id="2" creationId="{0A83C3BA-C3F7-4E3A-A3B2-C3A60E959A50}"/>
          </ac:spMkLst>
        </pc:spChg>
        <pc:spChg chg="del">
          <ac:chgData name="John Paserba" userId="77bd6c8a-d0c1-4fea-8705-0169f65d0c0e" providerId="ADAL" clId="{9C21DD65-54F1-43C5-A4ED-A2C467859D96}" dt="2025-07-18T17:48:19.754" v="270" actId="478"/>
          <ac:spMkLst>
            <pc:docMk/>
            <pc:sldMk cId="1444063717" sldId="2147471714"/>
            <ac:spMk id="3" creationId="{E6993746-A424-4F09-867F-B919F4E18ECB}"/>
          </ac:spMkLst>
        </pc:spChg>
        <pc:spChg chg="del">
          <ac:chgData name="John Paserba" userId="77bd6c8a-d0c1-4fea-8705-0169f65d0c0e" providerId="ADAL" clId="{9C21DD65-54F1-43C5-A4ED-A2C467859D96}" dt="2025-07-18T17:48:25.967" v="272" actId="478"/>
          <ac:spMkLst>
            <pc:docMk/>
            <pc:sldMk cId="1444063717" sldId="2147471714"/>
            <ac:spMk id="12" creationId="{0371D2D5-1BDD-4494-9476-3CF08242180F}"/>
          </ac:spMkLst>
        </pc:spChg>
        <pc:spChg chg="add del mod">
          <ac:chgData name="John Paserba" userId="77bd6c8a-d0c1-4fea-8705-0169f65d0c0e" providerId="ADAL" clId="{9C21DD65-54F1-43C5-A4ED-A2C467859D96}" dt="2025-07-18T17:52:26.891" v="285"/>
          <ac:spMkLst>
            <pc:docMk/>
            <pc:sldMk cId="1444063717" sldId="2147471714"/>
            <ac:spMk id="12" creationId="{66A17C9A-C8B9-46B5-8728-C84E4F356036}"/>
          </ac:spMkLst>
        </pc:spChg>
        <pc:spChg chg="add del mod">
          <ac:chgData name="John Paserba" userId="77bd6c8a-d0c1-4fea-8705-0169f65d0c0e" providerId="ADAL" clId="{9C21DD65-54F1-43C5-A4ED-A2C467859D96}" dt="2025-07-18T17:48:23.029" v="271" actId="478"/>
          <ac:spMkLst>
            <pc:docMk/>
            <pc:sldMk cId="1444063717" sldId="2147471714"/>
            <ac:spMk id="13" creationId="{05F254F1-205A-4E00-977C-7BF3A64E8AA2}"/>
          </ac:spMkLst>
        </pc:spChg>
        <pc:spChg chg="add del mod">
          <ac:chgData name="John Paserba" userId="77bd6c8a-d0c1-4fea-8705-0169f65d0c0e" providerId="ADAL" clId="{9C21DD65-54F1-43C5-A4ED-A2C467859D96}" dt="2025-07-18T17:52:26.891" v="285"/>
          <ac:spMkLst>
            <pc:docMk/>
            <pc:sldMk cId="1444063717" sldId="2147471714"/>
            <ac:spMk id="13" creationId="{7D98CE1A-4FB8-4EB6-B379-D32F62B8F553}"/>
          </ac:spMkLst>
        </pc:spChg>
        <pc:spChg chg="add del">
          <ac:chgData name="John Paserba" userId="77bd6c8a-d0c1-4fea-8705-0169f65d0c0e" providerId="ADAL" clId="{9C21DD65-54F1-43C5-A4ED-A2C467859D96}" dt="2025-07-18T17:49:54.418" v="282" actId="478"/>
          <ac:spMkLst>
            <pc:docMk/>
            <pc:sldMk cId="1444063717" sldId="2147471714"/>
            <ac:spMk id="15" creationId="{DF2B78A9-8E37-4C37-A90F-CEC85D7D743D}"/>
          </ac:spMkLst>
        </pc:spChg>
        <pc:spChg chg="add del mod">
          <ac:chgData name="John Paserba" userId="77bd6c8a-d0c1-4fea-8705-0169f65d0c0e" providerId="ADAL" clId="{9C21DD65-54F1-43C5-A4ED-A2C467859D96}" dt="2025-07-18T17:52:26.891" v="285"/>
          <ac:spMkLst>
            <pc:docMk/>
            <pc:sldMk cId="1444063717" sldId="2147471714"/>
            <ac:spMk id="17" creationId="{007D379A-BF2E-41D0-9044-E466C97BA16C}"/>
          </ac:spMkLst>
        </pc:spChg>
        <pc:spChg chg="add del mod">
          <ac:chgData name="John Paserba" userId="77bd6c8a-d0c1-4fea-8705-0169f65d0c0e" providerId="ADAL" clId="{9C21DD65-54F1-43C5-A4ED-A2C467859D96}" dt="2025-07-18T17:52:26.891" v="285"/>
          <ac:spMkLst>
            <pc:docMk/>
            <pc:sldMk cId="1444063717" sldId="2147471714"/>
            <ac:spMk id="18" creationId="{EED4B4CA-5EAA-4481-885A-5D82D87C91FE}"/>
          </ac:spMkLst>
        </pc:spChg>
        <pc:spChg chg="add del mod">
          <ac:chgData name="John Paserba" userId="77bd6c8a-d0c1-4fea-8705-0169f65d0c0e" providerId="ADAL" clId="{9C21DD65-54F1-43C5-A4ED-A2C467859D96}" dt="2025-07-18T17:52:26.891" v="285"/>
          <ac:spMkLst>
            <pc:docMk/>
            <pc:sldMk cId="1444063717" sldId="2147471714"/>
            <ac:spMk id="19" creationId="{811D9B75-FDEB-4AF5-A760-F977600CB170}"/>
          </ac:spMkLst>
        </pc:spChg>
        <pc:spChg chg="add del mod">
          <ac:chgData name="John Paserba" userId="77bd6c8a-d0c1-4fea-8705-0169f65d0c0e" providerId="ADAL" clId="{9C21DD65-54F1-43C5-A4ED-A2C467859D96}" dt="2025-07-18T17:52:26.891" v="285"/>
          <ac:spMkLst>
            <pc:docMk/>
            <pc:sldMk cId="1444063717" sldId="2147471714"/>
            <ac:spMk id="20" creationId="{ABD1AE49-63C9-4F60-BAB7-7ECA67A2AD23}"/>
          </ac:spMkLst>
        </pc:spChg>
        <pc:spChg chg="add del mod">
          <ac:chgData name="John Paserba" userId="77bd6c8a-d0c1-4fea-8705-0169f65d0c0e" providerId="ADAL" clId="{9C21DD65-54F1-43C5-A4ED-A2C467859D96}" dt="2025-07-18T17:52:26.891" v="285"/>
          <ac:spMkLst>
            <pc:docMk/>
            <pc:sldMk cId="1444063717" sldId="2147471714"/>
            <ac:spMk id="21" creationId="{F2F6616A-40BF-4707-8A44-A6CC51964811}"/>
          </ac:spMkLst>
        </pc:spChg>
        <pc:spChg chg="add del mod">
          <ac:chgData name="John Paserba" userId="77bd6c8a-d0c1-4fea-8705-0169f65d0c0e" providerId="ADAL" clId="{9C21DD65-54F1-43C5-A4ED-A2C467859D96}" dt="2025-07-18T17:52:26.891" v="285"/>
          <ac:spMkLst>
            <pc:docMk/>
            <pc:sldMk cId="1444063717" sldId="2147471714"/>
            <ac:spMk id="22" creationId="{45D43BB4-1146-4B5B-8E8D-30BCF3DD9946}"/>
          </ac:spMkLst>
        </pc:spChg>
        <pc:spChg chg="add del mod">
          <ac:chgData name="John Paserba" userId="77bd6c8a-d0c1-4fea-8705-0169f65d0c0e" providerId="ADAL" clId="{9C21DD65-54F1-43C5-A4ED-A2C467859D96}" dt="2025-07-18T17:52:26.891" v="285"/>
          <ac:spMkLst>
            <pc:docMk/>
            <pc:sldMk cId="1444063717" sldId="2147471714"/>
            <ac:spMk id="23" creationId="{C233CE40-5173-4F53-9EA9-9B2BE873B2D4}"/>
          </ac:spMkLst>
        </pc:spChg>
        <pc:spChg chg="add del mod">
          <ac:chgData name="John Paserba" userId="77bd6c8a-d0c1-4fea-8705-0169f65d0c0e" providerId="ADAL" clId="{9C21DD65-54F1-43C5-A4ED-A2C467859D96}" dt="2025-07-18T17:52:26.891" v="285"/>
          <ac:spMkLst>
            <pc:docMk/>
            <pc:sldMk cId="1444063717" sldId="2147471714"/>
            <ac:spMk id="33" creationId="{B07CB915-56C8-4761-BDA4-767E67F80F7D}"/>
          </ac:spMkLst>
        </pc:spChg>
        <pc:spChg chg="add del mod">
          <ac:chgData name="John Paserba" userId="77bd6c8a-d0c1-4fea-8705-0169f65d0c0e" providerId="ADAL" clId="{9C21DD65-54F1-43C5-A4ED-A2C467859D96}" dt="2025-07-18T17:52:26.891" v="285"/>
          <ac:spMkLst>
            <pc:docMk/>
            <pc:sldMk cId="1444063717" sldId="2147471714"/>
            <ac:spMk id="34" creationId="{BE2DAFB6-0450-47B7-A091-5CAED2922141}"/>
          </ac:spMkLst>
        </pc:spChg>
        <pc:spChg chg="add del mod">
          <ac:chgData name="John Paserba" userId="77bd6c8a-d0c1-4fea-8705-0169f65d0c0e" providerId="ADAL" clId="{9C21DD65-54F1-43C5-A4ED-A2C467859D96}" dt="2025-07-18T17:52:26.891" v="285"/>
          <ac:spMkLst>
            <pc:docMk/>
            <pc:sldMk cId="1444063717" sldId="2147471714"/>
            <ac:spMk id="35" creationId="{F70A7183-39EC-4CB2-9B42-35F13ED6239D}"/>
          </ac:spMkLst>
        </pc:spChg>
        <pc:spChg chg="add del mod">
          <ac:chgData name="John Paserba" userId="77bd6c8a-d0c1-4fea-8705-0169f65d0c0e" providerId="ADAL" clId="{9C21DD65-54F1-43C5-A4ED-A2C467859D96}" dt="2025-07-18T17:52:26.891" v="285"/>
          <ac:spMkLst>
            <pc:docMk/>
            <pc:sldMk cId="1444063717" sldId="2147471714"/>
            <ac:spMk id="36" creationId="{9BF77F07-D008-49C0-AE57-BA09C540937B}"/>
          </ac:spMkLst>
        </pc:spChg>
        <pc:spChg chg="add mod">
          <ac:chgData name="John Paserba" userId="77bd6c8a-d0c1-4fea-8705-0169f65d0c0e" providerId="ADAL" clId="{9C21DD65-54F1-43C5-A4ED-A2C467859D96}" dt="2025-07-18T17:53:12.797" v="304" actId="1036"/>
          <ac:spMkLst>
            <pc:docMk/>
            <pc:sldMk cId="1444063717" sldId="2147471714"/>
            <ac:spMk id="43" creationId="{76942CEA-2DC0-46E4-AFFE-A1BE79AC7F65}"/>
          </ac:spMkLst>
        </pc:spChg>
        <pc:spChg chg="add mod">
          <ac:chgData name="John Paserba" userId="77bd6c8a-d0c1-4fea-8705-0169f65d0c0e" providerId="ADAL" clId="{9C21DD65-54F1-43C5-A4ED-A2C467859D96}" dt="2025-07-18T17:53:12.797" v="304" actId="1036"/>
          <ac:spMkLst>
            <pc:docMk/>
            <pc:sldMk cId="1444063717" sldId="2147471714"/>
            <ac:spMk id="44" creationId="{238E7113-DD7D-4C0D-8741-6E7C3AB022CF}"/>
          </ac:spMkLst>
        </pc:spChg>
        <pc:spChg chg="add mod">
          <ac:chgData name="John Paserba" userId="77bd6c8a-d0c1-4fea-8705-0169f65d0c0e" providerId="ADAL" clId="{9C21DD65-54F1-43C5-A4ED-A2C467859D96}" dt="2025-07-18T17:53:12.797" v="304" actId="1036"/>
          <ac:spMkLst>
            <pc:docMk/>
            <pc:sldMk cId="1444063717" sldId="2147471714"/>
            <ac:spMk id="47" creationId="{6CC86384-1550-45CC-B7EF-53F8C71587E7}"/>
          </ac:spMkLst>
        </pc:spChg>
        <pc:spChg chg="add mod">
          <ac:chgData name="John Paserba" userId="77bd6c8a-d0c1-4fea-8705-0169f65d0c0e" providerId="ADAL" clId="{9C21DD65-54F1-43C5-A4ED-A2C467859D96}" dt="2025-07-18T17:53:12.797" v="304" actId="1036"/>
          <ac:spMkLst>
            <pc:docMk/>
            <pc:sldMk cId="1444063717" sldId="2147471714"/>
            <ac:spMk id="48" creationId="{9FF30B60-6200-47C7-8B3C-1210232ACE86}"/>
          </ac:spMkLst>
        </pc:spChg>
        <pc:spChg chg="add mod">
          <ac:chgData name="John Paserba" userId="77bd6c8a-d0c1-4fea-8705-0169f65d0c0e" providerId="ADAL" clId="{9C21DD65-54F1-43C5-A4ED-A2C467859D96}" dt="2025-07-18T17:53:12.797" v="304" actId="1036"/>
          <ac:spMkLst>
            <pc:docMk/>
            <pc:sldMk cId="1444063717" sldId="2147471714"/>
            <ac:spMk id="49" creationId="{80E0335A-9BE4-4A7C-83C9-128FFCFC865D}"/>
          </ac:spMkLst>
        </pc:spChg>
        <pc:spChg chg="add mod">
          <ac:chgData name="John Paserba" userId="77bd6c8a-d0c1-4fea-8705-0169f65d0c0e" providerId="ADAL" clId="{9C21DD65-54F1-43C5-A4ED-A2C467859D96}" dt="2025-07-18T17:53:12.797" v="304" actId="1036"/>
          <ac:spMkLst>
            <pc:docMk/>
            <pc:sldMk cId="1444063717" sldId="2147471714"/>
            <ac:spMk id="50" creationId="{39A515E6-2FE0-47E5-B25A-182A973BBC5B}"/>
          </ac:spMkLst>
        </pc:spChg>
        <pc:spChg chg="add mod">
          <ac:chgData name="John Paserba" userId="77bd6c8a-d0c1-4fea-8705-0169f65d0c0e" providerId="ADAL" clId="{9C21DD65-54F1-43C5-A4ED-A2C467859D96}" dt="2025-07-18T17:53:12.797" v="304" actId="1036"/>
          <ac:spMkLst>
            <pc:docMk/>
            <pc:sldMk cId="1444063717" sldId="2147471714"/>
            <ac:spMk id="51" creationId="{6656D8CF-1DA7-4A14-803C-45C4576AB6FD}"/>
          </ac:spMkLst>
        </pc:spChg>
        <pc:spChg chg="add mod">
          <ac:chgData name="John Paserba" userId="77bd6c8a-d0c1-4fea-8705-0169f65d0c0e" providerId="ADAL" clId="{9C21DD65-54F1-43C5-A4ED-A2C467859D96}" dt="2025-07-18T17:53:12.797" v="304" actId="1036"/>
          <ac:spMkLst>
            <pc:docMk/>
            <pc:sldMk cId="1444063717" sldId="2147471714"/>
            <ac:spMk id="52" creationId="{970C955B-FA65-4B61-824F-E98B585990B1}"/>
          </ac:spMkLst>
        </pc:spChg>
        <pc:spChg chg="add mod">
          <ac:chgData name="John Paserba" userId="77bd6c8a-d0c1-4fea-8705-0169f65d0c0e" providerId="ADAL" clId="{9C21DD65-54F1-43C5-A4ED-A2C467859D96}" dt="2025-07-18T17:53:12.797" v="304" actId="1036"/>
          <ac:spMkLst>
            <pc:docMk/>
            <pc:sldMk cId="1444063717" sldId="2147471714"/>
            <ac:spMk id="53" creationId="{0F4E55F2-DD3A-4602-979B-A53C4465952F}"/>
          </ac:spMkLst>
        </pc:spChg>
        <pc:spChg chg="add mod">
          <ac:chgData name="John Paserba" userId="77bd6c8a-d0c1-4fea-8705-0169f65d0c0e" providerId="ADAL" clId="{9C21DD65-54F1-43C5-A4ED-A2C467859D96}" dt="2025-07-18T17:53:12.797" v="304" actId="1036"/>
          <ac:spMkLst>
            <pc:docMk/>
            <pc:sldMk cId="1444063717" sldId="2147471714"/>
            <ac:spMk id="63" creationId="{20CCAE38-ED39-40C1-AB7C-35A991B05E56}"/>
          </ac:spMkLst>
        </pc:spChg>
        <pc:spChg chg="add mod">
          <ac:chgData name="John Paserba" userId="77bd6c8a-d0c1-4fea-8705-0169f65d0c0e" providerId="ADAL" clId="{9C21DD65-54F1-43C5-A4ED-A2C467859D96}" dt="2025-07-18T17:53:12.797" v="304" actId="1036"/>
          <ac:spMkLst>
            <pc:docMk/>
            <pc:sldMk cId="1444063717" sldId="2147471714"/>
            <ac:spMk id="64" creationId="{3115A0EF-1924-4765-8C63-A5314944C1AB}"/>
          </ac:spMkLst>
        </pc:spChg>
        <pc:spChg chg="add mod">
          <ac:chgData name="John Paserba" userId="77bd6c8a-d0c1-4fea-8705-0169f65d0c0e" providerId="ADAL" clId="{9C21DD65-54F1-43C5-A4ED-A2C467859D96}" dt="2025-07-18T17:53:12.797" v="304" actId="1036"/>
          <ac:spMkLst>
            <pc:docMk/>
            <pc:sldMk cId="1444063717" sldId="2147471714"/>
            <ac:spMk id="65" creationId="{7FD05B89-3208-4A69-B24E-9844D54A98E8}"/>
          </ac:spMkLst>
        </pc:spChg>
        <pc:spChg chg="add mod">
          <ac:chgData name="John Paserba" userId="77bd6c8a-d0c1-4fea-8705-0169f65d0c0e" providerId="ADAL" clId="{9C21DD65-54F1-43C5-A4ED-A2C467859D96}" dt="2025-07-18T17:53:12.797" v="304" actId="1036"/>
          <ac:spMkLst>
            <pc:docMk/>
            <pc:sldMk cId="1444063717" sldId="2147471714"/>
            <ac:spMk id="66" creationId="{3176B914-0EAE-431A-853B-AF439CED1DD6}"/>
          </ac:spMkLst>
        </pc:spChg>
        <pc:spChg chg="mod">
          <ac:chgData name="John Paserba" userId="77bd6c8a-d0c1-4fea-8705-0169f65d0c0e" providerId="ADAL" clId="{9C21DD65-54F1-43C5-A4ED-A2C467859D96}" dt="2025-07-18T17:47:54.864" v="269" actId="20577"/>
          <ac:spMkLst>
            <pc:docMk/>
            <pc:sldMk cId="1444063717" sldId="2147471714"/>
            <ac:spMk id="3328002" creationId="{00000000-0000-0000-0000-000000000000}"/>
          </ac:spMkLst>
        </pc:spChg>
        <pc:picChg chg="add del mod modCrop">
          <ac:chgData name="John Paserba" userId="77bd6c8a-d0c1-4fea-8705-0169f65d0c0e" providerId="ADAL" clId="{9C21DD65-54F1-43C5-A4ED-A2C467859D96}" dt="2025-07-18T17:51:54.084" v="283" actId="478"/>
          <ac:picMkLst>
            <pc:docMk/>
            <pc:sldMk cId="1444063717" sldId="2147471714"/>
            <ac:picMk id="14" creationId="{70974649-4B35-49C8-B653-71D77A85D8F1}"/>
          </ac:picMkLst>
        </pc:picChg>
        <pc:cxnChg chg="add del mod">
          <ac:chgData name="John Paserba" userId="77bd6c8a-d0c1-4fea-8705-0169f65d0c0e" providerId="ADAL" clId="{9C21DD65-54F1-43C5-A4ED-A2C467859D96}" dt="2025-07-18T17:52:26.891" v="285"/>
          <ac:cxnSpMkLst>
            <pc:docMk/>
            <pc:sldMk cId="1444063717" sldId="2147471714"/>
            <ac:cxnSpMk id="15" creationId="{10A78331-201F-423B-9AE3-36E7373B6151}"/>
          </ac:cxnSpMkLst>
        </pc:cxnChg>
        <pc:cxnChg chg="add del mod">
          <ac:chgData name="John Paserba" userId="77bd6c8a-d0c1-4fea-8705-0169f65d0c0e" providerId="ADAL" clId="{9C21DD65-54F1-43C5-A4ED-A2C467859D96}" dt="2025-07-18T17:52:26.891" v="285"/>
          <ac:cxnSpMkLst>
            <pc:docMk/>
            <pc:sldMk cId="1444063717" sldId="2147471714"/>
            <ac:cxnSpMk id="16" creationId="{39C3980A-7328-4670-8EEE-A35680C69422}"/>
          </ac:cxnSpMkLst>
        </pc:cxnChg>
        <pc:cxnChg chg="add del mod">
          <ac:chgData name="John Paserba" userId="77bd6c8a-d0c1-4fea-8705-0169f65d0c0e" providerId="ADAL" clId="{9C21DD65-54F1-43C5-A4ED-A2C467859D96}" dt="2025-07-18T17:52:26.891" v="285"/>
          <ac:cxnSpMkLst>
            <pc:docMk/>
            <pc:sldMk cId="1444063717" sldId="2147471714"/>
            <ac:cxnSpMk id="24" creationId="{261EE1DC-74D3-4886-B2B8-DAF961C0B632}"/>
          </ac:cxnSpMkLst>
        </pc:cxnChg>
        <pc:cxnChg chg="add del mod">
          <ac:chgData name="John Paserba" userId="77bd6c8a-d0c1-4fea-8705-0169f65d0c0e" providerId="ADAL" clId="{9C21DD65-54F1-43C5-A4ED-A2C467859D96}" dt="2025-07-18T17:52:26.891" v="285"/>
          <ac:cxnSpMkLst>
            <pc:docMk/>
            <pc:sldMk cId="1444063717" sldId="2147471714"/>
            <ac:cxnSpMk id="25" creationId="{55375A28-BE39-4E5C-B037-C31878FA42F2}"/>
          </ac:cxnSpMkLst>
        </pc:cxnChg>
        <pc:cxnChg chg="add del mod">
          <ac:chgData name="John Paserba" userId="77bd6c8a-d0c1-4fea-8705-0169f65d0c0e" providerId="ADAL" clId="{9C21DD65-54F1-43C5-A4ED-A2C467859D96}" dt="2025-07-18T17:52:26.891" v="285"/>
          <ac:cxnSpMkLst>
            <pc:docMk/>
            <pc:sldMk cId="1444063717" sldId="2147471714"/>
            <ac:cxnSpMk id="26" creationId="{94C82500-E235-4304-B722-D90A6AC0EF7D}"/>
          </ac:cxnSpMkLst>
        </pc:cxnChg>
        <pc:cxnChg chg="add del mod">
          <ac:chgData name="John Paserba" userId="77bd6c8a-d0c1-4fea-8705-0169f65d0c0e" providerId="ADAL" clId="{9C21DD65-54F1-43C5-A4ED-A2C467859D96}" dt="2025-07-18T17:52:26.891" v="285"/>
          <ac:cxnSpMkLst>
            <pc:docMk/>
            <pc:sldMk cId="1444063717" sldId="2147471714"/>
            <ac:cxnSpMk id="27" creationId="{AF5D12FB-22F6-428A-9283-524D49B6DD52}"/>
          </ac:cxnSpMkLst>
        </pc:cxnChg>
        <pc:cxnChg chg="add del mod">
          <ac:chgData name="John Paserba" userId="77bd6c8a-d0c1-4fea-8705-0169f65d0c0e" providerId="ADAL" clId="{9C21DD65-54F1-43C5-A4ED-A2C467859D96}" dt="2025-07-18T17:52:26.891" v="285"/>
          <ac:cxnSpMkLst>
            <pc:docMk/>
            <pc:sldMk cId="1444063717" sldId="2147471714"/>
            <ac:cxnSpMk id="28" creationId="{5E3A971C-8251-4059-ABE3-0D4EFDA74A11}"/>
          </ac:cxnSpMkLst>
        </pc:cxnChg>
        <pc:cxnChg chg="add del mod">
          <ac:chgData name="John Paserba" userId="77bd6c8a-d0c1-4fea-8705-0169f65d0c0e" providerId="ADAL" clId="{9C21DD65-54F1-43C5-A4ED-A2C467859D96}" dt="2025-07-18T17:52:26.891" v="285"/>
          <ac:cxnSpMkLst>
            <pc:docMk/>
            <pc:sldMk cId="1444063717" sldId="2147471714"/>
            <ac:cxnSpMk id="29" creationId="{217B38C6-B9E2-49D4-A819-D64A69F67E28}"/>
          </ac:cxnSpMkLst>
        </pc:cxnChg>
        <pc:cxnChg chg="add del mod">
          <ac:chgData name="John Paserba" userId="77bd6c8a-d0c1-4fea-8705-0169f65d0c0e" providerId="ADAL" clId="{9C21DD65-54F1-43C5-A4ED-A2C467859D96}" dt="2025-07-18T17:52:26.891" v="285"/>
          <ac:cxnSpMkLst>
            <pc:docMk/>
            <pc:sldMk cId="1444063717" sldId="2147471714"/>
            <ac:cxnSpMk id="30" creationId="{6AF66E28-9183-4CAC-BA7D-C99A1E878E24}"/>
          </ac:cxnSpMkLst>
        </pc:cxnChg>
        <pc:cxnChg chg="add del mod">
          <ac:chgData name="John Paserba" userId="77bd6c8a-d0c1-4fea-8705-0169f65d0c0e" providerId="ADAL" clId="{9C21DD65-54F1-43C5-A4ED-A2C467859D96}" dt="2025-07-18T17:52:26.891" v="285"/>
          <ac:cxnSpMkLst>
            <pc:docMk/>
            <pc:sldMk cId="1444063717" sldId="2147471714"/>
            <ac:cxnSpMk id="31" creationId="{B0B7C1CD-57D2-41CD-93F4-3DEB41824025}"/>
          </ac:cxnSpMkLst>
        </pc:cxnChg>
        <pc:cxnChg chg="add del mod">
          <ac:chgData name="John Paserba" userId="77bd6c8a-d0c1-4fea-8705-0169f65d0c0e" providerId="ADAL" clId="{9C21DD65-54F1-43C5-A4ED-A2C467859D96}" dt="2025-07-18T17:52:26.891" v="285"/>
          <ac:cxnSpMkLst>
            <pc:docMk/>
            <pc:sldMk cId="1444063717" sldId="2147471714"/>
            <ac:cxnSpMk id="32" creationId="{5A7F5C01-FBED-492B-9115-0BCE852394FE}"/>
          </ac:cxnSpMkLst>
        </pc:cxnChg>
        <pc:cxnChg chg="add del mod">
          <ac:chgData name="John Paserba" userId="77bd6c8a-d0c1-4fea-8705-0169f65d0c0e" providerId="ADAL" clId="{9C21DD65-54F1-43C5-A4ED-A2C467859D96}" dt="2025-07-18T17:52:26.891" v="285"/>
          <ac:cxnSpMkLst>
            <pc:docMk/>
            <pc:sldMk cId="1444063717" sldId="2147471714"/>
            <ac:cxnSpMk id="37" creationId="{63A6FC27-24B7-4410-A1D7-3F2E44D4B6F7}"/>
          </ac:cxnSpMkLst>
        </pc:cxnChg>
        <pc:cxnChg chg="add del mod">
          <ac:chgData name="John Paserba" userId="77bd6c8a-d0c1-4fea-8705-0169f65d0c0e" providerId="ADAL" clId="{9C21DD65-54F1-43C5-A4ED-A2C467859D96}" dt="2025-07-18T17:52:26.891" v="285"/>
          <ac:cxnSpMkLst>
            <pc:docMk/>
            <pc:sldMk cId="1444063717" sldId="2147471714"/>
            <ac:cxnSpMk id="38" creationId="{76AD23DA-F2BF-404A-88C3-8A87DD3DBA9F}"/>
          </ac:cxnSpMkLst>
        </pc:cxnChg>
        <pc:cxnChg chg="add del mod">
          <ac:chgData name="John Paserba" userId="77bd6c8a-d0c1-4fea-8705-0169f65d0c0e" providerId="ADAL" clId="{9C21DD65-54F1-43C5-A4ED-A2C467859D96}" dt="2025-07-18T17:52:26.891" v="285"/>
          <ac:cxnSpMkLst>
            <pc:docMk/>
            <pc:sldMk cId="1444063717" sldId="2147471714"/>
            <ac:cxnSpMk id="39" creationId="{54B3CEF9-288E-4EE2-AD74-6D18E5172C0D}"/>
          </ac:cxnSpMkLst>
        </pc:cxnChg>
        <pc:cxnChg chg="add del mod">
          <ac:chgData name="John Paserba" userId="77bd6c8a-d0c1-4fea-8705-0169f65d0c0e" providerId="ADAL" clId="{9C21DD65-54F1-43C5-A4ED-A2C467859D96}" dt="2025-07-18T17:52:26.891" v="285"/>
          <ac:cxnSpMkLst>
            <pc:docMk/>
            <pc:sldMk cId="1444063717" sldId="2147471714"/>
            <ac:cxnSpMk id="40" creationId="{585D44F1-2AF9-4BF1-8696-8B0EFBCD39C5}"/>
          </ac:cxnSpMkLst>
        </pc:cxnChg>
        <pc:cxnChg chg="add del mod">
          <ac:chgData name="John Paserba" userId="77bd6c8a-d0c1-4fea-8705-0169f65d0c0e" providerId="ADAL" clId="{9C21DD65-54F1-43C5-A4ED-A2C467859D96}" dt="2025-07-18T17:52:26.891" v="285"/>
          <ac:cxnSpMkLst>
            <pc:docMk/>
            <pc:sldMk cId="1444063717" sldId="2147471714"/>
            <ac:cxnSpMk id="41" creationId="{0B96ED50-0007-4F22-A9CA-82976EAAEFD0}"/>
          </ac:cxnSpMkLst>
        </pc:cxnChg>
        <pc:cxnChg chg="add del mod">
          <ac:chgData name="John Paserba" userId="77bd6c8a-d0c1-4fea-8705-0169f65d0c0e" providerId="ADAL" clId="{9C21DD65-54F1-43C5-A4ED-A2C467859D96}" dt="2025-07-18T17:52:26.891" v="285"/>
          <ac:cxnSpMkLst>
            <pc:docMk/>
            <pc:sldMk cId="1444063717" sldId="2147471714"/>
            <ac:cxnSpMk id="42" creationId="{FB5832D0-AE20-4E0C-8826-5054A96EFA6A}"/>
          </ac:cxnSpMkLst>
        </pc:cxnChg>
        <pc:cxnChg chg="add mod">
          <ac:chgData name="John Paserba" userId="77bd6c8a-d0c1-4fea-8705-0169f65d0c0e" providerId="ADAL" clId="{9C21DD65-54F1-43C5-A4ED-A2C467859D96}" dt="2025-07-18T17:53:12.797" v="304" actId="1036"/>
          <ac:cxnSpMkLst>
            <pc:docMk/>
            <pc:sldMk cId="1444063717" sldId="2147471714"/>
            <ac:cxnSpMk id="45" creationId="{4C8EF49D-806C-44F2-A4BA-A46895E3F1FC}"/>
          </ac:cxnSpMkLst>
        </pc:cxnChg>
        <pc:cxnChg chg="add mod">
          <ac:chgData name="John Paserba" userId="77bd6c8a-d0c1-4fea-8705-0169f65d0c0e" providerId="ADAL" clId="{9C21DD65-54F1-43C5-A4ED-A2C467859D96}" dt="2025-07-18T17:53:12.797" v="304" actId="1036"/>
          <ac:cxnSpMkLst>
            <pc:docMk/>
            <pc:sldMk cId="1444063717" sldId="2147471714"/>
            <ac:cxnSpMk id="46" creationId="{DC899E5F-31AD-49BC-8026-7E77A9426393}"/>
          </ac:cxnSpMkLst>
        </pc:cxnChg>
        <pc:cxnChg chg="add mod">
          <ac:chgData name="John Paserba" userId="77bd6c8a-d0c1-4fea-8705-0169f65d0c0e" providerId="ADAL" clId="{9C21DD65-54F1-43C5-A4ED-A2C467859D96}" dt="2025-07-18T17:53:12.797" v="304" actId="1036"/>
          <ac:cxnSpMkLst>
            <pc:docMk/>
            <pc:sldMk cId="1444063717" sldId="2147471714"/>
            <ac:cxnSpMk id="54" creationId="{936C6AA0-7064-4F8A-A317-F42A2A8A61B9}"/>
          </ac:cxnSpMkLst>
        </pc:cxnChg>
        <pc:cxnChg chg="add mod">
          <ac:chgData name="John Paserba" userId="77bd6c8a-d0c1-4fea-8705-0169f65d0c0e" providerId="ADAL" clId="{9C21DD65-54F1-43C5-A4ED-A2C467859D96}" dt="2025-07-18T17:53:12.797" v="304" actId="1036"/>
          <ac:cxnSpMkLst>
            <pc:docMk/>
            <pc:sldMk cId="1444063717" sldId="2147471714"/>
            <ac:cxnSpMk id="55" creationId="{DDE598FE-2E13-4953-BB78-6645FAEF3448}"/>
          </ac:cxnSpMkLst>
        </pc:cxnChg>
        <pc:cxnChg chg="add mod">
          <ac:chgData name="John Paserba" userId="77bd6c8a-d0c1-4fea-8705-0169f65d0c0e" providerId="ADAL" clId="{9C21DD65-54F1-43C5-A4ED-A2C467859D96}" dt="2025-07-18T17:53:12.797" v="304" actId="1036"/>
          <ac:cxnSpMkLst>
            <pc:docMk/>
            <pc:sldMk cId="1444063717" sldId="2147471714"/>
            <ac:cxnSpMk id="56" creationId="{C841619E-E398-49BF-BC5A-B32A171075DA}"/>
          </ac:cxnSpMkLst>
        </pc:cxnChg>
        <pc:cxnChg chg="add mod">
          <ac:chgData name="John Paserba" userId="77bd6c8a-d0c1-4fea-8705-0169f65d0c0e" providerId="ADAL" clId="{9C21DD65-54F1-43C5-A4ED-A2C467859D96}" dt="2025-07-18T17:53:12.797" v="304" actId="1036"/>
          <ac:cxnSpMkLst>
            <pc:docMk/>
            <pc:sldMk cId="1444063717" sldId="2147471714"/>
            <ac:cxnSpMk id="57" creationId="{76E3BCF6-36B0-48A0-8403-9977D871A88B}"/>
          </ac:cxnSpMkLst>
        </pc:cxnChg>
        <pc:cxnChg chg="add mod">
          <ac:chgData name="John Paserba" userId="77bd6c8a-d0c1-4fea-8705-0169f65d0c0e" providerId="ADAL" clId="{9C21DD65-54F1-43C5-A4ED-A2C467859D96}" dt="2025-07-18T17:53:12.797" v="304" actId="1036"/>
          <ac:cxnSpMkLst>
            <pc:docMk/>
            <pc:sldMk cId="1444063717" sldId="2147471714"/>
            <ac:cxnSpMk id="58" creationId="{150F00EF-59EE-46BD-ABCF-83E857A7CC00}"/>
          </ac:cxnSpMkLst>
        </pc:cxnChg>
        <pc:cxnChg chg="add mod">
          <ac:chgData name="John Paserba" userId="77bd6c8a-d0c1-4fea-8705-0169f65d0c0e" providerId="ADAL" clId="{9C21DD65-54F1-43C5-A4ED-A2C467859D96}" dt="2025-07-18T17:53:12.797" v="304" actId="1036"/>
          <ac:cxnSpMkLst>
            <pc:docMk/>
            <pc:sldMk cId="1444063717" sldId="2147471714"/>
            <ac:cxnSpMk id="59" creationId="{9E337A11-698A-4DA1-83BF-5DC43462B7A6}"/>
          </ac:cxnSpMkLst>
        </pc:cxnChg>
        <pc:cxnChg chg="add mod">
          <ac:chgData name="John Paserba" userId="77bd6c8a-d0c1-4fea-8705-0169f65d0c0e" providerId="ADAL" clId="{9C21DD65-54F1-43C5-A4ED-A2C467859D96}" dt="2025-07-18T17:53:12.797" v="304" actId="1036"/>
          <ac:cxnSpMkLst>
            <pc:docMk/>
            <pc:sldMk cId="1444063717" sldId="2147471714"/>
            <ac:cxnSpMk id="60" creationId="{774F11E8-4DB9-4CF2-A02B-733BDC2AB01F}"/>
          </ac:cxnSpMkLst>
        </pc:cxnChg>
        <pc:cxnChg chg="add mod">
          <ac:chgData name="John Paserba" userId="77bd6c8a-d0c1-4fea-8705-0169f65d0c0e" providerId="ADAL" clId="{9C21DD65-54F1-43C5-A4ED-A2C467859D96}" dt="2025-07-18T17:53:12.797" v="304" actId="1036"/>
          <ac:cxnSpMkLst>
            <pc:docMk/>
            <pc:sldMk cId="1444063717" sldId="2147471714"/>
            <ac:cxnSpMk id="61" creationId="{1370BA53-FD0B-4FD4-852C-620C82E288BD}"/>
          </ac:cxnSpMkLst>
        </pc:cxnChg>
        <pc:cxnChg chg="add mod">
          <ac:chgData name="John Paserba" userId="77bd6c8a-d0c1-4fea-8705-0169f65d0c0e" providerId="ADAL" clId="{9C21DD65-54F1-43C5-A4ED-A2C467859D96}" dt="2025-07-18T17:53:12.797" v="304" actId="1036"/>
          <ac:cxnSpMkLst>
            <pc:docMk/>
            <pc:sldMk cId="1444063717" sldId="2147471714"/>
            <ac:cxnSpMk id="62" creationId="{E4708818-8908-48DA-AF35-7E3EC7472FFC}"/>
          </ac:cxnSpMkLst>
        </pc:cxnChg>
        <pc:cxnChg chg="add mod">
          <ac:chgData name="John Paserba" userId="77bd6c8a-d0c1-4fea-8705-0169f65d0c0e" providerId="ADAL" clId="{9C21DD65-54F1-43C5-A4ED-A2C467859D96}" dt="2025-07-18T17:53:12.797" v="304" actId="1036"/>
          <ac:cxnSpMkLst>
            <pc:docMk/>
            <pc:sldMk cId="1444063717" sldId="2147471714"/>
            <ac:cxnSpMk id="67" creationId="{DD6C4557-D6DA-4640-AF34-C8DE91AA00AD}"/>
          </ac:cxnSpMkLst>
        </pc:cxnChg>
        <pc:cxnChg chg="add mod">
          <ac:chgData name="John Paserba" userId="77bd6c8a-d0c1-4fea-8705-0169f65d0c0e" providerId="ADAL" clId="{9C21DD65-54F1-43C5-A4ED-A2C467859D96}" dt="2025-07-18T17:53:12.797" v="304" actId="1036"/>
          <ac:cxnSpMkLst>
            <pc:docMk/>
            <pc:sldMk cId="1444063717" sldId="2147471714"/>
            <ac:cxnSpMk id="68" creationId="{22E296E3-C2A0-40B7-8FCA-BDBBA6A5E352}"/>
          </ac:cxnSpMkLst>
        </pc:cxnChg>
        <pc:cxnChg chg="add mod">
          <ac:chgData name="John Paserba" userId="77bd6c8a-d0c1-4fea-8705-0169f65d0c0e" providerId="ADAL" clId="{9C21DD65-54F1-43C5-A4ED-A2C467859D96}" dt="2025-07-18T17:53:12.797" v="304" actId="1036"/>
          <ac:cxnSpMkLst>
            <pc:docMk/>
            <pc:sldMk cId="1444063717" sldId="2147471714"/>
            <ac:cxnSpMk id="69" creationId="{F0DB15B7-55C1-4F8C-831B-B8915D0BA9F5}"/>
          </ac:cxnSpMkLst>
        </pc:cxnChg>
        <pc:cxnChg chg="add mod">
          <ac:chgData name="John Paserba" userId="77bd6c8a-d0c1-4fea-8705-0169f65d0c0e" providerId="ADAL" clId="{9C21DD65-54F1-43C5-A4ED-A2C467859D96}" dt="2025-07-18T17:53:12.797" v="304" actId="1036"/>
          <ac:cxnSpMkLst>
            <pc:docMk/>
            <pc:sldMk cId="1444063717" sldId="2147471714"/>
            <ac:cxnSpMk id="70" creationId="{420DC570-7E74-4614-95D7-C63CE46CF8B7}"/>
          </ac:cxnSpMkLst>
        </pc:cxnChg>
        <pc:cxnChg chg="add mod">
          <ac:chgData name="John Paserba" userId="77bd6c8a-d0c1-4fea-8705-0169f65d0c0e" providerId="ADAL" clId="{9C21DD65-54F1-43C5-A4ED-A2C467859D96}" dt="2025-07-18T17:53:12.797" v="304" actId="1036"/>
          <ac:cxnSpMkLst>
            <pc:docMk/>
            <pc:sldMk cId="1444063717" sldId="2147471714"/>
            <ac:cxnSpMk id="71" creationId="{95930D7F-7121-4663-8BA3-54A687B03064}"/>
          </ac:cxnSpMkLst>
        </pc:cxnChg>
        <pc:cxnChg chg="add mod">
          <ac:chgData name="John Paserba" userId="77bd6c8a-d0c1-4fea-8705-0169f65d0c0e" providerId="ADAL" clId="{9C21DD65-54F1-43C5-A4ED-A2C467859D96}" dt="2025-07-18T17:53:12.797" v="304" actId="1036"/>
          <ac:cxnSpMkLst>
            <pc:docMk/>
            <pc:sldMk cId="1444063717" sldId="2147471714"/>
            <ac:cxnSpMk id="72" creationId="{E0D70280-0968-458F-A737-14AB5EAA84D4}"/>
          </ac:cxnSpMkLst>
        </pc:cxnChg>
      </pc:sldChg>
      <pc:sldChg chg="modSp add mod">
        <pc:chgData name="John Paserba" userId="77bd6c8a-d0c1-4fea-8705-0169f65d0c0e" providerId="ADAL" clId="{9C21DD65-54F1-43C5-A4ED-A2C467859D96}" dt="2025-07-18T17:54:08.287" v="372" actId="6549"/>
        <pc:sldMkLst>
          <pc:docMk/>
          <pc:sldMk cId="402333902" sldId="2147471715"/>
        </pc:sldMkLst>
        <pc:spChg chg="mod">
          <ac:chgData name="John Paserba" userId="77bd6c8a-d0c1-4fea-8705-0169f65d0c0e" providerId="ADAL" clId="{9C21DD65-54F1-43C5-A4ED-A2C467859D96}" dt="2025-07-18T17:54:08.287" v="372" actId="6549"/>
          <ac:spMkLst>
            <pc:docMk/>
            <pc:sldMk cId="402333902" sldId="2147471715"/>
            <ac:spMk id="3" creationId="{E6993746-A424-4F09-867F-B919F4E18ECB}"/>
          </ac:spMkLst>
        </pc:spChg>
        <pc:spChg chg="mod">
          <ac:chgData name="John Paserba" userId="77bd6c8a-d0c1-4fea-8705-0169f65d0c0e" providerId="ADAL" clId="{9C21DD65-54F1-43C5-A4ED-A2C467859D96}" dt="2025-07-18T17:54:02.055" v="371" actId="20577"/>
          <ac:spMkLst>
            <pc:docMk/>
            <pc:sldMk cId="402333902" sldId="2147471715"/>
            <ac:spMk id="3328002" creationId="{00000000-0000-0000-0000-000000000000}"/>
          </ac:spMkLst>
        </pc:spChg>
      </pc:sldChg>
      <pc:sldChg chg="addSp delSp modSp add mod">
        <pc:chgData name="John Paserba" userId="77bd6c8a-d0c1-4fea-8705-0169f65d0c0e" providerId="ADAL" clId="{9C21DD65-54F1-43C5-A4ED-A2C467859D96}" dt="2025-07-18T17:56:23.402" v="425" actId="1076"/>
        <pc:sldMkLst>
          <pc:docMk/>
          <pc:sldMk cId="48043056" sldId="2147471716"/>
        </pc:sldMkLst>
        <pc:spChg chg="del">
          <ac:chgData name="John Paserba" userId="77bd6c8a-d0c1-4fea-8705-0169f65d0c0e" providerId="ADAL" clId="{9C21DD65-54F1-43C5-A4ED-A2C467859D96}" dt="2025-07-18T17:53:39.602" v="339" actId="478"/>
          <ac:spMkLst>
            <pc:docMk/>
            <pc:sldMk cId="48043056" sldId="2147471716"/>
            <ac:spMk id="2" creationId="{0A83C3BA-C3F7-4E3A-A3B2-C3A60E959A50}"/>
          </ac:spMkLst>
        </pc:spChg>
        <pc:spChg chg="add mod">
          <ac:chgData name="John Paserba" userId="77bd6c8a-d0c1-4fea-8705-0169f65d0c0e" providerId="ADAL" clId="{9C21DD65-54F1-43C5-A4ED-A2C467859D96}" dt="2025-07-18T17:56:11.258" v="421" actId="1076"/>
          <ac:spMkLst>
            <pc:docMk/>
            <pc:sldMk cId="48043056" sldId="2147471716"/>
            <ac:spMk id="3" creationId="{EA9A584C-0DD3-4EE0-98E0-A93A5F243378}"/>
          </ac:spMkLst>
        </pc:spChg>
        <pc:spChg chg="add mod">
          <ac:chgData name="John Paserba" userId="77bd6c8a-d0c1-4fea-8705-0169f65d0c0e" providerId="ADAL" clId="{9C21DD65-54F1-43C5-A4ED-A2C467859D96}" dt="2025-07-18T17:55:37.504" v="413" actId="1076"/>
          <ac:spMkLst>
            <pc:docMk/>
            <pc:sldMk cId="48043056" sldId="2147471716"/>
            <ac:spMk id="42" creationId="{4063F8C8-7676-4282-980E-F4EE4AD5E6A0}"/>
          </ac:spMkLst>
        </pc:spChg>
        <pc:spChg chg="del">
          <ac:chgData name="John Paserba" userId="77bd6c8a-d0c1-4fea-8705-0169f65d0c0e" providerId="ADAL" clId="{9C21DD65-54F1-43C5-A4ED-A2C467859D96}" dt="2025-07-18T17:53:39.602" v="339" actId="478"/>
          <ac:spMkLst>
            <pc:docMk/>
            <pc:sldMk cId="48043056" sldId="2147471716"/>
            <ac:spMk id="43" creationId="{76942CEA-2DC0-46E4-AFFE-A1BE79AC7F65}"/>
          </ac:spMkLst>
        </pc:spChg>
        <pc:spChg chg="del">
          <ac:chgData name="John Paserba" userId="77bd6c8a-d0c1-4fea-8705-0169f65d0c0e" providerId="ADAL" clId="{9C21DD65-54F1-43C5-A4ED-A2C467859D96}" dt="2025-07-18T17:53:39.602" v="339" actId="478"/>
          <ac:spMkLst>
            <pc:docMk/>
            <pc:sldMk cId="48043056" sldId="2147471716"/>
            <ac:spMk id="44" creationId="{238E7113-DD7D-4C0D-8741-6E7C3AB022CF}"/>
          </ac:spMkLst>
        </pc:spChg>
        <pc:spChg chg="del">
          <ac:chgData name="John Paserba" userId="77bd6c8a-d0c1-4fea-8705-0169f65d0c0e" providerId="ADAL" clId="{9C21DD65-54F1-43C5-A4ED-A2C467859D96}" dt="2025-07-18T17:53:39.602" v="339" actId="478"/>
          <ac:spMkLst>
            <pc:docMk/>
            <pc:sldMk cId="48043056" sldId="2147471716"/>
            <ac:spMk id="47" creationId="{6CC86384-1550-45CC-B7EF-53F8C71587E7}"/>
          </ac:spMkLst>
        </pc:spChg>
        <pc:spChg chg="del">
          <ac:chgData name="John Paserba" userId="77bd6c8a-d0c1-4fea-8705-0169f65d0c0e" providerId="ADAL" clId="{9C21DD65-54F1-43C5-A4ED-A2C467859D96}" dt="2025-07-18T17:53:39.602" v="339" actId="478"/>
          <ac:spMkLst>
            <pc:docMk/>
            <pc:sldMk cId="48043056" sldId="2147471716"/>
            <ac:spMk id="48" creationId="{9FF30B60-6200-47C7-8B3C-1210232ACE86}"/>
          </ac:spMkLst>
        </pc:spChg>
        <pc:spChg chg="del">
          <ac:chgData name="John Paserba" userId="77bd6c8a-d0c1-4fea-8705-0169f65d0c0e" providerId="ADAL" clId="{9C21DD65-54F1-43C5-A4ED-A2C467859D96}" dt="2025-07-18T17:53:39.602" v="339" actId="478"/>
          <ac:spMkLst>
            <pc:docMk/>
            <pc:sldMk cId="48043056" sldId="2147471716"/>
            <ac:spMk id="49" creationId="{80E0335A-9BE4-4A7C-83C9-128FFCFC865D}"/>
          </ac:spMkLst>
        </pc:spChg>
        <pc:spChg chg="del">
          <ac:chgData name="John Paserba" userId="77bd6c8a-d0c1-4fea-8705-0169f65d0c0e" providerId="ADAL" clId="{9C21DD65-54F1-43C5-A4ED-A2C467859D96}" dt="2025-07-18T17:53:39.602" v="339" actId="478"/>
          <ac:spMkLst>
            <pc:docMk/>
            <pc:sldMk cId="48043056" sldId="2147471716"/>
            <ac:spMk id="50" creationId="{39A515E6-2FE0-47E5-B25A-182A973BBC5B}"/>
          </ac:spMkLst>
        </pc:spChg>
        <pc:spChg chg="del">
          <ac:chgData name="John Paserba" userId="77bd6c8a-d0c1-4fea-8705-0169f65d0c0e" providerId="ADAL" clId="{9C21DD65-54F1-43C5-A4ED-A2C467859D96}" dt="2025-07-18T17:53:39.602" v="339" actId="478"/>
          <ac:spMkLst>
            <pc:docMk/>
            <pc:sldMk cId="48043056" sldId="2147471716"/>
            <ac:spMk id="51" creationId="{6656D8CF-1DA7-4A14-803C-45C4576AB6FD}"/>
          </ac:spMkLst>
        </pc:spChg>
        <pc:spChg chg="del">
          <ac:chgData name="John Paserba" userId="77bd6c8a-d0c1-4fea-8705-0169f65d0c0e" providerId="ADAL" clId="{9C21DD65-54F1-43C5-A4ED-A2C467859D96}" dt="2025-07-18T17:53:39.602" v="339" actId="478"/>
          <ac:spMkLst>
            <pc:docMk/>
            <pc:sldMk cId="48043056" sldId="2147471716"/>
            <ac:spMk id="52" creationId="{970C955B-FA65-4B61-824F-E98B585990B1}"/>
          </ac:spMkLst>
        </pc:spChg>
        <pc:spChg chg="del">
          <ac:chgData name="John Paserba" userId="77bd6c8a-d0c1-4fea-8705-0169f65d0c0e" providerId="ADAL" clId="{9C21DD65-54F1-43C5-A4ED-A2C467859D96}" dt="2025-07-18T17:53:39.602" v="339" actId="478"/>
          <ac:spMkLst>
            <pc:docMk/>
            <pc:sldMk cId="48043056" sldId="2147471716"/>
            <ac:spMk id="53" creationId="{0F4E55F2-DD3A-4602-979B-A53C4465952F}"/>
          </ac:spMkLst>
        </pc:spChg>
        <pc:spChg chg="del">
          <ac:chgData name="John Paserba" userId="77bd6c8a-d0c1-4fea-8705-0169f65d0c0e" providerId="ADAL" clId="{9C21DD65-54F1-43C5-A4ED-A2C467859D96}" dt="2025-07-18T17:53:39.602" v="339" actId="478"/>
          <ac:spMkLst>
            <pc:docMk/>
            <pc:sldMk cId="48043056" sldId="2147471716"/>
            <ac:spMk id="63" creationId="{20CCAE38-ED39-40C1-AB7C-35A991B05E56}"/>
          </ac:spMkLst>
        </pc:spChg>
        <pc:spChg chg="del">
          <ac:chgData name="John Paserba" userId="77bd6c8a-d0c1-4fea-8705-0169f65d0c0e" providerId="ADAL" clId="{9C21DD65-54F1-43C5-A4ED-A2C467859D96}" dt="2025-07-18T17:53:39.602" v="339" actId="478"/>
          <ac:spMkLst>
            <pc:docMk/>
            <pc:sldMk cId="48043056" sldId="2147471716"/>
            <ac:spMk id="64" creationId="{3115A0EF-1924-4765-8C63-A5314944C1AB}"/>
          </ac:spMkLst>
        </pc:spChg>
        <pc:spChg chg="del">
          <ac:chgData name="John Paserba" userId="77bd6c8a-d0c1-4fea-8705-0169f65d0c0e" providerId="ADAL" clId="{9C21DD65-54F1-43C5-A4ED-A2C467859D96}" dt="2025-07-18T17:53:39.602" v="339" actId="478"/>
          <ac:spMkLst>
            <pc:docMk/>
            <pc:sldMk cId="48043056" sldId="2147471716"/>
            <ac:spMk id="65" creationId="{7FD05B89-3208-4A69-B24E-9844D54A98E8}"/>
          </ac:spMkLst>
        </pc:spChg>
        <pc:spChg chg="del">
          <ac:chgData name="John Paserba" userId="77bd6c8a-d0c1-4fea-8705-0169f65d0c0e" providerId="ADAL" clId="{9C21DD65-54F1-43C5-A4ED-A2C467859D96}" dt="2025-07-18T17:53:39.602" v="339" actId="478"/>
          <ac:spMkLst>
            <pc:docMk/>
            <pc:sldMk cId="48043056" sldId="2147471716"/>
            <ac:spMk id="66" creationId="{3176B914-0EAE-431A-853B-AF439CED1DD6}"/>
          </ac:spMkLst>
        </pc:spChg>
        <pc:spChg chg="add mod">
          <ac:chgData name="John Paserba" userId="77bd6c8a-d0c1-4fea-8705-0169f65d0c0e" providerId="ADAL" clId="{9C21DD65-54F1-43C5-A4ED-A2C467859D96}" dt="2025-07-18T17:55:37.504" v="413" actId="1076"/>
          <ac:spMkLst>
            <pc:docMk/>
            <pc:sldMk cId="48043056" sldId="2147471716"/>
            <ac:spMk id="74" creationId="{21582561-6765-4243-A273-4BB32B69AF67}"/>
          </ac:spMkLst>
        </pc:spChg>
        <pc:spChg chg="add mod">
          <ac:chgData name="John Paserba" userId="77bd6c8a-d0c1-4fea-8705-0169f65d0c0e" providerId="ADAL" clId="{9C21DD65-54F1-43C5-A4ED-A2C467859D96}" dt="2025-07-18T17:55:37.504" v="413" actId="1076"/>
          <ac:spMkLst>
            <pc:docMk/>
            <pc:sldMk cId="48043056" sldId="2147471716"/>
            <ac:spMk id="75" creationId="{6AD16190-CC96-44E0-81E4-318C3F1360E2}"/>
          </ac:spMkLst>
        </pc:spChg>
        <pc:spChg chg="add mod">
          <ac:chgData name="John Paserba" userId="77bd6c8a-d0c1-4fea-8705-0169f65d0c0e" providerId="ADAL" clId="{9C21DD65-54F1-43C5-A4ED-A2C467859D96}" dt="2025-07-18T17:55:37.504" v="413" actId="1076"/>
          <ac:spMkLst>
            <pc:docMk/>
            <pc:sldMk cId="48043056" sldId="2147471716"/>
            <ac:spMk id="76" creationId="{EB08AA89-C6A5-4810-93DB-3FD746C5CF53}"/>
          </ac:spMkLst>
        </pc:spChg>
        <pc:spChg chg="add mod">
          <ac:chgData name="John Paserba" userId="77bd6c8a-d0c1-4fea-8705-0169f65d0c0e" providerId="ADAL" clId="{9C21DD65-54F1-43C5-A4ED-A2C467859D96}" dt="2025-07-18T17:55:37.504" v="413" actId="1076"/>
          <ac:spMkLst>
            <pc:docMk/>
            <pc:sldMk cId="48043056" sldId="2147471716"/>
            <ac:spMk id="77" creationId="{42CD1CE6-1BEB-4411-91C2-3B626B376B0B}"/>
          </ac:spMkLst>
        </pc:spChg>
        <pc:spChg chg="add mod">
          <ac:chgData name="John Paserba" userId="77bd6c8a-d0c1-4fea-8705-0169f65d0c0e" providerId="ADAL" clId="{9C21DD65-54F1-43C5-A4ED-A2C467859D96}" dt="2025-07-18T17:55:37.504" v="413" actId="1076"/>
          <ac:spMkLst>
            <pc:docMk/>
            <pc:sldMk cId="48043056" sldId="2147471716"/>
            <ac:spMk id="82" creationId="{346BCFEE-F73A-46A1-BBAE-8E94F7E7CD98}"/>
          </ac:spMkLst>
        </pc:spChg>
        <pc:spChg chg="add mod">
          <ac:chgData name="John Paserba" userId="77bd6c8a-d0c1-4fea-8705-0169f65d0c0e" providerId="ADAL" clId="{9C21DD65-54F1-43C5-A4ED-A2C467859D96}" dt="2025-07-18T17:55:37.504" v="413" actId="1076"/>
          <ac:spMkLst>
            <pc:docMk/>
            <pc:sldMk cId="48043056" sldId="2147471716"/>
            <ac:spMk id="83" creationId="{B6C30762-D190-4636-B8FC-54595C66ED54}"/>
          </ac:spMkLst>
        </pc:spChg>
        <pc:spChg chg="add mod">
          <ac:chgData name="John Paserba" userId="77bd6c8a-d0c1-4fea-8705-0169f65d0c0e" providerId="ADAL" clId="{9C21DD65-54F1-43C5-A4ED-A2C467859D96}" dt="2025-07-18T17:55:37.504" v="413" actId="1076"/>
          <ac:spMkLst>
            <pc:docMk/>
            <pc:sldMk cId="48043056" sldId="2147471716"/>
            <ac:spMk id="84" creationId="{CE7B1CE5-18E2-4422-9A77-4B993943A166}"/>
          </ac:spMkLst>
        </pc:spChg>
        <pc:spChg chg="add mod">
          <ac:chgData name="John Paserba" userId="77bd6c8a-d0c1-4fea-8705-0169f65d0c0e" providerId="ADAL" clId="{9C21DD65-54F1-43C5-A4ED-A2C467859D96}" dt="2025-07-18T17:55:37.504" v="413" actId="1076"/>
          <ac:spMkLst>
            <pc:docMk/>
            <pc:sldMk cId="48043056" sldId="2147471716"/>
            <ac:spMk id="85" creationId="{7F3A5478-A9D0-4C8D-B67F-E4795838E1C5}"/>
          </ac:spMkLst>
        </pc:spChg>
        <pc:spChg chg="add mod">
          <ac:chgData name="John Paserba" userId="77bd6c8a-d0c1-4fea-8705-0169f65d0c0e" providerId="ADAL" clId="{9C21DD65-54F1-43C5-A4ED-A2C467859D96}" dt="2025-07-18T17:56:17.719" v="423" actId="1076"/>
          <ac:spMkLst>
            <pc:docMk/>
            <pc:sldMk cId="48043056" sldId="2147471716"/>
            <ac:spMk id="93" creationId="{2CDD8D31-FC75-48A5-A2A2-3A9BC492F900}"/>
          </ac:spMkLst>
        </pc:spChg>
        <pc:spChg chg="add mod">
          <ac:chgData name="John Paserba" userId="77bd6c8a-d0c1-4fea-8705-0169f65d0c0e" providerId="ADAL" clId="{9C21DD65-54F1-43C5-A4ED-A2C467859D96}" dt="2025-07-18T17:56:23.402" v="425" actId="1076"/>
          <ac:spMkLst>
            <pc:docMk/>
            <pc:sldMk cId="48043056" sldId="2147471716"/>
            <ac:spMk id="94" creationId="{9FD60962-1ED1-4C35-9FA5-298641A40D6D}"/>
          </ac:spMkLst>
        </pc:spChg>
        <pc:spChg chg="mod">
          <ac:chgData name="John Paserba" userId="77bd6c8a-d0c1-4fea-8705-0169f65d0c0e" providerId="ADAL" clId="{9C21DD65-54F1-43C5-A4ED-A2C467859D96}" dt="2025-07-18T17:55:12.561" v="411" actId="20577"/>
          <ac:spMkLst>
            <pc:docMk/>
            <pc:sldMk cId="48043056" sldId="2147471716"/>
            <ac:spMk id="3328002" creationId="{00000000-0000-0000-0000-000000000000}"/>
          </ac:spMkLst>
        </pc:spChg>
        <pc:cxnChg chg="del">
          <ac:chgData name="John Paserba" userId="77bd6c8a-d0c1-4fea-8705-0169f65d0c0e" providerId="ADAL" clId="{9C21DD65-54F1-43C5-A4ED-A2C467859D96}" dt="2025-07-18T17:53:39.602" v="339" actId="478"/>
          <ac:cxnSpMkLst>
            <pc:docMk/>
            <pc:sldMk cId="48043056" sldId="2147471716"/>
            <ac:cxnSpMk id="45" creationId="{4C8EF49D-806C-44F2-A4BA-A46895E3F1FC}"/>
          </ac:cxnSpMkLst>
        </pc:cxnChg>
        <pc:cxnChg chg="del">
          <ac:chgData name="John Paserba" userId="77bd6c8a-d0c1-4fea-8705-0169f65d0c0e" providerId="ADAL" clId="{9C21DD65-54F1-43C5-A4ED-A2C467859D96}" dt="2025-07-18T17:53:39.602" v="339" actId="478"/>
          <ac:cxnSpMkLst>
            <pc:docMk/>
            <pc:sldMk cId="48043056" sldId="2147471716"/>
            <ac:cxnSpMk id="46" creationId="{DC899E5F-31AD-49BC-8026-7E77A9426393}"/>
          </ac:cxnSpMkLst>
        </pc:cxnChg>
        <pc:cxnChg chg="del">
          <ac:chgData name="John Paserba" userId="77bd6c8a-d0c1-4fea-8705-0169f65d0c0e" providerId="ADAL" clId="{9C21DD65-54F1-43C5-A4ED-A2C467859D96}" dt="2025-07-18T17:53:39.602" v="339" actId="478"/>
          <ac:cxnSpMkLst>
            <pc:docMk/>
            <pc:sldMk cId="48043056" sldId="2147471716"/>
            <ac:cxnSpMk id="54" creationId="{936C6AA0-7064-4F8A-A317-F42A2A8A61B9}"/>
          </ac:cxnSpMkLst>
        </pc:cxnChg>
        <pc:cxnChg chg="del">
          <ac:chgData name="John Paserba" userId="77bd6c8a-d0c1-4fea-8705-0169f65d0c0e" providerId="ADAL" clId="{9C21DD65-54F1-43C5-A4ED-A2C467859D96}" dt="2025-07-18T17:53:39.602" v="339" actId="478"/>
          <ac:cxnSpMkLst>
            <pc:docMk/>
            <pc:sldMk cId="48043056" sldId="2147471716"/>
            <ac:cxnSpMk id="55" creationId="{DDE598FE-2E13-4953-BB78-6645FAEF3448}"/>
          </ac:cxnSpMkLst>
        </pc:cxnChg>
        <pc:cxnChg chg="del">
          <ac:chgData name="John Paserba" userId="77bd6c8a-d0c1-4fea-8705-0169f65d0c0e" providerId="ADAL" clId="{9C21DD65-54F1-43C5-A4ED-A2C467859D96}" dt="2025-07-18T17:53:39.602" v="339" actId="478"/>
          <ac:cxnSpMkLst>
            <pc:docMk/>
            <pc:sldMk cId="48043056" sldId="2147471716"/>
            <ac:cxnSpMk id="56" creationId="{C841619E-E398-49BF-BC5A-B32A171075DA}"/>
          </ac:cxnSpMkLst>
        </pc:cxnChg>
        <pc:cxnChg chg="del">
          <ac:chgData name="John Paserba" userId="77bd6c8a-d0c1-4fea-8705-0169f65d0c0e" providerId="ADAL" clId="{9C21DD65-54F1-43C5-A4ED-A2C467859D96}" dt="2025-07-18T17:53:39.602" v="339" actId="478"/>
          <ac:cxnSpMkLst>
            <pc:docMk/>
            <pc:sldMk cId="48043056" sldId="2147471716"/>
            <ac:cxnSpMk id="57" creationId="{76E3BCF6-36B0-48A0-8403-9977D871A88B}"/>
          </ac:cxnSpMkLst>
        </pc:cxnChg>
        <pc:cxnChg chg="del">
          <ac:chgData name="John Paserba" userId="77bd6c8a-d0c1-4fea-8705-0169f65d0c0e" providerId="ADAL" clId="{9C21DD65-54F1-43C5-A4ED-A2C467859D96}" dt="2025-07-18T17:53:39.602" v="339" actId="478"/>
          <ac:cxnSpMkLst>
            <pc:docMk/>
            <pc:sldMk cId="48043056" sldId="2147471716"/>
            <ac:cxnSpMk id="58" creationId="{150F00EF-59EE-46BD-ABCF-83E857A7CC00}"/>
          </ac:cxnSpMkLst>
        </pc:cxnChg>
        <pc:cxnChg chg="del">
          <ac:chgData name="John Paserba" userId="77bd6c8a-d0c1-4fea-8705-0169f65d0c0e" providerId="ADAL" clId="{9C21DD65-54F1-43C5-A4ED-A2C467859D96}" dt="2025-07-18T17:53:39.602" v="339" actId="478"/>
          <ac:cxnSpMkLst>
            <pc:docMk/>
            <pc:sldMk cId="48043056" sldId="2147471716"/>
            <ac:cxnSpMk id="59" creationId="{9E337A11-698A-4DA1-83BF-5DC43462B7A6}"/>
          </ac:cxnSpMkLst>
        </pc:cxnChg>
        <pc:cxnChg chg="del">
          <ac:chgData name="John Paserba" userId="77bd6c8a-d0c1-4fea-8705-0169f65d0c0e" providerId="ADAL" clId="{9C21DD65-54F1-43C5-A4ED-A2C467859D96}" dt="2025-07-18T17:53:39.602" v="339" actId="478"/>
          <ac:cxnSpMkLst>
            <pc:docMk/>
            <pc:sldMk cId="48043056" sldId="2147471716"/>
            <ac:cxnSpMk id="60" creationId="{774F11E8-4DB9-4CF2-A02B-733BDC2AB01F}"/>
          </ac:cxnSpMkLst>
        </pc:cxnChg>
        <pc:cxnChg chg="del">
          <ac:chgData name="John Paserba" userId="77bd6c8a-d0c1-4fea-8705-0169f65d0c0e" providerId="ADAL" clId="{9C21DD65-54F1-43C5-A4ED-A2C467859D96}" dt="2025-07-18T17:53:39.602" v="339" actId="478"/>
          <ac:cxnSpMkLst>
            <pc:docMk/>
            <pc:sldMk cId="48043056" sldId="2147471716"/>
            <ac:cxnSpMk id="61" creationId="{1370BA53-FD0B-4FD4-852C-620C82E288BD}"/>
          </ac:cxnSpMkLst>
        </pc:cxnChg>
        <pc:cxnChg chg="del">
          <ac:chgData name="John Paserba" userId="77bd6c8a-d0c1-4fea-8705-0169f65d0c0e" providerId="ADAL" clId="{9C21DD65-54F1-43C5-A4ED-A2C467859D96}" dt="2025-07-18T17:53:39.602" v="339" actId="478"/>
          <ac:cxnSpMkLst>
            <pc:docMk/>
            <pc:sldMk cId="48043056" sldId="2147471716"/>
            <ac:cxnSpMk id="62" creationId="{E4708818-8908-48DA-AF35-7E3EC7472FFC}"/>
          </ac:cxnSpMkLst>
        </pc:cxnChg>
        <pc:cxnChg chg="del">
          <ac:chgData name="John Paserba" userId="77bd6c8a-d0c1-4fea-8705-0169f65d0c0e" providerId="ADAL" clId="{9C21DD65-54F1-43C5-A4ED-A2C467859D96}" dt="2025-07-18T17:53:39.602" v="339" actId="478"/>
          <ac:cxnSpMkLst>
            <pc:docMk/>
            <pc:sldMk cId="48043056" sldId="2147471716"/>
            <ac:cxnSpMk id="67" creationId="{DD6C4557-D6DA-4640-AF34-C8DE91AA00AD}"/>
          </ac:cxnSpMkLst>
        </pc:cxnChg>
        <pc:cxnChg chg="del">
          <ac:chgData name="John Paserba" userId="77bd6c8a-d0c1-4fea-8705-0169f65d0c0e" providerId="ADAL" clId="{9C21DD65-54F1-43C5-A4ED-A2C467859D96}" dt="2025-07-18T17:53:39.602" v="339" actId="478"/>
          <ac:cxnSpMkLst>
            <pc:docMk/>
            <pc:sldMk cId="48043056" sldId="2147471716"/>
            <ac:cxnSpMk id="68" creationId="{22E296E3-C2A0-40B7-8FCA-BDBBA6A5E352}"/>
          </ac:cxnSpMkLst>
        </pc:cxnChg>
        <pc:cxnChg chg="del">
          <ac:chgData name="John Paserba" userId="77bd6c8a-d0c1-4fea-8705-0169f65d0c0e" providerId="ADAL" clId="{9C21DD65-54F1-43C5-A4ED-A2C467859D96}" dt="2025-07-18T17:53:39.602" v="339" actId="478"/>
          <ac:cxnSpMkLst>
            <pc:docMk/>
            <pc:sldMk cId="48043056" sldId="2147471716"/>
            <ac:cxnSpMk id="69" creationId="{F0DB15B7-55C1-4F8C-831B-B8915D0BA9F5}"/>
          </ac:cxnSpMkLst>
        </pc:cxnChg>
        <pc:cxnChg chg="del">
          <ac:chgData name="John Paserba" userId="77bd6c8a-d0c1-4fea-8705-0169f65d0c0e" providerId="ADAL" clId="{9C21DD65-54F1-43C5-A4ED-A2C467859D96}" dt="2025-07-18T17:53:39.602" v="339" actId="478"/>
          <ac:cxnSpMkLst>
            <pc:docMk/>
            <pc:sldMk cId="48043056" sldId="2147471716"/>
            <ac:cxnSpMk id="70" creationId="{420DC570-7E74-4614-95D7-C63CE46CF8B7}"/>
          </ac:cxnSpMkLst>
        </pc:cxnChg>
        <pc:cxnChg chg="del">
          <ac:chgData name="John Paserba" userId="77bd6c8a-d0c1-4fea-8705-0169f65d0c0e" providerId="ADAL" clId="{9C21DD65-54F1-43C5-A4ED-A2C467859D96}" dt="2025-07-18T17:53:39.602" v="339" actId="478"/>
          <ac:cxnSpMkLst>
            <pc:docMk/>
            <pc:sldMk cId="48043056" sldId="2147471716"/>
            <ac:cxnSpMk id="71" creationId="{95930D7F-7121-4663-8BA3-54A687B03064}"/>
          </ac:cxnSpMkLst>
        </pc:cxnChg>
        <pc:cxnChg chg="del">
          <ac:chgData name="John Paserba" userId="77bd6c8a-d0c1-4fea-8705-0169f65d0c0e" providerId="ADAL" clId="{9C21DD65-54F1-43C5-A4ED-A2C467859D96}" dt="2025-07-18T17:53:39.602" v="339" actId="478"/>
          <ac:cxnSpMkLst>
            <pc:docMk/>
            <pc:sldMk cId="48043056" sldId="2147471716"/>
            <ac:cxnSpMk id="72" creationId="{E0D70280-0968-458F-A737-14AB5EAA84D4}"/>
          </ac:cxnSpMkLst>
        </pc:cxnChg>
        <pc:cxnChg chg="add mod">
          <ac:chgData name="John Paserba" userId="77bd6c8a-d0c1-4fea-8705-0169f65d0c0e" providerId="ADAL" clId="{9C21DD65-54F1-43C5-A4ED-A2C467859D96}" dt="2025-07-18T17:55:37.504" v="413" actId="1076"/>
          <ac:cxnSpMkLst>
            <pc:docMk/>
            <pc:sldMk cId="48043056" sldId="2147471716"/>
            <ac:cxnSpMk id="73" creationId="{52462CB5-D5DA-4C8D-B64E-F6197EB7D0E7}"/>
          </ac:cxnSpMkLst>
        </pc:cxnChg>
        <pc:cxnChg chg="add mod">
          <ac:chgData name="John Paserba" userId="77bd6c8a-d0c1-4fea-8705-0169f65d0c0e" providerId="ADAL" clId="{9C21DD65-54F1-43C5-A4ED-A2C467859D96}" dt="2025-07-18T17:55:37.504" v="413" actId="1076"/>
          <ac:cxnSpMkLst>
            <pc:docMk/>
            <pc:sldMk cId="48043056" sldId="2147471716"/>
            <ac:cxnSpMk id="78" creationId="{A96024D3-E547-4C78-838F-CE4B7F09EF7F}"/>
          </ac:cxnSpMkLst>
        </pc:cxnChg>
        <pc:cxnChg chg="add mod">
          <ac:chgData name="John Paserba" userId="77bd6c8a-d0c1-4fea-8705-0169f65d0c0e" providerId="ADAL" clId="{9C21DD65-54F1-43C5-A4ED-A2C467859D96}" dt="2025-07-18T17:55:37.504" v="413" actId="1076"/>
          <ac:cxnSpMkLst>
            <pc:docMk/>
            <pc:sldMk cId="48043056" sldId="2147471716"/>
            <ac:cxnSpMk id="79" creationId="{8AB732D9-6092-434F-AF1C-74B02C7494D1}"/>
          </ac:cxnSpMkLst>
        </pc:cxnChg>
        <pc:cxnChg chg="add mod">
          <ac:chgData name="John Paserba" userId="77bd6c8a-d0c1-4fea-8705-0169f65d0c0e" providerId="ADAL" clId="{9C21DD65-54F1-43C5-A4ED-A2C467859D96}" dt="2025-07-18T17:55:37.504" v="413" actId="1076"/>
          <ac:cxnSpMkLst>
            <pc:docMk/>
            <pc:sldMk cId="48043056" sldId="2147471716"/>
            <ac:cxnSpMk id="80" creationId="{7F8F3448-30AC-4A65-BB50-D4650D7E420B}"/>
          </ac:cxnSpMkLst>
        </pc:cxnChg>
        <pc:cxnChg chg="add mod">
          <ac:chgData name="John Paserba" userId="77bd6c8a-d0c1-4fea-8705-0169f65d0c0e" providerId="ADAL" clId="{9C21DD65-54F1-43C5-A4ED-A2C467859D96}" dt="2025-07-18T17:55:37.504" v="413" actId="1076"/>
          <ac:cxnSpMkLst>
            <pc:docMk/>
            <pc:sldMk cId="48043056" sldId="2147471716"/>
            <ac:cxnSpMk id="81" creationId="{D239B663-5EAC-459A-BB7D-21014B681AE1}"/>
          </ac:cxnSpMkLst>
        </pc:cxnChg>
        <pc:cxnChg chg="add mod">
          <ac:chgData name="John Paserba" userId="77bd6c8a-d0c1-4fea-8705-0169f65d0c0e" providerId="ADAL" clId="{9C21DD65-54F1-43C5-A4ED-A2C467859D96}" dt="2025-07-18T17:55:37.504" v="413" actId="1076"/>
          <ac:cxnSpMkLst>
            <pc:docMk/>
            <pc:sldMk cId="48043056" sldId="2147471716"/>
            <ac:cxnSpMk id="86" creationId="{670C77D4-C896-4BA7-BC12-C2FF53263C7E}"/>
          </ac:cxnSpMkLst>
        </pc:cxnChg>
        <pc:cxnChg chg="add mod">
          <ac:chgData name="John Paserba" userId="77bd6c8a-d0c1-4fea-8705-0169f65d0c0e" providerId="ADAL" clId="{9C21DD65-54F1-43C5-A4ED-A2C467859D96}" dt="2025-07-18T17:55:37.504" v="413" actId="1076"/>
          <ac:cxnSpMkLst>
            <pc:docMk/>
            <pc:sldMk cId="48043056" sldId="2147471716"/>
            <ac:cxnSpMk id="87" creationId="{694F2294-1A0E-4B39-A365-A576A56A112D}"/>
          </ac:cxnSpMkLst>
        </pc:cxnChg>
        <pc:cxnChg chg="add mod">
          <ac:chgData name="John Paserba" userId="77bd6c8a-d0c1-4fea-8705-0169f65d0c0e" providerId="ADAL" clId="{9C21DD65-54F1-43C5-A4ED-A2C467859D96}" dt="2025-07-18T17:55:37.504" v="413" actId="1076"/>
          <ac:cxnSpMkLst>
            <pc:docMk/>
            <pc:sldMk cId="48043056" sldId="2147471716"/>
            <ac:cxnSpMk id="88" creationId="{C82F6A5C-1EE9-47CB-ACCF-3C8D38BEC640}"/>
          </ac:cxnSpMkLst>
        </pc:cxnChg>
        <pc:cxnChg chg="add mod">
          <ac:chgData name="John Paserba" userId="77bd6c8a-d0c1-4fea-8705-0169f65d0c0e" providerId="ADAL" clId="{9C21DD65-54F1-43C5-A4ED-A2C467859D96}" dt="2025-07-18T17:55:37.504" v="413" actId="1076"/>
          <ac:cxnSpMkLst>
            <pc:docMk/>
            <pc:sldMk cId="48043056" sldId="2147471716"/>
            <ac:cxnSpMk id="89" creationId="{0754BBBA-CA52-43A4-8044-61DD00D01C88}"/>
          </ac:cxnSpMkLst>
        </pc:cxnChg>
        <pc:cxnChg chg="add mod">
          <ac:chgData name="John Paserba" userId="77bd6c8a-d0c1-4fea-8705-0169f65d0c0e" providerId="ADAL" clId="{9C21DD65-54F1-43C5-A4ED-A2C467859D96}" dt="2025-07-18T17:55:37.504" v="413" actId="1076"/>
          <ac:cxnSpMkLst>
            <pc:docMk/>
            <pc:sldMk cId="48043056" sldId="2147471716"/>
            <ac:cxnSpMk id="90" creationId="{9B8AD561-029D-446A-B3A9-A7589881B96E}"/>
          </ac:cxnSpMkLst>
        </pc:cxnChg>
        <pc:cxnChg chg="add mod">
          <ac:chgData name="John Paserba" userId="77bd6c8a-d0c1-4fea-8705-0169f65d0c0e" providerId="ADAL" clId="{9C21DD65-54F1-43C5-A4ED-A2C467859D96}" dt="2025-07-18T17:55:37.504" v="413" actId="1076"/>
          <ac:cxnSpMkLst>
            <pc:docMk/>
            <pc:sldMk cId="48043056" sldId="2147471716"/>
            <ac:cxnSpMk id="91" creationId="{06090C55-CB91-49D2-8BF6-3CB1B3764AAA}"/>
          </ac:cxnSpMkLst>
        </pc:cxnChg>
        <pc:cxnChg chg="add mod">
          <ac:chgData name="John Paserba" userId="77bd6c8a-d0c1-4fea-8705-0169f65d0c0e" providerId="ADAL" clId="{9C21DD65-54F1-43C5-A4ED-A2C467859D96}" dt="2025-07-18T17:55:37.504" v="413" actId="1076"/>
          <ac:cxnSpMkLst>
            <pc:docMk/>
            <pc:sldMk cId="48043056" sldId="2147471716"/>
            <ac:cxnSpMk id="92" creationId="{CD3DB7C8-54AA-4F0D-8743-27001356EAF3}"/>
          </ac:cxnSpMkLst>
        </pc:cxnChg>
      </pc:sldChg>
      <pc:sldChg chg="add">
        <pc:chgData name="John Paserba" userId="77bd6c8a-d0c1-4fea-8705-0169f65d0c0e" providerId="ADAL" clId="{9C21DD65-54F1-43C5-A4ED-A2C467859D96}" dt="2025-07-18T17:53:47.649" v="340"/>
        <pc:sldMkLst>
          <pc:docMk/>
          <pc:sldMk cId="2177707717" sldId="2147471717"/>
        </pc:sldMkLst>
      </pc:sldChg>
      <pc:sldChg chg="addSp modSp add mod">
        <pc:chgData name="John Paserba" userId="77bd6c8a-d0c1-4fea-8705-0169f65d0c0e" providerId="ADAL" clId="{9C21DD65-54F1-43C5-A4ED-A2C467859D96}" dt="2025-07-18T17:57:12.692" v="445" actId="14100"/>
        <pc:sldMkLst>
          <pc:docMk/>
          <pc:sldMk cId="945895210" sldId="2147471718"/>
        </pc:sldMkLst>
        <pc:spChg chg="add mod">
          <ac:chgData name="John Paserba" userId="77bd6c8a-d0c1-4fea-8705-0169f65d0c0e" providerId="ADAL" clId="{9C21DD65-54F1-43C5-A4ED-A2C467859D96}" dt="2025-07-18T17:57:12.692" v="445" actId="14100"/>
          <ac:spMkLst>
            <pc:docMk/>
            <pc:sldMk cId="945895210" sldId="2147471718"/>
            <ac:spMk id="12" creationId="{0D72A75D-4AA1-4F79-998C-940E83B1C6AC}"/>
          </ac:spMkLst>
        </pc:spChg>
      </pc:sldChg>
      <pc:sldChg chg="addSp modSp add del mod">
        <pc:chgData name="John Paserba" userId="77bd6c8a-d0c1-4fea-8705-0169f65d0c0e" providerId="ADAL" clId="{9C21DD65-54F1-43C5-A4ED-A2C467859D96}" dt="2025-07-21T22:38:16.435" v="642" actId="47"/>
        <pc:sldMkLst>
          <pc:docMk/>
          <pc:sldMk cId="2620248760" sldId="2147471719"/>
        </pc:sldMkLst>
        <pc:spChg chg="add mod">
          <ac:chgData name="John Paserba" userId="77bd6c8a-d0c1-4fea-8705-0169f65d0c0e" providerId="ADAL" clId="{9C21DD65-54F1-43C5-A4ED-A2C467859D96}" dt="2025-07-18T18:19:28.475" v="632"/>
          <ac:spMkLst>
            <pc:docMk/>
            <pc:sldMk cId="2620248760" sldId="2147471719"/>
            <ac:spMk id="27" creationId="{D3ECAE8C-B16F-46B6-AEA9-EBC5D6EEA54F}"/>
          </ac:spMkLst>
        </pc:spChg>
        <pc:spChg chg="mod">
          <ac:chgData name="John Paserba" userId="77bd6c8a-d0c1-4fea-8705-0169f65d0c0e" providerId="ADAL" clId="{9C21DD65-54F1-43C5-A4ED-A2C467859D96}" dt="2025-07-18T18:15:43.075" v="613" actId="1076"/>
          <ac:spMkLst>
            <pc:docMk/>
            <pc:sldMk cId="2620248760" sldId="2147471719"/>
            <ac:spMk id="30" creationId="{AE9CC5A2-3FBC-42DA-9470-E8DB5E86C0B4}"/>
          </ac:spMkLst>
        </pc:spChg>
        <pc:spChg chg="mod">
          <ac:chgData name="John Paserba" userId="77bd6c8a-d0c1-4fea-8705-0169f65d0c0e" providerId="ADAL" clId="{9C21DD65-54F1-43C5-A4ED-A2C467859D96}" dt="2025-07-18T18:15:49.510" v="614" actId="688"/>
          <ac:spMkLst>
            <pc:docMk/>
            <pc:sldMk cId="2620248760" sldId="2147471719"/>
            <ac:spMk id="31" creationId="{17DEAE4E-E082-4E3D-B35D-9F314822E70A}"/>
          </ac:spMkLst>
        </pc:spChg>
        <pc:graphicFrameChg chg="mod">
          <ac:chgData name="John Paserba" userId="77bd6c8a-d0c1-4fea-8705-0169f65d0c0e" providerId="ADAL" clId="{9C21DD65-54F1-43C5-A4ED-A2C467859D96}" dt="2025-07-18T18:13:03.782" v="594" actId="20577"/>
          <ac:graphicFrameMkLst>
            <pc:docMk/>
            <pc:sldMk cId="2620248760" sldId="2147471719"/>
            <ac:graphicFrameMk id="14" creationId="{00000000-0000-0000-0000-000000000000}"/>
          </ac:graphicFrameMkLst>
        </pc:graphicFrameChg>
        <pc:graphicFrameChg chg="mod">
          <ac:chgData name="John Paserba" userId="77bd6c8a-d0c1-4fea-8705-0169f65d0c0e" providerId="ADAL" clId="{9C21DD65-54F1-43C5-A4ED-A2C467859D96}" dt="2025-07-18T18:15:19.803" v="612" actId="20577"/>
          <ac:graphicFrameMkLst>
            <pc:docMk/>
            <pc:sldMk cId="2620248760" sldId="2147471719"/>
            <ac:graphicFrameMk id="17" creationId="{56F1947A-A87B-47AE-A49D-C3183B9A0338}"/>
          </ac:graphicFrameMkLst>
        </pc:graphicFrameChg>
      </pc:sldChg>
      <pc:sldChg chg="addSp modSp">
        <pc:chgData name="John Paserba" userId="77bd6c8a-d0c1-4fea-8705-0169f65d0c0e" providerId="ADAL" clId="{9C21DD65-54F1-43C5-A4ED-A2C467859D96}" dt="2025-07-18T18:19:17.600" v="631"/>
        <pc:sldMkLst>
          <pc:docMk/>
          <pc:sldMk cId="1303176768" sldId="2147471720"/>
        </pc:sldMkLst>
        <pc:spChg chg="add mod">
          <ac:chgData name="John Paserba" userId="77bd6c8a-d0c1-4fea-8705-0169f65d0c0e" providerId="ADAL" clId="{9C21DD65-54F1-43C5-A4ED-A2C467859D96}" dt="2025-07-18T18:19:17.600" v="631"/>
          <ac:spMkLst>
            <pc:docMk/>
            <pc:sldMk cId="1303176768" sldId="2147471720"/>
            <ac:spMk id="27" creationId="{D52DF849-EC83-478E-B367-4153A22E90D2}"/>
          </ac:spMkLst>
        </pc:spChg>
      </pc:sldChg>
      <pc:sldChg chg="delSp add mod">
        <pc:chgData name="John Paserba" userId="77bd6c8a-d0c1-4fea-8705-0169f65d0c0e" providerId="ADAL" clId="{9C21DD65-54F1-43C5-A4ED-A2C467859D96}" dt="2025-07-21T22:35:11.794" v="637" actId="478"/>
        <pc:sldMkLst>
          <pc:docMk/>
          <pc:sldMk cId="1189292215" sldId="2147471725"/>
        </pc:sldMkLst>
        <pc:spChg chg="del">
          <ac:chgData name="John Paserba" userId="77bd6c8a-d0c1-4fea-8705-0169f65d0c0e" providerId="ADAL" clId="{9C21DD65-54F1-43C5-A4ED-A2C467859D96}" dt="2025-07-21T22:35:11.794" v="637" actId="478"/>
          <ac:spMkLst>
            <pc:docMk/>
            <pc:sldMk cId="1189292215" sldId="2147471725"/>
            <ac:spMk id="6" creationId="{752870A1-FD47-B059-285B-A120CB840720}"/>
          </ac:spMkLst>
        </pc:spChg>
      </pc:sldChg>
      <pc:sldChg chg="delSp add mod">
        <pc:chgData name="John Paserba" userId="77bd6c8a-d0c1-4fea-8705-0169f65d0c0e" providerId="ADAL" clId="{9C21DD65-54F1-43C5-A4ED-A2C467859D96}" dt="2025-07-21T22:35:18.982" v="638" actId="478"/>
        <pc:sldMkLst>
          <pc:docMk/>
          <pc:sldMk cId="3935368681" sldId="2147471726"/>
        </pc:sldMkLst>
        <pc:spChg chg="del">
          <ac:chgData name="John Paserba" userId="77bd6c8a-d0c1-4fea-8705-0169f65d0c0e" providerId="ADAL" clId="{9C21DD65-54F1-43C5-A4ED-A2C467859D96}" dt="2025-07-21T22:35:18.982" v="638" actId="478"/>
          <ac:spMkLst>
            <pc:docMk/>
            <pc:sldMk cId="3935368681" sldId="2147471726"/>
            <ac:spMk id="6" creationId="{8C8A9491-F1B1-4F5D-D47E-2697E1A609C1}"/>
          </ac:spMkLst>
        </pc:spChg>
      </pc:sldChg>
      <pc:sldChg chg="delSp add mod">
        <pc:chgData name="John Paserba" userId="77bd6c8a-d0c1-4fea-8705-0169f65d0c0e" providerId="ADAL" clId="{9C21DD65-54F1-43C5-A4ED-A2C467859D96}" dt="2025-07-21T22:35:24.774" v="639" actId="478"/>
        <pc:sldMkLst>
          <pc:docMk/>
          <pc:sldMk cId="2441728225" sldId="2147471727"/>
        </pc:sldMkLst>
        <pc:spChg chg="del">
          <ac:chgData name="John Paserba" userId="77bd6c8a-d0c1-4fea-8705-0169f65d0c0e" providerId="ADAL" clId="{9C21DD65-54F1-43C5-A4ED-A2C467859D96}" dt="2025-07-21T22:35:24.774" v="639" actId="478"/>
          <ac:spMkLst>
            <pc:docMk/>
            <pc:sldMk cId="2441728225" sldId="2147471727"/>
            <ac:spMk id="3" creationId="{B43C3FBE-7050-1AE4-44B7-86D8A2196380}"/>
          </ac:spMkLst>
        </pc:spChg>
      </pc:sldChg>
      <pc:sldChg chg="delSp add mod">
        <pc:chgData name="John Paserba" userId="77bd6c8a-d0c1-4fea-8705-0169f65d0c0e" providerId="ADAL" clId="{9C21DD65-54F1-43C5-A4ED-A2C467859D96}" dt="2025-07-21T22:35:30.271" v="640" actId="478"/>
        <pc:sldMkLst>
          <pc:docMk/>
          <pc:sldMk cId="2829787811" sldId="2147471728"/>
        </pc:sldMkLst>
        <pc:spChg chg="del">
          <ac:chgData name="John Paserba" userId="77bd6c8a-d0c1-4fea-8705-0169f65d0c0e" providerId="ADAL" clId="{9C21DD65-54F1-43C5-A4ED-A2C467859D96}" dt="2025-07-21T22:35:30.271" v="640" actId="478"/>
          <ac:spMkLst>
            <pc:docMk/>
            <pc:sldMk cId="2829787811" sldId="2147471728"/>
            <ac:spMk id="3" creationId="{6D486F9C-9DF4-C9D2-C654-28AF208BBCEF}"/>
          </ac:spMkLst>
        </pc:spChg>
      </pc:sldChg>
      <pc:sldChg chg="del">
        <pc:chgData name="John Paserba" userId="77bd6c8a-d0c1-4fea-8705-0169f65d0c0e" providerId="ADAL" clId="{9C21DD65-54F1-43C5-A4ED-A2C467859D96}" dt="2025-07-22T16:18:31.238" v="1186" actId="47"/>
        <pc:sldMkLst>
          <pc:docMk/>
          <pc:sldMk cId="1684752052" sldId="2147471729"/>
        </pc:sldMkLst>
      </pc:sldChg>
      <pc:sldChg chg="del">
        <pc:chgData name="John Paserba" userId="77bd6c8a-d0c1-4fea-8705-0169f65d0c0e" providerId="ADAL" clId="{9C21DD65-54F1-43C5-A4ED-A2C467859D96}" dt="2025-07-22T16:18:31.238" v="1186" actId="47"/>
        <pc:sldMkLst>
          <pc:docMk/>
          <pc:sldMk cId="3063618461" sldId="2147471730"/>
        </pc:sldMkLst>
      </pc:sldChg>
      <pc:sldChg chg="modSp add mod ord">
        <pc:chgData name="John Paserba" userId="77bd6c8a-d0c1-4fea-8705-0169f65d0c0e" providerId="ADAL" clId="{9C21DD65-54F1-43C5-A4ED-A2C467859D96}" dt="2025-07-22T15:23:59.375" v="697" actId="1076"/>
        <pc:sldMkLst>
          <pc:docMk/>
          <pc:sldMk cId="537995670" sldId="2147471731"/>
        </pc:sldMkLst>
        <pc:spChg chg="mod">
          <ac:chgData name="John Paserba" userId="77bd6c8a-d0c1-4fea-8705-0169f65d0c0e" providerId="ADAL" clId="{9C21DD65-54F1-43C5-A4ED-A2C467859D96}" dt="2025-07-22T15:23:44.428" v="679" actId="27636"/>
          <ac:spMkLst>
            <pc:docMk/>
            <pc:sldMk cId="537995670" sldId="2147471731"/>
            <ac:spMk id="3" creationId="{E6993746-A424-4F09-867F-B919F4E18ECB}"/>
          </ac:spMkLst>
        </pc:spChg>
        <pc:spChg chg="mod">
          <ac:chgData name="John Paserba" userId="77bd6c8a-d0c1-4fea-8705-0169f65d0c0e" providerId="ADAL" clId="{9C21DD65-54F1-43C5-A4ED-A2C467859D96}" dt="2025-07-22T15:23:59.375" v="697" actId="1076"/>
          <ac:spMkLst>
            <pc:docMk/>
            <pc:sldMk cId="537995670" sldId="2147471731"/>
            <ac:spMk id="12" creationId="{9271B09D-6787-4319-A454-AEEDF285BCC3}"/>
          </ac:spMkLst>
        </pc:spChg>
        <pc:spChg chg="mod">
          <ac:chgData name="John Paserba" userId="77bd6c8a-d0c1-4fea-8705-0169f65d0c0e" providerId="ADAL" clId="{9C21DD65-54F1-43C5-A4ED-A2C467859D96}" dt="2025-07-22T15:23:39.849" v="677" actId="20577"/>
          <ac:spMkLst>
            <pc:docMk/>
            <pc:sldMk cId="537995670" sldId="2147471731"/>
            <ac:spMk id="3328002" creationId="{00000000-0000-0000-0000-000000000000}"/>
          </ac:spMkLst>
        </pc:spChg>
      </pc:sldChg>
      <pc:sldChg chg="modSp add mod">
        <pc:chgData name="John Paserba" userId="77bd6c8a-d0c1-4fea-8705-0169f65d0c0e" providerId="ADAL" clId="{9C21DD65-54F1-43C5-A4ED-A2C467859D96}" dt="2025-07-22T15:28:28.333" v="732" actId="20577"/>
        <pc:sldMkLst>
          <pc:docMk/>
          <pc:sldMk cId="298226682" sldId="2147471732"/>
        </pc:sldMkLst>
        <pc:spChg chg="mod">
          <ac:chgData name="John Paserba" userId="77bd6c8a-d0c1-4fea-8705-0169f65d0c0e" providerId="ADAL" clId="{9C21DD65-54F1-43C5-A4ED-A2C467859D96}" dt="2025-07-22T15:28:28.333" v="732" actId="20577"/>
          <ac:spMkLst>
            <pc:docMk/>
            <pc:sldMk cId="298226682" sldId="2147471732"/>
            <ac:spMk id="8" creationId="{5457FD50-7311-4F30-991F-CBF3C051F025}"/>
          </ac:spMkLst>
        </pc:spChg>
      </pc:sldChg>
      <pc:sldChg chg="addSp delSp modSp add mod">
        <pc:chgData name="John Paserba" userId="77bd6c8a-d0c1-4fea-8705-0169f65d0c0e" providerId="ADAL" clId="{9C21DD65-54F1-43C5-A4ED-A2C467859D96}" dt="2025-07-22T15:36:24.615" v="807" actId="113"/>
        <pc:sldMkLst>
          <pc:docMk/>
          <pc:sldMk cId="3516601115" sldId="2147471751"/>
        </pc:sldMkLst>
        <pc:spChg chg="mod">
          <ac:chgData name="John Paserba" userId="77bd6c8a-d0c1-4fea-8705-0169f65d0c0e" providerId="ADAL" clId="{9C21DD65-54F1-43C5-A4ED-A2C467859D96}" dt="2025-07-22T15:36:24.615" v="807" actId="113"/>
          <ac:spMkLst>
            <pc:docMk/>
            <pc:sldMk cId="3516601115" sldId="2147471751"/>
            <ac:spMk id="6" creationId="{F117943F-2C43-4B58-BC02-C98BEDCFD1D2}"/>
          </ac:spMkLst>
        </pc:spChg>
        <pc:spChg chg="add del mod">
          <ac:chgData name="John Paserba" userId="77bd6c8a-d0c1-4fea-8705-0169f65d0c0e" providerId="ADAL" clId="{9C21DD65-54F1-43C5-A4ED-A2C467859D96}" dt="2025-07-22T15:35:43.594" v="804" actId="478"/>
          <ac:spMkLst>
            <pc:docMk/>
            <pc:sldMk cId="3516601115" sldId="2147471751"/>
            <ac:spMk id="9" creationId="{657F260A-8CF8-43E8-938C-4446AF7B4268}"/>
          </ac:spMkLst>
        </pc:spChg>
        <pc:spChg chg="mod">
          <ac:chgData name="John Paserba" userId="77bd6c8a-d0c1-4fea-8705-0169f65d0c0e" providerId="ADAL" clId="{9C21DD65-54F1-43C5-A4ED-A2C467859D96}" dt="2025-07-22T15:31:11.800" v="739" actId="207"/>
          <ac:spMkLst>
            <pc:docMk/>
            <pc:sldMk cId="3516601115" sldId="2147471751"/>
            <ac:spMk id="10" creationId="{3D4445B0-36E0-4699-983C-365D039DEF77}"/>
          </ac:spMkLst>
        </pc:spChg>
        <pc:spChg chg="mod">
          <ac:chgData name="John Paserba" userId="77bd6c8a-d0c1-4fea-8705-0169f65d0c0e" providerId="ADAL" clId="{9C21DD65-54F1-43C5-A4ED-A2C467859D96}" dt="2025-07-22T15:36:03.667" v="805"/>
          <ac:spMkLst>
            <pc:docMk/>
            <pc:sldMk cId="3516601115" sldId="2147471751"/>
            <ac:spMk id="12" creationId="{56BA6B30-E078-40B3-AFFC-12BB86E64A3E}"/>
          </ac:spMkLst>
        </pc:spChg>
        <pc:spChg chg="mod">
          <ac:chgData name="John Paserba" userId="77bd6c8a-d0c1-4fea-8705-0169f65d0c0e" providerId="ADAL" clId="{9C21DD65-54F1-43C5-A4ED-A2C467859D96}" dt="2025-07-22T15:36:03.667" v="805"/>
          <ac:spMkLst>
            <pc:docMk/>
            <pc:sldMk cId="3516601115" sldId="2147471751"/>
            <ac:spMk id="15" creationId="{06D63511-9A34-4407-A4C1-9A5A44C4768D}"/>
          </ac:spMkLst>
        </pc:spChg>
        <pc:grpChg chg="add mod">
          <ac:chgData name="John Paserba" userId="77bd6c8a-d0c1-4fea-8705-0169f65d0c0e" providerId="ADAL" clId="{9C21DD65-54F1-43C5-A4ED-A2C467859D96}" dt="2025-07-22T15:36:03.667" v="805"/>
          <ac:grpSpMkLst>
            <pc:docMk/>
            <pc:sldMk cId="3516601115" sldId="2147471751"/>
            <ac:grpSpMk id="11" creationId="{91CAC99B-C8AF-4A87-870C-3347696A96DB}"/>
          </ac:grpSpMkLst>
        </pc:grpChg>
        <pc:grpChg chg="add mod">
          <ac:chgData name="John Paserba" userId="77bd6c8a-d0c1-4fea-8705-0169f65d0c0e" providerId="ADAL" clId="{9C21DD65-54F1-43C5-A4ED-A2C467859D96}" dt="2025-07-22T15:36:03.667" v="805"/>
          <ac:grpSpMkLst>
            <pc:docMk/>
            <pc:sldMk cId="3516601115" sldId="2147471751"/>
            <ac:grpSpMk id="14" creationId="{1C9D408F-6B69-4BBC-B37A-FB498D0470F5}"/>
          </ac:grpSpMkLst>
        </pc:grpChg>
        <pc:picChg chg="mod">
          <ac:chgData name="John Paserba" userId="77bd6c8a-d0c1-4fea-8705-0169f65d0c0e" providerId="ADAL" clId="{9C21DD65-54F1-43C5-A4ED-A2C467859D96}" dt="2025-07-22T15:36:03.667" v="805"/>
          <ac:picMkLst>
            <pc:docMk/>
            <pc:sldMk cId="3516601115" sldId="2147471751"/>
            <ac:picMk id="13" creationId="{DDECE270-F2F2-4BC0-829D-6E1C6F3D94F4}"/>
          </ac:picMkLst>
        </pc:picChg>
        <pc:picChg chg="mod">
          <ac:chgData name="John Paserba" userId="77bd6c8a-d0c1-4fea-8705-0169f65d0c0e" providerId="ADAL" clId="{9C21DD65-54F1-43C5-A4ED-A2C467859D96}" dt="2025-07-22T15:36:03.667" v="805"/>
          <ac:picMkLst>
            <pc:docMk/>
            <pc:sldMk cId="3516601115" sldId="2147471751"/>
            <ac:picMk id="16" creationId="{4E130AA3-C7D9-4174-A82F-D7D90DC9AB8B}"/>
          </ac:picMkLst>
        </pc:picChg>
      </pc:sldChg>
      <pc:sldChg chg="modSp add mod">
        <pc:chgData name="John Paserba" userId="77bd6c8a-d0c1-4fea-8705-0169f65d0c0e" providerId="ADAL" clId="{9C21DD65-54F1-43C5-A4ED-A2C467859D96}" dt="2025-07-22T15:38:21.326" v="860" actId="12"/>
        <pc:sldMkLst>
          <pc:docMk/>
          <pc:sldMk cId="2442186582" sldId="2147471752"/>
        </pc:sldMkLst>
        <pc:spChg chg="mod">
          <ac:chgData name="John Paserba" userId="77bd6c8a-d0c1-4fea-8705-0169f65d0c0e" providerId="ADAL" clId="{9C21DD65-54F1-43C5-A4ED-A2C467859D96}" dt="2025-07-22T15:38:21.326" v="860" actId="12"/>
          <ac:spMkLst>
            <pc:docMk/>
            <pc:sldMk cId="2442186582" sldId="2147471752"/>
            <ac:spMk id="3" creationId="{BADC9F2B-1B6A-4055-9D15-C2281461D8F1}"/>
          </ac:spMkLst>
        </pc:spChg>
      </pc:sldChg>
      <pc:sldChg chg="modSp add mod">
        <pc:chgData name="John Paserba" userId="77bd6c8a-d0c1-4fea-8705-0169f65d0c0e" providerId="ADAL" clId="{9C21DD65-54F1-43C5-A4ED-A2C467859D96}" dt="2025-07-22T15:40:37.132" v="876" actId="1076"/>
        <pc:sldMkLst>
          <pc:docMk/>
          <pc:sldMk cId="3289688329" sldId="2147471753"/>
        </pc:sldMkLst>
        <pc:spChg chg="mod">
          <ac:chgData name="John Paserba" userId="77bd6c8a-d0c1-4fea-8705-0169f65d0c0e" providerId="ADAL" clId="{9C21DD65-54F1-43C5-A4ED-A2C467859D96}" dt="2025-07-22T15:40:37.132" v="876" actId="1076"/>
          <ac:spMkLst>
            <pc:docMk/>
            <pc:sldMk cId="3289688329" sldId="2147471753"/>
            <ac:spMk id="3" creationId="{BADC9F2B-1B6A-4055-9D15-C2281461D8F1}"/>
          </ac:spMkLst>
        </pc:spChg>
        <pc:picChg chg="mod">
          <ac:chgData name="John Paserba" userId="77bd6c8a-d0c1-4fea-8705-0169f65d0c0e" providerId="ADAL" clId="{9C21DD65-54F1-43C5-A4ED-A2C467859D96}" dt="2025-07-22T15:40:13.557" v="871" actId="14100"/>
          <ac:picMkLst>
            <pc:docMk/>
            <pc:sldMk cId="3289688329" sldId="2147471753"/>
            <ac:picMk id="6" creationId="{19300C71-4142-436A-8961-4235B6F9CFF9}"/>
          </ac:picMkLst>
        </pc:picChg>
        <pc:picChg chg="mod">
          <ac:chgData name="John Paserba" userId="77bd6c8a-d0c1-4fea-8705-0169f65d0c0e" providerId="ADAL" clId="{9C21DD65-54F1-43C5-A4ED-A2C467859D96}" dt="2025-07-22T15:40:20.758" v="872" actId="14100"/>
          <ac:picMkLst>
            <pc:docMk/>
            <pc:sldMk cId="3289688329" sldId="2147471753"/>
            <ac:picMk id="11" creationId="{974EEB8C-0820-4B1C-A2AF-E20751C8D631}"/>
          </ac:picMkLst>
        </pc:picChg>
      </pc:sldChg>
      <pc:sldChg chg="addSp modSp add mod">
        <pc:chgData name="John Paserba" userId="77bd6c8a-d0c1-4fea-8705-0169f65d0c0e" providerId="ADAL" clId="{9C21DD65-54F1-43C5-A4ED-A2C467859D96}" dt="2025-07-22T15:42:00.230" v="885"/>
        <pc:sldMkLst>
          <pc:docMk/>
          <pc:sldMk cId="2489516657" sldId="2147471754"/>
        </pc:sldMkLst>
        <pc:spChg chg="mod">
          <ac:chgData name="John Paserba" userId="77bd6c8a-d0c1-4fea-8705-0169f65d0c0e" providerId="ADAL" clId="{9C21DD65-54F1-43C5-A4ED-A2C467859D96}" dt="2025-07-22T15:42:00.230" v="885"/>
          <ac:spMkLst>
            <pc:docMk/>
            <pc:sldMk cId="2489516657" sldId="2147471754"/>
            <ac:spMk id="7" creationId="{8572313C-1417-4500-9334-7903DD01FF53}"/>
          </ac:spMkLst>
        </pc:spChg>
        <pc:spChg chg="mod">
          <ac:chgData name="John Paserba" userId="77bd6c8a-d0c1-4fea-8705-0169f65d0c0e" providerId="ADAL" clId="{9C21DD65-54F1-43C5-A4ED-A2C467859D96}" dt="2025-07-22T15:41:01.283" v="881" actId="207"/>
          <ac:spMkLst>
            <pc:docMk/>
            <pc:sldMk cId="2489516657" sldId="2147471754"/>
            <ac:spMk id="10" creationId="{3D4445B0-36E0-4699-983C-365D039DEF77}"/>
          </ac:spMkLst>
        </pc:spChg>
        <pc:spChg chg="mod">
          <ac:chgData name="John Paserba" userId="77bd6c8a-d0c1-4fea-8705-0169f65d0c0e" providerId="ADAL" clId="{9C21DD65-54F1-43C5-A4ED-A2C467859D96}" dt="2025-07-22T15:42:00.230" v="885"/>
          <ac:spMkLst>
            <pc:docMk/>
            <pc:sldMk cId="2489516657" sldId="2147471754"/>
            <ac:spMk id="11" creationId="{893C6C16-035C-495B-96A9-B681CABE6626}"/>
          </ac:spMkLst>
        </pc:spChg>
        <pc:grpChg chg="add mod">
          <ac:chgData name="John Paserba" userId="77bd6c8a-d0c1-4fea-8705-0169f65d0c0e" providerId="ADAL" clId="{9C21DD65-54F1-43C5-A4ED-A2C467859D96}" dt="2025-07-22T15:42:00.230" v="885"/>
          <ac:grpSpMkLst>
            <pc:docMk/>
            <pc:sldMk cId="2489516657" sldId="2147471754"/>
            <ac:grpSpMk id="6" creationId="{BC2149A6-2DCD-4BC3-980A-8B65F8FD324F}"/>
          </ac:grpSpMkLst>
        </pc:grpChg>
        <pc:grpChg chg="add mod">
          <ac:chgData name="John Paserba" userId="77bd6c8a-d0c1-4fea-8705-0169f65d0c0e" providerId="ADAL" clId="{9C21DD65-54F1-43C5-A4ED-A2C467859D96}" dt="2025-07-22T15:42:00.230" v="885"/>
          <ac:grpSpMkLst>
            <pc:docMk/>
            <pc:sldMk cId="2489516657" sldId="2147471754"/>
            <ac:grpSpMk id="9" creationId="{5918E3DF-C9CF-4F49-BB33-A6D27A497B43}"/>
          </ac:grpSpMkLst>
        </pc:grpChg>
        <pc:picChg chg="mod">
          <ac:chgData name="John Paserba" userId="77bd6c8a-d0c1-4fea-8705-0169f65d0c0e" providerId="ADAL" clId="{9C21DD65-54F1-43C5-A4ED-A2C467859D96}" dt="2025-07-22T15:42:00.230" v="885"/>
          <ac:picMkLst>
            <pc:docMk/>
            <pc:sldMk cId="2489516657" sldId="2147471754"/>
            <ac:picMk id="8" creationId="{25A821A1-767B-46E9-8C5B-F05175B22295}"/>
          </ac:picMkLst>
        </pc:picChg>
        <pc:picChg chg="mod">
          <ac:chgData name="John Paserba" userId="77bd6c8a-d0c1-4fea-8705-0169f65d0c0e" providerId="ADAL" clId="{9C21DD65-54F1-43C5-A4ED-A2C467859D96}" dt="2025-07-22T15:42:00.230" v="885"/>
          <ac:picMkLst>
            <pc:docMk/>
            <pc:sldMk cId="2489516657" sldId="2147471754"/>
            <ac:picMk id="12" creationId="{8F40D867-92B7-47DE-8EE6-944B2D3CAD1E}"/>
          </ac:picMkLst>
        </pc:picChg>
      </pc:sldChg>
      <pc:sldChg chg="addSp modSp add mod">
        <pc:chgData name="John Paserba" userId="77bd6c8a-d0c1-4fea-8705-0169f65d0c0e" providerId="ADAL" clId="{9C21DD65-54F1-43C5-A4ED-A2C467859D96}" dt="2025-07-22T15:43:49.799" v="899" actId="20577"/>
        <pc:sldMkLst>
          <pc:docMk/>
          <pc:sldMk cId="3576317580" sldId="2147471755"/>
        </pc:sldMkLst>
        <pc:spChg chg="mod">
          <ac:chgData name="John Paserba" userId="77bd6c8a-d0c1-4fea-8705-0169f65d0c0e" providerId="ADAL" clId="{9C21DD65-54F1-43C5-A4ED-A2C467859D96}" dt="2025-07-22T15:42:04.448" v="886"/>
          <ac:spMkLst>
            <pc:docMk/>
            <pc:sldMk cId="3576317580" sldId="2147471755"/>
            <ac:spMk id="9" creationId="{F44712DE-10FF-4C89-8F82-B15BF2841215}"/>
          </ac:spMkLst>
        </pc:spChg>
        <pc:spChg chg="mod">
          <ac:chgData name="John Paserba" userId="77bd6c8a-d0c1-4fea-8705-0169f65d0c0e" providerId="ADAL" clId="{9C21DD65-54F1-43C5-A4ED-A2C467859D96}" dt="2025-07-22T15:43:49.799" v="899" actId="20577"/>
          <ac:spMkLst>
            <pc:docMk/>
            <pc:sldMk cId="3576317580" sldId="2147471755"/>
            <ac:spMk id="10" creationId="{3D4445B0-36E0-4699-983C-365D039DEF77}"/>
          </ac:spMkLst>
        </pc:spChg>
        <pc:spChg chg="mod">
          <ac:chgData name="John Paserba" userId="77bd6c8a-d0c1-4fea-8705-0169f65d0c0e" providerId="ADAL" clId="{9C21DD65-54F1-43C5-A4ED-A2C467859D96}" dt="2025-07-22T15:42:04.448" v="886"/>
          <ac:spMkLst>
            <pc:docMk/>
            <pc:sldMk cId="3576317580" sldId="2147471755"/>
            <ac:spMk id="15" creationId="{01637913-4ED0-4ECD-B04C-0647A7C7CFF9}"/>
          </ac:spMkLst>
        </pc:spChg>
        <pc:grpChg chg="add mod">
          <ac:chgData name="John Paserba" userId="77bd6c8a-d0c1-4fea-8705-0169f65d0c0e" providerId="ADAL" clId="{9C21DD65-54F1-43C5-A4ED-A2C467859D96}" dt="2025-07-22T15:42:04.448" v="886"/>
          <ac:grpSpMkLst>
            <pc:docMk/>
            <pc:sldMk cId="3576317580" sldId="2147471755"/>
            <ac:grpSpMk id="8" creationId="{DACEA94C-F9B9-40A2-A834-9AFD6B8DC9BF}"/>
          </ac:grpSpMkLst>
        </pc:grpChg>
        <pc:grpChg chg="add mod">
          <ac:chgData name="John Paserba" userId="77bd6c8a-d0c1-4fea-8705-0169f65d0c0e" providerId="ADAL" clId="{9C21DD65-54F1-43C5-A4ED-A2C467859D96}" dt="2025-07-22T15:42:04.448" v="886"/>
          <ac:grpSpMkLst>
            <pc:docMk/>
            <pc:sldMk cId="3576317580" sldId="2147471755"/>
            <ac:grpSpMk id="14" creationId="{54F3F574-1D0C-41E7-8392-CDFF90ED8634}"/>
          </ac:grpSpMkLst>
        </pc:grpChg>
        <pc:picChg chg="mod">
          <ac:chgData name="John Paserba" userId="77bd6c8a-d0c1-4fea-8705-0169f65d0c0e" providerId="ADAL" clId="{9C21DD65-54F1-43C5-A4ED-A2C467859D96}" dt="2025-07-22T15:42:22.999" v="888" actId="1076"/>
          <ac:picMkLst>
            <pc:docMk/>
            <pc:sldMk cId="3576317580" sldId="2147471755"/>
            <ac:picMk id="3" creationId="{8A8AAD68-AE05-4DE3-B735-30DECB1339AC}"/>
          </ac:picMkLst>
        </pc:picChg>
        <pc:picChg chg="mod">
          <ac:chgData name="John Paserba" userId="77bd6c8a-d0c1-4fea-8705-0169f65d0c0e" providerId="ADAL" clId="{9C21DD65-54F1-43C5-A4ED-A2C467859D96}" dt="2025-07-22T15:41:31.149" v="884" actId="1076"/>
          <ac:picMkLst>
            <pc:docMk/>
            <pc:sldMk cId="3576317580" sldId="2147471755"/>
            <ac:picMk id="12" creationId="{4493D8B0-146D-4F0E-A6CA-0E01CC8851EA}"/>
          </ac:picMkLst>
        </pc:picChg>
        <pc:picChg chg="mod">
          <ac:chgData name="John Paserba" userId="77bd6c8a-d0c1-4fea-8705-0169f65d0c0e" providerId="ADAL" clId="{9C21DD65-54F1-43C5-A4ED-A2C467859D96}" dt="2025-07-22T15:42:04.448" v="886"/>
          <ac:picMkLst>
            <pc:docMk/>
            <pc:sldMk cId="3576317580" sldId="2147471755"/>
            <ac:picMk id="13" creationId="{FAF66BD1-E951-4104-95D3-CF2D4BF41117}"/>
          </ac:picMkLst>
        </pc:picChg>
        <pc:picChg chg="mod">
          <ac:chgData name="John Paserba" userId="77bd6c8a-d0c1-4fea-8705-0169f65d0c0e" providerId="ADAL" clId="{9C21DD65-54F1-43C5-A4ED-A2C467859D96}" dt="2025-07-22T15:42:04.448" v="886"/>
          <ac:picMkLst>
            <pc:docMk/>
            <pc:sldMk cId="3576317580" sldId="2147471755"/>
            <ac:picMk id="16" creationId="{4FF15283-1B1B-4F7E-B073-E0CC0AD18947}"/>
          </ac:picMkLst>
        </pc:picChg>
      </pc:sldChg>
      <pc:sldChg chg="addSp modSp add mod">
        <pc:chgData name="John Paserba" userId="77bd6c8a-d0c1-4fea-8705-0169f65d0c0e" providerId="ADAL" clId="{9C21DD65-54F1-43C5-A4ED-A2C467859D96}" dt="2025-07-22T17:06:38.317" v="1342" actId="20577"/>
        <pc:sldMkLst>
          <pc:docMk/>
          <pc:sldMk cId="1564990776" sldId="2147471756"/>
        </pc:sldMkLst>
        <pc:spChg chg="mod">
          <ac:chgData name="John Paserba" userId="77bd6c8a-d0c1-4fea-8705-0169f65d0c0e" providerId="ADAL" clId="{9C21DD65-54F1-43C5-A4ED-A2C467859D96}" dt="2025-07-22T17:06:38.317" v="1342" actId="20577"/>
          <ac:spMkLst>
            <pc:docMk/>
            <pc:sldMk cId="1564990776" sldId="2147471756"/>
            <ac:spMk id="10" creationId="{3D4445B0-36E0-4699-983C-365D039DEF77}"/>
          </ac:spMkLst>
        </pc:spChg>
        <pc:spChg chg="mod">
          <ac:chgData name="John Paserba" userId="77bd6c8a-d0c1-4fea-8705-0169f65d0c0e" providerId="ADAL" clId="{9C21DD65-54F1-43C5-A4ED-A2C467859D96}" dt="2025-07-22T15:42:08.740" v="887"/>
          <ac:spMkLst>
            <pc:docMk/>
            <pc:sldMk cId="1564990776" sldId="2147471756"/>
            <ac:spMk id="11" creationId="{BBF7B50C-E242-42C3-AFFC-D181ACD6719A}"/>
          </ac:spMkLst>
        </pc:spChg>
        <pc:spChg chg="mod">
          <ac:chgData name="John Paserba" userId="77bd6c8a-d0c1-4fea-8705-0169f65d0c0e" providerId="ADAL" clId="{9C21DD65-54F1-43C5-A4ED-A2C467859D96}" dt="2025-07-22T15:42:08.740" v="887"/>
          <ac:spMkLst>
            <pc:docMk/>
            <pc:sldMk cId="1564990776" sldId="2147471756"/>
            <ac:spMk id="15" creationId="{1C6C597A-9BD6-410E-A1A9-0A4C0C112072}"/>
          </ac:spMkLst>
        </pc:spChg>
        <pc:grpChg chg="add mod">
          <ac:chgData name="John Paserba" userId="77bd6c8a-d0c1-4fea-8705-0169f65d0c0e" providerId="ADAL" clId="{9C21DD65-54F1-43C5-A4ED-A2C467859D96}" dt="2025-07-22T15:42:08.740" v="887"/>
          <ac:grpSpMkLst>
            <pc:docMk/>
            <pc:sldMk cId="1564990776" sldId="2147471756"/>
            <ac:grpSpMk id="8" creationId="{C6BB404B-4E35-470C-8E1E-72755F3DD2EB}"/>
          </ac:grpSpMkLst>
        </pc:grpChg>
        <pc:grpChg chg="add mod">
          <ac:chgData name="John Paserba" userId="77bd6c8a-d0c1-4fea-8705-0169f65d0c0e" providerId="ADAL" clId="{9C21DD65-54F1-43C5-A4ED-A2C467859D96}" dt="2025-07-22T15:42:08.740" v="887"/>
          <ac:grpSpMkLst>
            <pc:docMk/>
            <pc:sldMk cId="1564990776" sldId="2147471756"/>
            <ac:grpSpMk id="14" creationId="{2DA233B7-BF9C-4771-81B9-576132BF4EDB}"/>
          </ac:grpSpMkLst>
        </pc:grpChg>
        <pc:picChg chg="mod">
          <ac:chgData name="John Paserba" userId="77bd6c8a-d0c1-4fea-8705-0169f65d0c0e" providerId="ADAL" clId="{9C21DD65-54F1-43C5-A4ED-A2C467859D96}" dt="2025-07-22T15:42:08.740" v="887"/>
          <ac:picMkLst>
            <pc:docMk/>
            <pc:sldMk cId="1564990776" sldId="2147471756"/>
            <ac:picMk id="13" creationId="{2CC87F0E-392D-47CF-85AA-8FF6FDA9133B}"/>
          </ac:picMkLst>
        </pc:picChg>
        <pc:picChg chg="mod">
          <ac:chgData name="John Paserba" userId="77bd6c8a-d0c1-4fea-8705-0169f65d0c0e" providerId="ADAL" clId="{9C21DD65-54F1-43C5-A4ED-A2C467859D96}" dt="2025-07-22T15:42:08.740" v="887"/>
          <ac:picMkLst>
            <pc:docMk/>
            <pc:sldMk cId="1564990776" sldId="2147471756"/>
            <ac:picMk id="16" creationId="{56287A90-5215-4429-A110-2A28B813FB42}"/>
          </ac:picMkLst>
        </pc:picChg>
      </pc:sldChg>
      <pc:sldChg chg="add">
        <pc:chgData name="John Paserba" userId="77bd6c8a-d0c1-4fea-8705-0169f65d0c0e" providerId="ADAL" clId="{9C21DD65-54F1-43C5-A4ED-A2C467859D96}" dt="2025-07-22T15:26:10.199" v="699"/>
        <pc:sldMkLst>
          <pc:docMk/>
          <pc:sldMk cId="3082573837" sldId="2147471757"/>
        </pc:sldMkLst>
      </pc:sldChg>
      <pc:sldChg chg="modSp add mod">
        <pc:chgData name="John Paserba" userId="77bd6c8a-d0c1-4fea-8705-0169f65d0c0e" providerId="ADAL" clId="{9C21DD65-54F1-43C5-A4ED-A2C467859D96}" dt="2025-07-22T15:51:52.195" v="949" actId="20577"/>
        <pc:sldMkLst>
          <pc:docMk/>
          <pc:sldMk cId="3375477870" sldId="2147471758"/>
        </pc:sldMkLst>
        <pc:spChg chg="mod">
          <ac:chgData name="John Paserba" userId="77bd6c8a-d0c1-4fea-8705-0169f65d0c0e" providerId="ADAL" clId="{9C21DD65-54F1-43C5-A4ED-A2C467859D96}" dt="2025-07-22T15:51:52.195" v="949" actId="20577"/>
          <ac:spMkLst>
            <pc:docMk/>
            <pc:sldMk cId="3375477870" sldId="2147471758"/>
            <ac:spMk id="9" creationId="{BAAF9788-3882-7FD4-A043-13E164D06B60}"/>
          </ac:spMkLst>
        </pc:spChg>
        <pc:spChg chg="mod">
          <ac:chgData name="John Paserba" userId="77bd6c8a-d0c1-4fea-8705-0169f65d0c0e" providerId="ADAL" clId="{9C21DD65-54F1-43C5-A4ED-A2C467859D96}" dt="2025-07-22T15:51:34.149" v="943" actId="20577"/>
          <ac:spMkLst>
            <pc:docMk/>
            <pc:sldMk cId="3375477870" sldId="2147471758"/>
            <ac:spMk id="3328002" creationId="{00000000-0000-0000-0000-000000000000}"/>
          </ac:spMkLst>
        </pc:spChg>
        <pc:grpChg chg="mod">
          <ac:chgData name="John Paserba" userId="77bd6c8a-d0c1-4fea-8705-0169f65d0c0e" providerId="ADAL" clId="{9C21DD65-54F1-43C5-A4ED-A2C467859D96}" dt="2025-07-22T15:51:18.286" v="935" actId="167"/>
          <ac:grpSpMkLst>
            <pc:docMk/>
            <pc:sldMk cId="3375477870" sldId="2147471758"/>
            <ac:grpSpMk id="6" creationId="{D7EC4300-D3E7-4809-851E-1825F43A111E}"/>
          </ac:grpSpMkLst>
        </pc:grpChg>
      </pc:sldChg>
      <pc:sldChg chg="modSp add mod">
        <pc:chgData name="John Paserba" userId="77bd6c8a-d0c1-4fea-8705-0169f65d0c0e" providerId="ADAL" clId="{9C21DD65-54F1-43C5-A4ED-A2C467859D96}" dt="2025-07-22T15:52:33.697" v="953" actId="20577"/>
        <pc:sldMkLst>
          <pc:docMk/>
          <pc:sldMk cId="2478508329" sldId="2147471759"/>
        </pc:sldMkLst>
        <pc:spChg chg="mod">
          <ac:chgData name="John Paserba" userId="77bd6c8a-d0c1-4fea-8705-0169f65d0c0e" providerId="ADAL" clId="{9C21DD65-54F1-43C5-A4ED-A2C467859D96}" dt="2025-07-22T15:52:33.697" v="953" actId="20577"/>
          <ac:spMkLst>
            <pc:docMk/>
            <pc:sldMk cId="2478508329" sldId="2147471759"/>
            <ac:spMk id="9" creationId="{BAAF9788-3882-7FD4-A043-13E164D06B60}"/>
          </ac:spMkLst>
        </pc:spChg>
      </pc:sldChg>
      <pc:sldChg chg="modSp add mod">
        <pc:chgData name="John Paserba" userId="77bd6c8a-d0c1-4fea-8705-0169f65d0c0e" providerId="ADAL" clId="{9C21DD65-54F1-43C5-A4ED-A2C467859D96}" dt="2025-07-22T15:53:37.735" v="962" actId="255"/>
        <pc:sldMkLst>
          <pc:docMk/>
          <pc:sldMk cId="3146776872" sldId="2147471760"/>
        </pc:sldMkLst>
        <pc:spChg chg="mod">
          <ac:chgData name="John Paserba" userId="77bd6c8a-d0c1-4fea-8705-0169f65d0c0e" providerId="ADAL" clId="{9C21DD65-54F1-43C5-A4ED-A2C467859D96}" dt="2025-07-22T15:53:37.735" v="962" actId="255"/>
          <ac:spMkLst>
            <pc:docMk/>
            <pc:sldMk cId="3146776872" sldId="2147471760"/>
            <ac:spMk id="9" creationId="{BAAF9788-3882-7FD4-A043-13E164D06B60}"/>
          </ac:spMkLst>
        </pc:spChg>
      </pc:sldChg>
      <pc:sldChg chg="modSp add mod">
        <pc:chgData name="John Paserba" userId="77bd6c8a-d0c1-4fea-8705-0169f65d0c0e" providerId="ADAL" clId="{9C21DD65-54F1-43C5-A4ED-A2C467859D96}" dt="2025-07-22T17:10:39.534" v="1473" actId="1076"/>
        <pc:sldMkLst>
          <pc:docMk/>
          <pc:sldMk cId="1605903753" sldId="2147471761"/>
        </pc:sldMkLst>
        <pc:spChg chg="mod">
          <ac:chgData name="John Paserba" userId="77bd6c8a-d0c1-4fea-8705-0169f65d0c0e" providerId="ADAL" clId="{9C21DD65-54F1-43C5-A4ED-A2C467859D96}" dt="2025-07-22T17:10:39.534" v="1473" actId="1076"/>
          <ac:spMkLst>
            <pc:docMk/>
            <pc:sldMk cId="1605903753" sldId="2147471761"/>
            <ac:spMk id="20" creationId="{E69A118B-98A6-4479-8C30-F899FA348193}"/>
          </ac:spMkLst>
        </pc:spChg>
        <pc:picChg chg="mod">
          <ac:chgData name="John Paserba" userId="77bd6c8a-d0c1-4fea-8705-0169f65d0c0e" providerId="ADAL" clId="{9C21DD65-54F1-43C5-A4ED-A2C467859D96}" dt="2025-07-22T17:10:35.377" v="1472" actId="1036"/>
          <ac:picMkLst>
            <pc:docMk/>
            <pc:sldMk cId="1605903753" sldId="2147471761"/>
            <ac:picMk id="8" creationId="{8CEF6608-A251-03A9-0DC3-02DCD6E0D7A5}"/>
          </ac:picMkLst>
        </pc:picChg>
        <pc:picChg chg="mod">
          <ac:chgData name="John Paserba" userId="77bd6c8a-d0c1-4fea-8705-0169f65d0c0e" providerId="ADAL" clId="{9C21DD65-54F1-43C5-A4ED-A2C467859D96}" dt="2025-07-22T17:10:35.377" v="1472" actId="1036"/>
          <ac:picMkLst>
            <pc:docMk/>
            <pc:sldMk cId="1605903753" sldId="2147471761"/>
            <ac:picMk id="10" creationId="{D26ACB6E-2F68-AAF1-6207-A4C27199B1FF}"/>
          </ac:picMkLst>
        </pc:picChg>
        <pc:picChg chg="mod">
          <ac:chgData name="John Paserba" userId="77bd6c8a-d0c1-4fea-8705-0169f65d0c0e" providerId="ADAL" clId="{9C21DD65-54F1-43C5-A4ED-A2C467859D96}" dt="2025-07-22T17:10:35.377" v="1472" actId="1036"/>
          <ac:picMkLst>
            <pc:docMk/>
            <pc:sldMk cId="1605903753" sldId="2147471761"/>
            <ac:picMk id="12" creationId="{F0EECBFC-8D64-B805-29AA-CDEE81C73BDA}"/>
          </ac:picMkLst>
        </pc:picChg>
      </pc:sldChg>
      <pc:sldChg chg="add del">
        <pc:chgData name="John Paserba" userId="77bd6c8a-d0c1-4fea-8705-0169f65d0c0e" providerId="ADAL" clId="{9C21DD65-54F1-43C5-A4ED-A2C467859D96}" dt="2025-07-22T15:55:32.364" v="967" actId="47"/>
        <pc:sldMkLst>
          <pc:docMk/>
          <pc:sldMk cId="1617528292" sldId="2147471761"/>
        </pc:sldMkLst>
      </pc:sldChg>
      <pc:sldChg chg="add">
        <pc:chgData name="John Paserba" userId="77bd6c8a-d0c1-4fea-8705-0169f65d0c0e" providerId="ADAL" clId="{9C21DD65-54F1-43C5-A4ED-A2C467859D96}" dt="2025-07-22T15:55:26.663" v="966"/>
        <pc:sldMkLst>
          <pc:docMk/>
          <pc:sldMk cId="2029220160" sldId="2147471762"/>
        </pc:sldMkLst>
      </pc:sldChg>
      <pc:sldChg chg="modSp add mod">
        <pc:chgData name="John Paserba" userId="77bd6c8a-d0c1-4fea-8705-0169f65d0c0e" providerId="ADAL" clId="{9C21DD65-54F1-43C5-A4ED-A2C467859D96}" dt="2025-07-22T16:05:01.914" v="1040" actId="255"/>
        <pc:sldMkLst>
          <pc:docMk/>
          <pc:sldMk cId="2388534960" sldId="2147471763"/>
        </pc:sldMkLst>
        <pc:spChg chg="mod">
          <ac:chgData name="John Paserba" userId="77bd6c8a-d0c1-4fea-8705-0169f65d0c0e" providerId="ADAL" clId="{9C21DD65-54F1-43C5-A4ED-A2C467859D96}" dt="2025-07-22T16:05:01.914" v="1040" actId="255"/>
          <ac:spMkLst>
            <pc:docMk/>
            <pc:sldMk cId="2388534960" sldId="2147471763"/>
            <ac:spMk id="5" creationId="{6F20F5EE-239B-245C-C76E-33E3340BDF30}"/>
          </ac:spMkLst>
        </pc:spChg>
        <pc:graphicFrameChg chg="modGraphic">
          <ac:chgData name="John Paserba" userId="77bd6c8a-d0c1-4fea-8705-0169f65d0c0e" providerId="ADAL" clId="{9C21DD65-54F1-43C5-A4ED-A2C467859D96}" dt="2025-07-22T16:04:28.713" v="1036" actId="20577"/>
          <ac:graphicFrameMkLst>
            <pc:docMk/>
            <pc:sldMk cId="2388534960" sldId="2147471763"/>
            <ac:graphicFrameMk id="6" creationId="{C54996C0-37B9-4A76-B13F-EDD670723D1C}"/>
          </ac:graphicFrameMkLst>
        </pc:graphicFrameChg>
      </pc:sldChg>
      <pc:sldChg chg="modSp add mod">
        <pc:chgData name="John Paserba" userId="77bd6c8a-d0c1-4fea-8705-0169f65d0c0e" providerId="ADAL" clId="{9C21DD65-54F1-43C5-A4ED-A2C467859D96}" dt="2025-07-22T16:06:44.670" v="1059" actId="948"/>
        <pc:sldMkLst>
          <pc:docMk/>
          <pc:sldMk cId="1231416302" sldId="2147471764"/>
        </pc:sldMkLst>
        <pc:spChg chg="mod">
          <ac:chgData name="John Paserba" userId="77bd6c8a-d0c1-4fea-8705-0169f65d0c0e" providerId="ADAL" clId="{9C21DD65-54F1-43C5-A4ED-A2C467859D96}" dt="2025-07-22T16:05:35.282" v="1053" actId="1036"/>
          <ac:spMkLst>
            <pc:docMk/>
            <pc:sldMk cId="1231416302" sldId="2147471764"/>
            <ac:spMk id="3" creationId="{05584248-AD94-4B96-8B08-076121515B4B}"/>
          </ac:spMkLst>
        </pc:spChg>
        <pc:spChg chg="mod">
          <ac:chgData name="John Paserba" userId="77bd6c8a-d0c1-4fea-8705-0169f65d0c0e" providerId="ADAL" clId="{9C21DD65-54F1-43C5-A4ED-A2C467859D96}" dt="2025-07-22T16:06:44.670" v="1059" actId="948"/>
          <ac:spMkLst>
            <pc:docMk/>
            <pc:sldMk cId="1231416302" sldId="2147471764"/>
            <ac:spMk id="5" creationId="{6F20F5EE-239B-245C-C76E-33E3340BDF30}"/>
          </ac:spMkLst>
        </pc:spChg>
      </pc:sldChg>
      <pc:sldChg chg="modSp add mod">
        <pc:chgData name="John Paserba" userId="77bd6c8a-d0c1-4fea-8705-0169f65d0c0e" providerId="ADAL" clId="{9C21DD65-54F1-43C5-A4ED-A2C467859D96}" dt="2025-07-22T16:07:31.667" v="1061" actId="14100"/>
        <pc:sldMkLst>
          <pc:docMk/>
          <pc:sldMk cId="3736893981" sldId="2147471765"/>
        </pc:sldMkLst>
        <pc:spChg chg="mod">
          <ac:chgData name="John Paserba" userId="77bd6c8a-d0c1-4fea-8705-0169f65d0c0e" providerId="ADAL" clId="{9C21DD65-54F1-43C5-A4ED-A2C467859D96}" dt="2025-07-22T16:07:31.667" v="1061" actId="14100"/>
          <ac:spMkLst>
            <pc:docMk/>
            <pc:sldMk cId="3736893981" sldId="2147471765"/>
            <ac:spMk id="5" creationId="{6F20F5EE-239B-245C-C76E-33E3340BDF30}"/>
          </ac:spMkLst>
        </pc:spChg>
      </pc:sldChg>
      <pc:sldChg chg="modSp add mod">
        <pc:chgData name="John Paserba" userId="77bd6c8a-d0c1-4fea-8705-0169f65d0c0e" providerId="ADAL" clId="{9C21DD65-54F1-43C5-A4ED-A2C467859D96}" dt="2025-07-22T16:24:44.869" v="1233" actId="20577"/>
        <pc:sldMkLst>
          <pc:docMk/>
          <pc:sldMk cId="1684752052" sldId="2147471766"/>
        </pc:sldMkLst>
        <pc:spChg chg="mod">
          <ac:chgData name="John Paserba" userId="77bd6c8a-d0c1-4fea-8705-0169f65d0c0e" providerId="ADAL" clId="{9C21DD65-54F1-43C5-A4ED-A2C467859D96}" dt="2025-07-22T16:24:44.869" v="1233" actId="20577"/>
          <ac:spMkLst>
            <pc:docMk/>
            <pc:sldMk cId="1684752052" sldId="2147471766"/>
            <ac:spMk id="3" creationId="{9BB3A6FF-30B2-203D-1768-D98264FC3A7C}"/>
          </ac:spMkLst>
        </pc:spChg>
      </pc:sldChg>
      <pc:sldChg chg="addSp delSp modSp mod">
        <pc:chgData name="John Paserba" userId="77bd6c8a-d0c1-4fea-8705-0169f65d0c0e" providerId="ADAL" clId="{9C21DD65-54F1-43C5-A4ED-A2C467859D96}" dt="2025-07-22T16:28:15.817" v="1277"/>
        <pc:sldMkLst>
          <pc:docMk/>
          <pc:sldMk cId="3859739026" sldId="2147471767"/>
        </pc:sldMkLst>
        <pc:spChg chg="del">
          <ac:chgData name="John Paserba" userId="77bd6c8a-d0c1-4fea-8705-0169f65d0c0e" providerId="ADAL" clId="{9C21DD65-54F1-43C5-A4ED-A2C467859D96}" dt="2025-07-22T16:26:21.143" v="1244" actId="478"/>
          <ac:spMkLst>
            <pc:docMk/>
            <pc:sldMk cId="3859739026" sldId="2147471767"/>
            <ac:spMk id="3" creationId="{9BB3A6FF-30B2-203D-1768-D98264FC3A7C}"/>
          </ac:spMkLst>
        </pc:spChg>
        <pc:spChg chg="add del mod">
          <ac:chgData name="John Paserba" userId="77bd6c8a-d0c1-4fea-8705-0169f65d0c0e" providerId="ADAL" clId="{9C21DD65-54F1-43C5-A4ED-A2C467859D96}" dt="2025-07-22T16:26:23.005" v="1245" actId="478"/>
          <ac:spMkLst>
            <pc:docMk/>
            <pc:sldMk cId="3859739026" sldId="2147471767"/>
            <ac:spMk id="6" creationId="{96D72E4E-8D40-4246-8686-85DA3243B5F8}"/>
          </ac:spMkLst>
        </pc:spChg>
        <pc:spChg chg="add del mod">
          <ac:chgData name="John Paserba" userId="77bd6c8a-d0c1-4fea-8705-0169f65d0c0e" providerId="ADAL" clId="{9C21DD65-54F1-43C5-A4ED-A2C467859D96}" dt="2025-07-22T16:26:27.950" v="1247" actId="478"/>
          <ac:spMkLst>
            <pc:docMk/>
            <pc:sldMk cId="3859739026" sldId="2147471767"/>
            <ac:spMk id="8" creationId="{A84D5338-4AEC-4B6D-B07A-51C9AE5C8851}"/>
          </ac:spMkLst>
        </pc:spChg>
        <pc:spChg chg="add del mod">
          <ac:chgData name="John Paserba" userId="77bd6c8a-d0c1-4fea-8705-0169f65d0c0e" providerId="ADAL" clId="{9C21DD65-54F1-43C5-A4ED-A2C467859D96}" dt="2025-07-22T16:26:38.408" v="1249"/>
          <ac:spMkLst>
            <pc:docMk/>
            <pc:sldMk cId="3859739026" sldId="2147471767"/>
            <ac:spMk id="10" creationId="{19C9A965-443D-4D1E-93CB-93E25440BDD2}"/>
          </ac:spMkLst>
        </pc:spChg>
        <pc:spChg chg="add del mod">
          <ac:chgData name="John Paserba" userId="77bd6c8a-d0c1-4fea-8705-0169f65d0c0e" providerId="ADAL" clId="{9C21DD65-54F1-43C5-A4ED-A2C467859D96}" dt="2025-07-22T16:26:38.408" v="1249"/>
          <ac:spMkLst>
            <pc:docMk/>
            <pc:sldMk cId="3859739026" sldId="2147471767"/>
            <ac:spMk id="11" creationId="{303E7CBB-03F9-4942-AE07-20AD89DEB4B3}"/>
          </ac:spMkLst>
        </pc:spChg>
        <pc:spChg chg="add del mod">
          <ac:chgData name="John Paserba" userId="77bd6c8a-d0c1-4fea-8705-0169f65d0c0e" providerId="ADAL" clId="{9C21DD65-54F1-43C5-A4ED-A2C467859D96}" dt="2025-07-22T16:27:11.777" v="1256" actId="478"/>
          <ac:spMkLst>
            <pc:docMk/>
            <pc:sldMk cId="3859739026" sldId="2147471767"/>
            <ac:spMk id="14" creationId="{5D50FA36-4ACD-480A-A32F-C31FCCD08955}"/>
          </ac:spMkLst>
        </pc:spChg>
        <pc:spChg chg="add mod">
          <ac:chgData name="John Paserba" userId="77bd6c8a-d0c1-4fea-8705-0169f65d0c0e" providerId="ADAL" clId="{9C21DD65-54F1-43C5-A4ED-A2C467859D96}" dt="2025-07-22T16:27:34.858" v="1275" actId="255"/>
          <ac:spMkLst>
            <pc:docMk/>
            <pc:sldMk cId="3859739026" sldId="2147471767"/>
            <ac:spMk id="15" creationId="{6D62F5C6-B1B7-4697-B803-AEAB9E5E5B49}"/>
          </ac:spMkLst>
        </pc:spChg>
        <pc:spChg chg="add del mod">
          <ac:chgData name="John Paserba" userId="77bd6c8a-d0c1-4fea-8705-0169f65d0c0e" providerId="ADAL" clId="{9C21DD65-54F1-43C5-A4ED-A2C467859D96}" dt="2025-07-22T16:27:04.808" v="1254" actId="478"/>
          <ac:spMkLst>
            <pc:docMk/>
            <pc:sldMk cId="3859739026" sldId="2147471767"/>
            <ac:spMk id="17" creationId="{E47FB68E-C48E-48CF-86D8-96221F10CB1C}"/>
          </ac:spMkLst>
        </pc:spChg>
        <pc:spChg chg="add mod">
          <ac:chgData name="John Paserba" userId="77bd6c8a-d0c1-4fea-8705-0169f65d0c0e" providerId="ADAL" clId="{9C21DD65-54F1-43C5-A4ED-A2C467859D96}" dt="2025-07-22T16:28:15.817" v="1277"/>
          <ac:spMkLst>
            <pc:docMk/>
            <pc:sldMk cId="3859739026" sldId="2147471767"/>
            <ac:spMk id="18" creationId="{67245D5B-1329-4BED-8E67-464744183334}"/>
          </ac:spMkLst>
        </pc:spChg>
        <pc:spChg chg="add del mod">
          <ac:chgData name="John Paserba" userId="77bd6c8a-d0c1-4fea-8705-0169f65d0c0e" providerId="ADAL" clId="{9C21DD65-54F1-43C5-A4ED-A2C467859D96}" dt="2025-07-22T16:27:21.681" v="1257" actId="478"/>
          <ac:spMkLst>
            <pc:docMk/>
            <pc:sldMk cId="3859739026" sldId="2147471767"/>
            <ac:spMk id="19" creationId="{F3EDD809-B9BD-41AD-9660-3651298A2C80}"/>
          </ac:spMkLst>
        </pc:spChg>
        <pc:spChg chg="del">
          <ac:chgData name="John Paserba" userId="77bd6c8a-d0c1-4fea-8705-0169f65d0c0e" providerId="ADAL" clId="{9C21DD65-54F1-43C5-A4ED-A2C467859D96}" dt="2025-07-22T16:26:26.050" v="1246" actId="478"/>
          <ac:spMkLst>
            <pc:docMk/>
            <pc:sldMk cId="3859739026" sldId="2147471767"/>
            <ac:spMk id="3328002" creationId="{F486EF74-5A80-AD7A-8CD7-8426A165FABF}"/>
          </ac:spMkLst>
        </pc:spChg>
        <pc:graphicFrameChg chg="add del mod">
          <ac:chgData name="John Paserba" userId="77bd6c8a-d0c1-4fea-8705-0169f65d0c0e" providerId="ADAL" clId="{9C21DD65-54F1-43C5-A4ED-A2C467859D96}" dt="2025-07-22T16:26:38.408" v="1249"/>
          <ac:graphicFrameMkLst>
            <pc:docMk/>
            <pc:sldMk cId="3859739026" sldId="2147471767"/>
            <ac:graphicFrameMk id="12" creationId="{B3237E8F-2D79-45EB-AD80-A9B5E03068FC}"/>
          </ac:graphicFrameMkLst>
        </pc:graphicFrameChg>
        <pc:graphicFrameChg chg="add mod">
          <ac:chgData name="John Paserba" userId="77bd6c8a-d0c1-4fea-8705-0169f65d0c0e" providerId="ADAL" clId="{9C21DD65-54F1-43C5-A4ED-A2C467859D96}" dt="2025-07-22T16:27:39.202" v="1276" actId="1076"/>
          <ac:graphicFrameMkLst>
            <pc:docMk/>
            <pc:sldMk cId="3859739026" sldId="2147471767"/>
            <ac:graphicFrameMk id="16" creationId="{D31FAF4C-2A7D-476C-AD49-64B5287B7715}"/>
          </ac:graphicFrameMkLst>
        </pc:graphicFrameChg>
        <pc:picChg chg="add del">
          <ac:chgData name="John Paserba" userId="77bd6c8a-d0c1-4fea-8705-0169f65d0c0e" providerId="ADAL" clId="{9C21DD65-54F1-43C5-A4ED-A2C467859D96}" dt="2025-07-22T16:26:41.241" v="1251"/>
          <ac:picMkLst>
            <pc:docMk/>
            <pc:sldMk cId="3859739026" sldId="2147471767"/>
            <ac:picMk id="9" creationId="{FB52912C-5F5D-4770-AAF6-6F848485C99E}"/>
          </ac:picMkLst>
        </pc:picChg>
      </pc:sldChg>
      <pc:sldChg chg="addSp modSp add mod">
        <pc:chgData name="John Paserba" userId="77bd6c8a-d0c1-4fea-8705-0169f65d0c0e" providerId="ADAL" clId="{9C21DD65-54F1-43C5-A4ED-A2C467859D96}" dt="2025-07-22T17:09:48.981" v="1455" actId="1076"/>
        <pc:sldMkLst>
          <pc:docMk/>
          <pc:sldMk cId="3348747332" sldId="2147471768"/>
        </pc:sldMkLst>
        <pc:spChg chg="add mod">
          <ac:chgData name="John Paserba" userId="77bd6c8a-d0c1-4fea-8705-0169f65d0c0e" providerId="ADAL" clId="{9C21DD65-54F1-43C5-A4ED-A2C467859D96}" dt="2025-07-22T17:09:48.981" v="1455" actId="1076"/>
          <ac:spMkLst>
            <pc:docMk/>
            <pc:sldMk cId="3348747332" sldId="2147471768"/>
            <ac:spMk id="21" creationId="{63B59D0B-1AEB-4453-9A44-CA37E5DE4508}"/>
          </ac:spMkLst>
        </pc:spChg>
        <pc:spChg chg="mod">
          <ac:chgData name="John Paserba" userId="77bd6c8a-d0c1-4fea-8705-0169f65d0c0e" providerId="ADAL" clId="{9C21DD65-54F1-43C5-A4ED-A2C467859D96}" dt="2025-07-22T17:08:25.535" v="1423" actId="12"/>
          <ac:spMkLst>
            <pc:docMk/>
            <pc:sldMk cId="3348747332" sldId="2147471768"/>
            <ac:spMk id="27" creationId="{48790CF8-9819-40A9-9326-7F423C80CF72}"/>
          </ac:spMkLst>
        </pc:spChg>
        <pc:picChg chg="mod">
          <ac:chgData name="John Paserba" userId="77bd6c8a-d0c1-4fea-8705-0169f65d0c0e" providerId="ADAL" clId="{9C21DD65-54F1-43C5-A4ED-A2C467859D96}" dt="2025-07-22T17:08:16.302" v="1421" actId="1037"/>
          <ac:picMkLst>
            <pc:docMk/>
            <pc:sldMk cId="3348747332" sldId="2147471768"/>
            <ac:picMk id="3" creationId="{FD7FE1E1-3961-24A1-736F-EFF1F1DED14B}"/>
          </ac:picMkLst>
        </pc:picChg>
      </pc:sldChg>
      <pc:sldChg chg="addSp modSp add mod">
        <pc:chgData name="John Paserba" userId="77bd6c8a-d0c1-4fea-8705-0169f65d0c0e" providerId="ADAL" clId="{9C21DD65-54F1-43C5-A4ED-A2C467859D96}" dt="2025-07-22T17:09:51.411" v="1456"/>
        <pc:sldMkLst>
          <pc:docMk/>
          <pc:sldMk cId="1230948448" sldId="2147471769"/>
        </pc:sldMkLst>
        <pc:spChg chg="mod">
          <ac:chgData name="John Paserba" userId="77bd6c8a-d0c1-4fea-8705-0169f65d0c0e" providerId="ADAL" clId="{9C21DD65-54F1-43C5-A4ED-A2C467859D96}" dt="2025-07-22T17:08:35.774" v="1424" actId="14100"/>
          <ac:spMkLst>
            <pc:docMk/>
            <pc:sldMk cId="1230948448" sldId="2147471769"/>
            <ac:spMk id="19" creationId="{5AC7194F-1259-4D5E-8A01-1B004A3BFA78}"/>
          </ac:spMkLst>
        </pc:spChg>
        <pc:spChg chg="add mod">
          <ac:chgData name="John Paserba" userId="77bd6c8a-d0c1-4fea-8705-0169f65d0c0e" providerId="ADAL" clId="{9C21DD65-54F1-43C5-A4ED-A2C467859D96}" dt="2025-07-22T17:09:51.411" v="1456"/>
          <ac:spMkLst>
            <pc:docMk/>
            <pc:sldMk cId="1230948448" sldId="2147471769"/>
            <ac:spMk id="20" creationId="{118EF3F0-2A11-464F-B44D-BACFEBF4CF6C}"/>
          </ac:spMkLst>
        </pc:spChg>
        <pc:spChg chg="mod">
          <ac:chgData name="John Paserba" userId="77bd6c8a-d0c1-4fea-8705-0169f65d0c0e" providerId="ADAL" clId="{9C21DD65-54F1-43C5-A4ED-A2C467859D96}" dt="2025-07-22T17:08:38.189" v="1425" actId="14100"/>
          <ac:spMkLst>
            <pc:docMk/>
            <pc:sldMk cId="1230948448" sldId="2147471769"/>
            <ac:spMk id="21" creationId="{FE4B2705-C7C6-4EE0-9E21-FED3D5C31F03}"/>
          </ac:spMkLst>
        </pc:spChg>
        <pc:spChg chg="mod">
          <ac:chgData name="John Paserba" userId="77bd6c8a-d0c1-4fea-8705-0169f65d0c0e" providerId="ADAL" clId="{9C21DD65-54F1-43C5-A4ED-A2C467859D96}" dt="2025-07-22T17:08:56.128" v="1427" actId="12"/>
          <ac:spMkLst>
            <pc:docMk/>
            <pc:sldMk cId="1230948448" sldId="2147471769"/>
            <ac:spMk id="27" creationId="{48790CF8-9819-40A9-9326-7F423C80CF72}"/>
          </ac:spMkLst>
        </pc:spChg>
      </pc:sldChg>
      <pc:sldChg chg="modSp add mod">
        <pc:chgData name="John Paserba" userId="77bd6c8a-d0c1-4fea-8705-0169f65d0c0e" providerId="ADAL" clId="{9C21DD65-54F1-43C5-A4ED-A2C467859D96}" dt="2025-07-22T17:10:46.502" v="1474" actId="1076"/>
        <pc:sldMkLst>
          <pc:docMk/>
          <pc:sldMk cId="2366930432" sldId="2147471770"/>
        </pc:sldMkLst>
        <pc:spChg chg="mod">
          <ac:chgData name="John Paserba" userId="77bd6c8a-d0c1-4fea-8705-0169f65d0c0e" providerId="ADAL" clId="{9C21DD65-54F1-43C5-A4ED-A2C467859D96}" dt="2025-07-22T17:10:46.502" v="1474" actId="1076"/>
          <ac:spMkLst>
            <pc:docMk/>
            <pc:sldMk cId="2366930432" sldId="2147471770"/>
            <ac:spMk id="20" creationId="{E69A118B-98A6-4479-8C30-F899FA348193}"/>
          </ac:spMkLst>
        </pc:spChg>
      </pc:sldChg>
      <pc:sldMasterChg chg="del delSldLayout">
        <pc:chgData name="John Paserba" userId="77bd6c8a-d0c1-4fea-8705-0169f65d0c0e" providerId="ADAL" clId="{9C21DD65-54F1-43C5-A4ED-A2C467859D96}" dt="2025-07-18T14:47:45.434" v="167" actId="47"/>
        <pc:sldMasterMkLst>
          <pc:docMk/>
          <pc:sldMasterMk cId="1911045004" sldId="2147483783"/>
        </pc:sldMasterMkLst>
        <pc:sldLayoutChg chg="del">
          <pc:chgData name="John Paserba" userId="77bd6c8a-d0c1-4fea-8705-0169f65d0c0e" providerId="ADAL" clId="{9C21DD65-54F1-43C5-A4ED-A2C467859D96}" dt="2025-07-18T14:47:45.434" v="167" actId="47"/>
          <pc:sldLayoutMkLst>
            <pc:docMk/>
            <pc:sldMasterMk cId="1911045004" sldId="2147483783"/>
            <pc:sldLayoutMk cId="1853185697" sldId="2147483784"/>
          </pc:sldLayoutMkLst>
        </pc:sldLayoutChg>
        <pc:sldLayoutChg chg="del">
          <pc:chgData name="John Paserba" userId="77bd6c8a-d0c1-4fea-8705-0169f65d0c0e" providerId="ADAL" clId="{9C21DD65-54F1-43C5-A4ED-A2C467859D96}" dt="2025-07-18T14:47:45.434" v="167" actId="47"/>
          <pc:sldLayoutMkLst>
            <pc:docMk/>
            <pc:sldMasterMk cId="1911045004" sldId="2147483783"/>
            <pc:sldLayoutMk cId="3171708015" sldId="2147483785"/>
          </pc:sldLayoutMkLst>
        </pc:sldLayoutChg>
        <pc:sldLayoutChg chg="del">
          <pc:chgData name="John Paserba" userId="77bd6c8a-d0c1-4fea-8705-0169f65d0c0e" providerId="ADAL" clId="{9C21DD65-54F1-43C5-A4ED-A2C467859D96}" dt="2025-07-18T14:47:45.434" v="167" actId="47"/>
          <pc:sldLayoutMkLst>
            <pc:docMk/>
            <pc:sldMasterMk cId="1911045004" sldId="2147483783"/>
            <pc:sldLayoutMk cId="3933425673" sldId="2147483786"/>
          </pc:sldLayoutMkLst>
        </pc:sldLayoutChg>
        <pc:sldLayoutChg chg="del">
          <pc:chgData name="John Paserba" userId="77bd6c8a-d0c1-4fea-8705-0169f65d0c0e" providerId="ADAL" clId="{9C21DD65-54F1-43C5-A4ED-A2C467859D96}" dt="2025-07-18T14:47:45.434" v="167" actId="47"/>
          <pc:sldLayoutMkLst>
            <pc:docMk/>
            <pc:sldMasterMk cId="1911045004" sldId="2147483783"/>
            <pc:sldLayoutMk cId="2574635650" sldId="2147483787"/>
          </pc:sldLayoutMkLst>
        </pc:sldLayoutChg>
        <pc:sldLayoutChg chg="del">
          <pc:chgData name="John Paserba" userId="77bd6c8a-d0c1-4fea-8705-0169f65d0c0e" providerId="ADAL" clId="{9C21DD65-54F1-43C5-A4ED-A2C467859D96}" dt="2025-07-18T14:47:45.434" v="167" actId="47"/>
          <pc:sldLayoutMkLst>
            <pc:docMk/>
            <pc:sldMasterMk cId="1911045004" sldId="2147483783"/>
            <pc:sldLayoutMk cId="3278650488" sldId="2147483788"/>
          </pc:sldLayoutMkLst>
        </pc:sldLayoutChg>
        <pc:sldLayoutChg chg="del">
          <pc:chgData name="John Paserba" userId="77bd6c8a-d0c1-4fea-8705-0169f65d0c0e" providerId="ADAL" clId="{9C21DD65-54F1-43C5-A4ED-A2C467859D96}" dt="2025-07-18T14:47:45.434" v="167" actId="47"/>
          <pc:sldLayoutMkLst>
            <pc:docMk/>
            <pc:sldMasterMk cId="1911045004" sldId="2147483783"/>
            <pc:sldLayoutMk cId="2755311540" sldId="2147483789"/>
          </pc:sldLayoutMkLst>
        </pc:sldLayoutChg>
        <pc:sldLayoutChg chg="del">
          <pc:chgData name="John Paserba" userId="77bd6c8a-d0c1-4fea-8705-0169f65d0c0e" providerId="ADAL" clId="{9C21DD65-54F1-43C5-A4ED-A2C467859D96}" dt="2025-07-18T14:47:45.434" v="167" actId="47"/>
          <pc:sldLayoutMkLst>
            <pc:docMk/>
            <pc:sldMasterMk cId="1911045004" sldId="2147483783"/>
            <pc:sldLayoutMk cId="833873722" sldId="2147483790"/>
          </pc:sldLayoutMkLst>
        </pc:sldLayoutChg>
        <pc:sldLayoutChg chg="del">
          <pc:chgData name="John Paserba" userId="77bd6c8a-d0c1-4fea-8705-0169f65d0c0e" providerId="ADAL" clId="{9C21DD65-54F1-43C5-A4ED-A2C467859D96}" dt="2025-07-18T14:47:45.434" v="167" actId="47"/>
          <pc:sldLayoutMkLst>
            <pc:docMk/>
            <pc:sldMasterMk cId="1911045004" sldId="2147483783"/>
            <pc:sldLayoutMk cId="3952112699" sldId="2147483791"/>
          </pc:sldLayoutMkLst>
        </pc:sldLayoutChg>
        <pc:sldLayoutChg chg="del">
          <pc:chgData name="John Paserba" userId="77bd6c8a-d0c1-4fea-8705-0169f65d0c0e" providerId="ADAL" clId="{9C21DD65-54F1-43C5-A4ED-A2C467859D96}" dt="2025-07-18T14:47:45.434" v="167" actId="47"/>
          <pc:sldLayoutMkLst>
            <pc:docMk/>
            <pc:sldMasterMk cId="1911045004" sldId="2147483783"/>
            <pc:sldLayoutMk cId="3236228604" sldId="2147483792"/>
          </pc:sldLayoutMkLst>
        </pc:sldLayoutChg>
        <pc:sldLayoutChg chg="del">
          <pc:chgData name="John Paserba" userId="77bd6c8a-d0c1-4fea-8705-0169f65d0c0e" providerId="ADAL" clId="{9C21DD65-54F1-43C5-A4ED-A2C467859D96}" dt="2025-07-18T14:47:45.434" v="167" actId="47"/>
          <pc:sldLayoutMkLst>
            <pc:docMk/>
            <pc:sldMasterMk cId="1911045004" sldId="2147483783"/>
            <pc:sldLayoutMk cId="1708946443" sldId="2147483793"/>
          </pc:sldLayoutMkLst>
        </pc:sldLayoutChg>
        <pc:sldLayoutChg chg="del">
          <pc:chgData name="John Paserba" userId="77bd6c8a-d0c1-4fea-8705-0169f65d0c0e" providerId="ADAL" clId="{9C21DD65-54F1-43C5-A4ED-A2C467859D96}" dt="2025-07-18T14:47:45.434" v="167" actId="47"/>
          <pc:sldLayoutMkLst>
            <pc:docMk/>
            <pc:sldMasterMk cId="1911045004" sldId="2147483783"/>
            <pc:sldLayoutMk cId="3338903102" sldId="2147483794"/>
          </pc:sldLayoutMkLst>
        </pc:sldLayoutChg>
      </pc:sldMasterChg>
      <pc:sldMasterChg chg="del delSldLayout">
        <pc:chgData name="John Paserba" userId="77bd6c8a-d0c1-4fea-8705-0169f65d0c0e" providerId="ADAL" clId="{9C21DD65-54F1-43C5-A4ED-A2C467859D96}" dt="2025-07-22T15:26:06.674" v="698" actId="47"/>
        <pc:sldMasterMkLst>
          <pc:docMk/>
          <pc:sldMasterMk cId="3950883293" sldId="2147483795"/>
        </pc:sldMasterMkLst>
        <pc:sldLayoutChg chg="del">
          <pc:chgData name="John Paserba" userId="77bd6c8a-d0c1-4fea-8705-0169f65d0c0e" providerId="ADAL" clId="{9C21DD65-54F1-43C5-A4ED-A2C467859D96}" dt="2025-07-22T15:26:06.674" v="698" actId="47"/>
          <pc:sldLayoutMkLst>
            <pc:docMk/>
            <pc:sldMasterMk cId="3950883293" sldId="2147483795"/>
            <pc:sldLayoutMk cId="1045487563" sldId="2147483796"/>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3518426389" sldId="2147483797"/>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3736229939" sldId="2147483798"/>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227192336" sldId="2147483799"/>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230797566" sldId="2147483800"/>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3842121046" sldId="2147483801"/>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1126647668" sldId="2147483802"/>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3802026890" sldId="2147483803"/>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3557101944" sldId="2147483804"/>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565725226" sldId="2147483805"/>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4266976971" sldId="2147483806"/>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3545323621" sldId="2147483807"/>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1322971835" sldId="2147483808"/>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2655835118" sldId="2147483809"/>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1402811337" sldId="2147483810"/>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3847732450" sldId="2147483811"/>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691635681" sldId="2147483812"/>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2004971419" sldId="2147483813"/>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2258539375" sldId="2147483814"/>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2330583438" sldId="2147483815"/>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824122116" sldId="2147483816"/>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830469765" sldId="2147483817"/>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853166452" sldId="2147483818"/>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1699629813" sldId="2147483819"/>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4126264723" sldId="2147483820"/>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4136443135" sldId="2147483821"/>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4013893524" sldId="2147483822"/>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2315218056" sldId="2147483823"/>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438332319" sldId="2147483824"/>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3992431872" sldId="2147483825"/>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3560011569" sldId="2147483826"/>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2770611179" sldId="2147483827"/>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2123361516" sldId="2147483828"/>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54356299" sldId="2147483829"/>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1644761439" sldId="2147483830"/>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325982925" sldId="2147483831"/>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2140714673" sldId="2147483832"/>
          </pc:sldLayoutMkLst>
        </pc:sldLayoutChg>
        <pc:sldLayoutChg chg="del">
          <pc:chgData name="John Paserba" userId="77bd6c8a-d0c1-4fea-8705-0169f65d0c0e" providerId="ADAL" clId="{9C21DD65-54F1-43C5-A4ED-A2C467859D96}" dt="2025-07-22T15:26:06.674" v="698" actId="47"/>
          <pc:sldLayoutMkLst>
            <pc:docMk/>
            <pc:sldMasterMk cId="3950883293" sldId="2147483795"/>
            <pc:sldLayoutMk cId="3569266721" sldId="2147483833"/>
          </pc:sldLayoutMkLst>
        </pc:sldLayoutChg>
      </pc:sldMasterChg>
      <pc:sldMasterChg chg="del delSldLayout">
        <pc:chgData name="John Paserba" userId="77bd6c8a-d0c1-4fea-8705-0169f65d0c0e" providerId="ADAL" clId="{9C21DD65-54F1-43C5-A4ED-A2C467859D96}" dt="2025-07-22T16:18:31.238" v="1186" actId="47"/>
        <pc:sldMasterMkLst>
          <pc:docMk/>
          <pc:sldMasterMk cId="4118080848" sldId="2147483834"/>
        </pc:sldMasterMkLst>
        <pc:sldLayoutChg chg="del">
          <pc:chgData name="John Paserba" userId="77bd6c8a-d0c1-4fea-8705-0169f65d0c0e" providerId="ADAL" clId="{9C21DD65-54F1-43C5-A4ED-A2C467859D96}" dt="2025-07-22T16:18:31.238" v="1186" actId="47"/>
          <pc:sldLayoutMkLst>
            <pc:docMk/>
            <pc:sldMasterMk cId="4118080848" sldId="2147483834"/>
            <pc:sldLayoutMk cId="533323546" sldId="2147483835"/>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3834051662" sldId="2147483836"/>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3040992815" sldId="2147483837"/>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3156228526" sldId="2147483838"/>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1373363457" sldId="2147483839"/>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1454663931" sldId="2147483840"/>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3230589557" sldId="2147483841"/>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1519327204" sldId="2147483842"/>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170628683" sldId="2147483843"/>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1422494849" sldId="2147483844"/>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2724743296" sldId="2147483845"/>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2485885752" sldId="2147483846"/>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1684028583" sldId="2147483847"/>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3783510212" sldId="2147483848"/>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1092531809" sldId="2147483849"/>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1735499330" sldId="2147483850"/>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2194167364" sldId="2147483851"/>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2953396003" sldId="2147483852"/>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2596224793" sldId="2147483853"/>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1325907861" sldId="2147483854"/>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2002907537" sldId="2147483855"/>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1745755161" sldId="2147483856"/>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2862552889" sldId="2147483857"/>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3198888066" sldId="2147483858"/>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305868908" sldId="2147483859"/>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2022981534" sldId="2147483860"/>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3466746534" sldId="2147483861"/>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543823118" sldId="2147483862"/>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1245879292" sldId="2147483863"/>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2293299069" sldId="2147483864"/>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3412657281" sldId="2147483865"/>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2786372027" sldId="2147483866"/>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1320949901" sldId="2147483867"/>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2981537732" sldId="2147483868"/>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917005674" sldId="2147483869"/>
          </pc:sldLayoutMkLst>
        </pc:sldLayoutChg>
        <pc:sldLayoutChg chg="del">
          <pc:chgData name="John Paserba" userId="77bd6c8a-d0c1-4fea-8705-0169f65d0c0e" providerId="ADAL" clId="{9C21DD65-54F1-43C5-A4ED-A2C467859D96}" dt="2025-07-22T16:18:31.238" v="1186" actId="47"/>
          <pc:sldLayoutMkLst>
            <pc:docMk/>
            <pc:sldMasterMk cId="4118080848" sldId="2147483834"/>
            <pc:sldLayoutMk cId="649189523" sldId="2147483870"/>
          </pc:sldLayoutMkLst>
        </pc:sldLayoutChg>
      </pc:sldMasterChg>
      <pc:sldMasterChg chg="del delSldLayout">
        <pc:chgData name="John Paserba" userId="77bd6c8a-d0c1-4fea-8705-0169f65d0c0e" providerId="ADAL" clId="{9C21DD65-54F1-43C5-A4ED-A2C467859D96}" dt="2025-07-21T22:38:16.435" v="642" actId="47"/>
        <pc:sldMasterMkLst>
          <pc:docMk/>
          <pc:sldMasterMk cId="4136786404" sldId="2147483834"/>
        </pc:sldMasterMkLst>
        <pc:sldLayoutChg chg="del">
          <pc:chgData name="John Paserba" userId="77bd6c8a-d0c1-4fea-8705-0169f65d0c0e" providerId="ADAL" clId="{9C21DD65-54F1-43C5-A4ED-A2C467859D96}" dt="2025-07-21T22:38:16.435" v="642" actId="47"/>
          <pc:sldLayoutMkLst>
            <pc:docMk/>
            <pc:sldMasterMk cId="4136786404" sldId="2147483834"/>
            <pc:sldLayoutMk cId="816479829" sldId="2147483835"/>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554969157" sldId="2147483836"/>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911758125" sldId="2147483837"/>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1939593107" sldId="2147483838"/>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136542974" sldId="2147483839"/>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1132244634" sldId="2147483840"/>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1756712650" sldId="2147483841"/>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337934405" sldId="2147483842"/>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181774764" sldId="2147483843"/>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319481526" sldId="2147483844"/>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421587417" sldId="2147483845"/>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107105488" sldId="2147483846"/>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3441073498" sldId="2147483847"/>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784153582" sldId="2147483848"/>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1040959982" sldId="2147483849"/>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590572862" sldId="2147483850"/>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133176277" sldId="2147483851"/>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912605533" sldId="2147483852"/>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405426389" sldId="2147483853"/>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1758765613" sldId="2147483854"/>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336787375" sldId="2147483855"/>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203066598" sldId="2147483856"/>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823633893" sldId="2147483857"/>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516393257" sldId="2147483858"/>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1671469836" sldId="2147483859"/>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4119830100" sldId="2147483860"/>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379518134" sldId="2147483861"/>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1975482861" sldId="2147483862"/>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105299047" sldId="2147483863"/>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1417685351" sldId="2147483864"/>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968232764" sldId="2147483865"/>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3611771134" sldId="2147483866"/>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3944897660" sldId="2147483867"/>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276539390" sldId="2147483868"/>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3737296688" sldId="2147483869"/>
          </pc:sldLayoutMkLst>
        </pc:sldLayoutChg>
        <pc:sldLayoutChg chg="del">
          <pc:chgData name="John Paserba" userId="77bd6c8a-d0c1-4fea-8705-0169f65d0c0e" providerId="ADAL" clId="{9C21DD65-54F1-43C5-A4ED-A2C467859D96}" dt="2025-07-21T22:38:16.435" v="642" actId="47"/>
          <pc:sldLayoutMkLst>
            <pc:docMk/>
            <pc:sldMasterMk cId="4136786404" sldId="2147483834"/>
            <pc:sldLayoutMk cId="3056712827" sldId="2147483870"/>
          </pc:sldLayoutMkLst>
        </pc:sldLayoutChg>
      </pc:sldMasterChg>
      <pc:sldMasterChg chg="delSldLayout">
        <pc:chgData name="John Paserba" userId="77bd6c8a-d0c1-4fea-8705-0169f65d0c0e" providerId="ADAL" clId="{9C21DD65-54F1-43C5-A4ED-A2C467859D96}" dt="2025-07-22T17:06:07.285" v="1337" actId="47"/>
        <pc:sldMasterMkLst>
          <pc:docMk/>
          <pc:sldMasterMk cId="2069327877" sldId="2147483871"/>
        </pc:sldMasterMkLst>
        <pc:sldLayoutChg chg="del">
          <pc:chgData name="John Paserba" userId="77bd6c8a-d0c1-4fea-8705-0169f65d0c0e" providerId="ADAL" clId="{9C21DD65-54F1-43C5-A4ED-A2C467859D96}" dt="2025-07-22T17:06:07.285" v="1337" actId="47"/>
          <pc:sldLayoutMkLst>
            <pc:docMk/>
            <pc:sldMasterMk cId="2069327877" sldId="2147483871"/>
            <pc:sldLayoutMk cId="2374065643" sldId="2147483908"/>
          </pc:sldLayoutMkLst>
        </pc:sldLayoutChg>
      </pc:sldMasterChg>
      <pc:sldMasterChg chg="add del addSldLayout delSldLayout">
        <pc:chgData name="John Paserba" userId="77bd6c8a-d0c1-4fea-8705-0169f65d0c0e" providerId="ADAL" clId="{9C21DD65-54F1-43C5-A4ED-A2C467859D96}" dt="2025-07-22T16:19:37.897" v="1191" actId="47"/>
        <pc:sldMasterMkLst>
          <pc:docMk/>
          <pc:sldMasterMk cId="3152738557" sldId="2147483910"/>
        </pc:sldMasterMkLst>
        <pc:sldLayoutChg chg="add del">
          <pc:chgData name="John Paserba" userId="77bd6c8a-d0c1-4fea-8705-0169f65d0c0e" providerId="ADAL" clId="{9C21DD65-54F1-43C5-A4ED-A2C467859D96}" dt="2025-07-22T16:19:37.897" v="1191" actId="47"/>
          <pc:sldLayoutMkLst>
            <pc:docMk/>
            <pc:sldMasterMk cId="3152738557" sldId="2147483910"/>
            <pc:sldLayoutMk cId="4146471224" sldId="2147483911"/>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1926806808" sldId="2147483912"/>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741783236" sldId="2147483913"/>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1633327222" sldId="2147483914"/>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1112215661" sldId="2147483915"/>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3531354131" sldId="2147483916"/>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1833041881" sldId="2147483917"/>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3106590579" sldId="2147483918"/>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23533703" sldId="2147483919"/>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373865773" sldId="2147483920"/>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3286036328" sldId="2147483921"/>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2191856704" sldId="2147483922"/>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4156271191" sldId="2147483923"/>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551833149" sldId="2147483924"/>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3377596378" sldId="2147483925"/>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238394266" sldId="2147483926"/>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2941752592" sldId="2147483927"/>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3142241318" sldId="2147483928"/>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2766682147" sldId="2147483929"/>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1391539023" sldId="2147483930"/>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2441828291" sldId="2147483931"/>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127550055" sldId="2147483932"/>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1810502208" sldId="2147483933"/>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1170880491" sldId="2147483934"/>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3175563210" sldId="2147483935"/>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818169901" sldId="2147483936"/>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823290266" sldId="2147483937"/>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1082332317" sldId="2147483938"/>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909703052" sldId="2147483939"/>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1086416273" sldId="2147483940"/>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1976563900" sldId="2147483941"/>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3980880522" sldId="2147483942"/>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4149652426" sldId="2147483943"/>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1309757392" sldId="2147483944"/>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2399625118" sldId="2147483945"/>
          </pc:sldLayoutMkLst>
        </pc:sldLayoutChg>
        <pc:sldLayoutChg chg="add del">
          <pc:chgData name="John Paserba" userId="77bd6c8a-d0c1-4fea-8705-0169f65d0c0e" providerId="ADAL" clId="{9C21DD65-54F1-43C5-A4ED-A2C467859D96}" dt="2025-07-22T16:19:37.897" v="1191" actId="47"/>
          <pc:sldLayoutMkLst>
            <pc:docMk/>
            <pc:sldMasterMk cId="3152738557" sldId="2147483910"/>
            <pc:sldLayoutMk cId="3279502027" sldId="2147483946"/>
          </pc:sldLayoutMkLst>
        </pc:sldLayoutChg>
      </pc:sldMasterChg>
    </pc:docChg>
  </pc:docChgLst>
  <pc:docChgLst>
    <pc:chgData name="John Paserba" userId="77bd6c8a-d0c1-4fea-8705-0169f65d0c0e" providerId="ADAL" clId="{A70E4D0B-BA10-405C-ACA4-8528A8C7155D}"/>
    <pc:docChg chg="undo redo custSel addSld delSld modSld delMainMaster">
      <pc:chgData name="John Paserba" userId="77bd6c8a-d0c1-4fea-8705-0169f65d0c0e" providerId="ADAL" clId="{A70E4D0B-BA10-405C-ACA4-8528A8C7155D}" dt="2025-07-18T04:41:19.109" v="2700" actId="14100"/>
      <pc:docMkLst>
        <pc:docMk/>
      </pc:docMkLst>
      <pc:sldChg chg="del">
        <pc:chgData name="John Paserba" userId="77bd6c8a-d0c1-4fea-8705-0169f65d0c0e" providerId="ADAL" clId="{A70E4D0B-BA10-405C-ACA4-8528A8C7155D}" dt="2025-07-18T04:01:52.462" v="1527" actId="47"/>
        <pc:sldMkLst>
          <pc:docMk/>
          <pc:sldMk cId="2542693600" sldId="257"/>
        </pc:sldMkLst>
      </pc:sldChg>
      <pc:sldChg chg="del">
        <pc:chgData name="John Paserba" userId="77bd6c8a-d0c1-4fea-8705-0169f65d0c0e" providerId="ADAL" clId="{A70E4D0B-BA10-405C-ACA4-8528A8C7155D}" dt="2025-07-18T04:01:54.652" v="1529" actId="47"/>
        <pc:sldMkLst>
          <pc:docMk/>
          <pc:sldMk cId="1193644556" sldId="258"/>
        </pc:sldMkLst>
      </pc:sldChg>
      <pc:sldChg chg="addSp modSp mod">
        <pc:chgData name="John Paserba" userId="77bd6c8a-d0c1-4fea-8705-0169f65d0c0e" providerId="ADAL" clId="{A70E4D0B-BA10-405C-ACA4-8528A8C7155D}" dt="2025-07-18T04:39:56.986" v="2688" actId="1076"/>
        <pc:sldMkLst>
          <pc:docMk/>
          <pc:sldMk cId="3658783816" sldId="2147471428"/>
        </pc:sldMkLst>
        <pc:spChg chg="add mod">
          <ac:chgData name="John Paserba" userId="77bd6c8a-d0c1-4fea-8705-0169f65d0c0e" providerId="ADAL" clId="{A70E4D0B-BA10-405C-ACA4-8528A8C7155D}" dt="2025-07-18T04:38:31.348" v="2679"/>
          <ac:spMkLst>
            <pc:docMk/>
            <pc:sldMk cId="3658783816" sldId="2147471428"/>
            <ac:spMk id="9" creationId="{A3D8E4CE-F1A1-4EA4-BABE-D2F49A2B1664}"/>
          </ac:spMkLst>
        </pc:spChg>
        <pc:graphicFrameChg chg="modGraphic">
          <ac:chgData name="John Paserba" userId="77bd6c8a-d0c1-4fea-8705-0169f65d0c0e" providerId="ADAL" clId="{A70E4D0B-BA10-405C-ACA4-8528A8C7155D}" dt="2025-07-18T04:37:49.037" v="2678" actId="20577"/>
          <ac:graphicFrameMkLst>
            <pc:docMk/>
            <pc:sldMk cId="3658783816" sldId="2147471428"/>
            <ac:graphicFrameMk id="11" creationId="{F3DED44F-C0EF-4935-A06B-3FC910885FD8}"/>
          </ac:graphicFrameMkLst>
        </pc:graphicFrameChg>
        <pc:picChg chg="add mod modCrop">
          <ac:chgData name="John Paserba" userId="77bd6c8a-d0c1-4fea-8705-0169f65d0c0e" providerId="ADAL" clId="{A70E4D0B-BA10-405C-ACA4-8528A8C7155D}" dt="2025-07-18T04:39:56.986" v="2688" actId="1076"/>
          <ac:picMkLst>
            <pc:docMk/>
            <pc:sldMk cId="3658783816" sldId="2147471428"/>
            <ac:picMk id="2" creationId="{6B489679-5AA4-4E5F-B43F-E4E6752F3FBB}"/>
          </ac:picMkLst>
        </pc:picChg>
      </pc:sldChg>
      <pc:sldChg chg="addSp modSp mod">
        <pc:chgData name="John Paserba" userId="77bd6c8a-d0c1-4fea-8705-0169f65d0c0e" providerId="ADAL" clId="{A70E4D0B-BA10-405C-ACA4-8528A8C7155D}" dt="2025-07-18T02:25:24.241" v="642" actId="1076"/>
        <pc:sldMkLst>
          <pc:docMk/>
          <pc:sldMk cId="2561390062" sldId="2147471439"/>
        </pc:sldMkLst>
        <pc:spChg chg="mod">
          <ac:chgData name="John Paserba" userId="77bd6c8a-d0c1-4fea-8705-0169f65d0c0e" providerId="ADAL" clId="{A70E4D0B-BA10-405C-ACA4-8528A8C7155D}" dt="2025-07-18T02:23:38.336" v="604" actId="255"/>
          <ac:spMkLst>
            <pc:docMk/>
            <pc:sldMk cId="2561390062" sldId="2147471439"/>
            <ac:spMk id="9" creationId="{0F9721C2-9B5A-270E-F115-CCA3050C8196}"/>
          </ac:spMkLst>
        </pc:spChg>
        <pc:spChg chg="add mod">
          <ac:chgData name="John Paserba" userId="77bd6c8a-d0c1-4fea-8705-0169f65d0c0e" providerId="ADAL" clId="{A70E4D0B-BA10-405C-ACA4-8528A8C7155D}" dt="2025-07-18T02:25:24.241" v="642" actId="1076"/>
          <ac:spMkLst>
            <pc:docMk/>
            <pc:sldMk cId="2561390062" sldId="2147471439"/>
            <ac:spMk id="13" creationId="{C2E51DB2-219B-45A1-8966-D851A62099EA}"/>
          </ac:spMkLst>
        </pc:spChg>
        <pc:graphicFrameChg chg="add mod">
          <ac:chgData name="John Paserba" userId="77bd6c8a-d0c1-4fea-8705-0169f65d0c0e" providerId="ADAL" clId="{A70E4D0B-BA10-405C-ACA4-8528A8C7155D}" dt="2025-07-18T02:22:46.681" v="596"/>
          <ac:graphicFrameMkLst>
            <pc:docMk/>
            <pc:sldMk cId="2561390062" sldId="2147471439"/>
            <ac:graphicFrameMk id="12" creationId="{515DFC6B-A082-44E8-9BFF-408B9E2812DF}"/>
          </ac:graphicFrameMkLst>
        </pc:graphicFrameChg>
      </pc:sldChg>
      <pc:sldChg chg="addSp modSp mod">
        <pc:chgData name="John Paserba" userId="77bd6c8a-d0c1-4fea-8705-0169f65d0c0e" providerId="ADAL" clId="{A70E4D0B-BA10-405C-ACA4-8528A8C7155D}" dt="2025-07-18T02:25:10.099" v="638" actId="1076"/>
        <pc:sldMkLst>
          <pc:docMk/>
          <pc:sldMk cId="1648446080" sldId="2147471473"/>
        </pc:sldMkLst>
        <pc:spChg chg="mod">
          <ac:chgData name="John Paserba" userId="77bd6c8a-d0c1-4fea-8705-0169f65d0c0e" providerId="ADAL" clId="{A70E4D0B-BA10-405C-ACA4-8528A8C7155D}" dt="2025-07-18T02:22:21.054" v="587" actId="6549"/>
          <ac:spMkLst>
            <pc:docMk/>
            <pc:sldMk cId="1648446080" sldId="2147471473"/>
            <ac:spMk id="9" creationId="{0F9721C2-9B5A-270E-F115-CCA3050C8196}"/>
          </ac:spMkLst>
        </pc:spChg>
        <pc:spChg chg="add mod">
          <ac:chgData name="John Paserba" userId="77bd6c8a-d0c1-4fea-8705-0169f65d0c0e" providerId="ADAL" clId="{A70E4D0B-BA10-405C-ACA4-8528A8C7155D}" dt="2025-07-18T02:25:10.099" v="638" actId="1076"/>
          <ac:spMkLst>
            <pc:docMk/>
            <pc:sldMk cId="1648446080" sldId="2147471473"/>
            <ac:spMk id="10" creationId="{047D79FF-B20E-4E11-9646-843D3BE5EA65}"/>
          </ac:spMkLst>
        </pc:spChg>
        <pc:graphicFrameChg chg="add mod">
          <ac:chgData name="John Paserba" userId="77bd6c8a-d0c1-4fea-8705-0169f65d0c0e" providerId="ADAL" clId="{A70E4D0B-BA10-405C-ACA4-8528A8C7155D}" dt="2025-07-18T02:21:40.787" v="573"/>
          <ac:graphicFrameMkLst>
            <pc:docMk/>
            <pc:sldMk cId="1648446080" sldId="2147471473"/>
            <ac:graphicFrameMk id="8" creationId="{B72E42C4-39D9-4480-8C25-047B1C5338FF}"/>
          </ac:graphicFrameMkLst>
        </pc:graphicFrameChg>
      </pc:sldChg>
      <pc:sldChg chg="addSp modSp mod">
        <pc:chgData name="John Paserba" userId="77bd6c8a-d0c1-4fea-8705-0169f65d0c0e" providerId="ADAL" clId="{A70E4D0B-BA10-405C-ACA4-8528A8C7155D}" dt="2025-07-18T02:25:14.670" v="639"/>
        <pc:sldMkLst>
          <pc:docMk/>
          <pc:sldMk cId="907444897" sldId="2147471474"/>
        </pc:sldMkLst>
        <pc:spChg chg="mod">
          <ac:chgData name="John Paserba" userId="77bd6c8a-d0c1-4fea-8705-0169f65d0c0e" providerId="ADAL" clId="{A70E4D0B-BA10-405C-ACA4-8528A8C7155D}" dt="2025-07-18T02:22:37.472" v="595" actId="1035"/>
          <ac:spMkLst>
            <pc:docMk/>
            <pc:sldMk cId="907444897" sldId="2147471474"/>
            <ac:spMk id="3" creationId="{C0EC77ED-8041-4CD1-08A8-7CB9BA1A3639}"/>
          </ac:spMkLst>
        </pc:spChg>
        <pc:spChg chg="add mod">
          <ac:chgData name="John Paserba" userId="77bd6c8a-d0c1-4fea-8705-0169f65d0c0e" providerId="ADAL" clId="{A70E4D0B-BA10-405C-ACA4-8528A8C7155D}" dt="2025-07-18T02:25:14.670" v="639"/>
          <ac:spMkLst>
            <pc:docMk/>
            <pc:sldMk cId="907444897" sldId="2147471474"/>
            <ac:spMk id="9" creationId="{84239C69-7139-44BB-9A00-6265539D0D54}"/>
          </ac:spMkLst>
        </pc:spChg>
        <pc:graphicFrameChg chg="add mod">
          <ac:chgData name="John Paserba" userId="77bd6c8a-d0c1-4fea-8705-0169f65d0c0e" providerId="ADAL" clId="{A70E4D0B-BA10-405C-ACA4-8528A8C7155D}" dt="2025-07-18T02:21:46.493" v="574"/>
          <ac:graphicFrameMkLst>
            <pc:docMk/>
            <pc:sldMk cId="907444897" sldId="2147471474"/>
            <ac:graphicFrameMk id="8" creationId="{26614A36-789C-4A62-8DDE-17CBE6827033}"/>
          </ac:graphicFrameMkLst>
        </pc:graphicFrameChg>
      </pc:sldChg>
      <pc:sldChg chg="addSp modSp mod">
        <pc:chgData name="John Paserba" userId="77bd6c8a-d0c1-4fea-8705-0169f65d0c0e" providerId="ADAL" clId="{A70E4D0B-BA10-405C-ACA4-8528A8C7155D}" dt="2025-07-18T02:25:18.709" v="640"/>
        <pc:sldMkLst>
          <pc:docMk/>
          <pc:sldMk cId="4171080166" sldId="2147471475"/>
        </pc:sldMkLst>
        <pc:spChg chg="mod">
          <ac:chgData name="John Paserba" userId="77bd6c8a-d0c1-4fea-8705-0169f65d0c0e" providerId="ADAL" clId="{A70E4D0B-BA10-405C-ACA4-8528A8C7155D}" dt="2025-07-18T02:22:12.093" v="583" actId="6549"/>
          <ac:spMkLst>
            <pc:docMk/>
            <pc:sldMk cId="4171080166" sldId="2147471475"/>
            <ac:spMk id="16" creationId="{4D063768-508B-981D-C862-CFE8696EFD15}"/>
          </ac:spMkLst>
        </pc:spChg>
        <pc:spChg chg="add mod">
          <ac:chgData name="John Paserba" userId="77bd6c8a-d0c1-4fea-8705-0169f65d0c0e" providerId="ADAL" clId="{A70E4D0B-BA10-405C-ACA4-8528A8C7155D}" dt="2025-07-18T02:25:18.709" v="640"/>
          <ac:spMkLst>
            <pc:docMk/>
            <pc:sldMk cId="4171080166" sldId="2147471475"/>
            <ac:spMk id="17" creationId="{88E435DA-C75C-4651-B400-89F2E3F79060}"/>
          </ac:spMkLst>
        </pc:spChg>
        <pc:graphicFrameChg chg="add mod">
          <ac:chgData name="John Paserba" userId="77bd6c8a-d0c1-4fea-8705-0169f65d0c0e" providerId="ADAL" clId="{A70E4D0B-BA10-405C-ACA4-8528A8C7155D}" dt="2025-07-18T02:22:01.903" v="578"/>
          <ac:graphicFrameMkLst>
            <pc:docMk/>
            <pc:sldMk cId="4171080166" sldId="2147471475"/>
            <ac:graphicFrameMk id="13" creationId="{48B14902-8BC0-4EE8-9B10-61379E4776A3}"/>
          </ac:graphicFrameMkLst>
        </pc:graphicFrameChg>
        <pc:picChg chg="mod">
          <ac:chgData name="John Paserba" userId="77bd6c8a-d0c1-4fea-8705-0169f65d0c0e" providerId="ADAL" clId="{A70E4D0B-BA10-405C-ACA4-8528A8C7155D}" dt="2025-07-18T02:22:07.414" v="579" actId="1076"/>
          <ac:picMkLst>
            <pc:docMk/>
            <pc:sldMk cId="4171080166" sldId="2147471475"/>
            <ac:picMk id="6" creationId="{A15D9125-04BC-6C1E-C6BB-4C7EFB86CF94}"/>
          </ac:picMkLst>
        </pc:picChg>
      </pc:sldChg>
      <pc:sldChg chg="addSp delSp modSp mod">
        <pc:chgData name="John Paserba" userId="77bd6c8a-d0c1-4fea-8705-0169f65d0c0e" providerId="ADAL" clId="{A70E4D0B-BA10-405C-ACA4-8528A8C7155D}" dt="2025-07-18T02:52:01.743" v="1117" actId="14100"/>
        <pc:sldMkLst>
          <pc:docMk/>
          <pc:sldMk cId="1709962716" sldId="2147471609"/>
        </pc:sldMkLst>
        <pc:spChg chg="del">
          <ac:chgData name="John Paserba" userId="77bd6c8a-d0c1-4fea-8705-0169f65d0c0e" providerId="ADAL" clId="{A70E4D0B-BA10-405C-ACA4-8528A8C7155D}" dt="2025-07-18T02:21:05.986" v="572" actId="478"/>
          <ac:spMkLst>
            <pc:docMk/>
            <pc:sldMk cId="1709962716" sldId="2147471609"/>
            <ac:spMk id="9" creationId="{1F0F94AD-9338-4D25-B771-6471A68968E8}"/>
          </ac:spMkLst>
        </pc:spChg>
        <pc:spChg chg="add mod">
          <ac:chgData name="John Paserba" userId="77bd6c8a-d0c1-4fea-8705-0169f65d0c0e" providerId="ADAL" clId="{A70E4D0B-BA10-405C-ACA4-8528A8C7155D}" dt="2025-07-18T02:49:48.750" v="1104"/>
          <ac:spMkLst>
            <pc:docMk/>
            <pc:sldMk cId="1709962716" sldId="2147471609"/>
            <ac:spMk id="10" creationId="{235DFD1D-9D15-421B-A8CB-6BE45CD24449}"/>
          </ac:spMkLst>
        </pc:spChg>
        <pc:spChg chg="add mod">
          <ac:chgData name="John Paserba" userId="77bd6c8a-d0c1-4fea-8705-0169f65d0c0e" providerId="ADAL" clId="{A70E4D0B-BA10-405C-ACA4-8528A8C7155D}" dt="2025-07-18T02:52:01.743" v="1117" actId="14100"/>
          <ac:spMkLst>
            <pc:docMk/>
            <pc:sldMk cId="1709962716" sldId="2147471609"/>
            <ac:spMk id="12" creationId="{18D650DC-E6A0-4B09-A945-375BB5EA7A4A}"/>
          </ac:spMkLst>
        </pc:spChg>
        <pc:spChg chg="mod">
          <ac:chgData name="John Paserba" userId="77bd6c8a-d0c1-4fea-8705-0169f65d0c0e" providerId="ADAL" clId="{A70E4D0B-BA10-405C-ACA4-8528A8C7155D}" dt="2025-07-18T02:49:28.876" v="1103" actId="255"/>
          <ac:spMkLst>
            <pc:docMk/>
            <pc:sldMk cId="1709962716" sldId="2147471609"/>
            <ac:spMk id="19" creationId="{00000000-0000-0000-0000-000000000000}"/>
          </ac:spMkLst>
        </pc:spChg>
        <pc:graphicFrameChg chg="modGraphic">
          <ac:chgData name="John Paserba" userId="77bd6c8a-d0c1-4fea-8705-0169f65d0c0e" providerId="ADAL" clId="{A70E4D0B-BA10-405C-ACA4-8528A8C7155D}" dt="2025-07-18T02:48:51.823" v="1100" actId="20577"/>
          <ac:graphicFrameMkLst>
            <pc:docMk/>
            <pc:sldMk cId="1709962716" sldId="2147471609"/>
            <ac:graphicFrameMk id="11" creationId="{F3DED44F-C0EF-4935-A06B-3FC910885FD8}"/>
          </ac:graphicFrameMkLst>
        </pc:graphicFrameChg>
        <pc:picChg chg="add mod modCrop">
          <ac:chgData name="John Paserba" userId="77bd6c8a-d0c1-4fea-8705-0169f65d0c0e" providerId="ADAL" clId="{A70E4D0B-BA10-405C-ACA4-8528A8C7155D}" dt="2025-07-18T02:51:30.073" v="1114" actId="1076"/>
          <ac:picMkLst>
            <pc:docMk/>
            <pc:sldMk cId="1709962716" sldId="2147471609"/>
            <ac:picMk id="2" creationId="{5F5E1C13-4C1D-4A3F-9309-CF259B6797A6}"/>
          </ac:picMkLst>
        </pc:picChg>
      </pc:sldChg>
      <pc:sldChg chg="addSp delSp modSp mod">
        <pc:chgData name="John Paserba" userId="77bd6c8a-d0c1-4fea-8705-0169f65d0c0e" providerId="ADAL" clId="{A70E4D0B-BA10-405C-ACA4-8528A8C7155D}" dt="2025-07-18T04:08:06.402" v="1959"/>
        <pc:sldMkLst>
          <pc:docMk/>
          <pc:sldMk cId="2252215513" sldId="2147471610"/>
        </pc:sldMkLst>
        <pc:spChg chg="del">
          <ac:chgData name="John Paserba" userId="77bd6c8a-d0c1-4fea-8705-0169f65d0c0e" providerId="ADAL" clId="{A70E4D0B-BA10-405C-ACA4-8528A8C7155D}" dt="2025-07-18T03:50:55.876" v="1264" actId="478"/>
          <ac:spMkLst>
            <pc:docMk/>
            <pc:sldMk cId="2252215513" sldId="2147471610"/>
            <ac:spMk id="9" creationId="{6F994D19-3EC1-427D-8766-AAEA012D4C7D}"/>
          </ac:spMkLst>
        </pc:spChg>
        <pc:spChg chg="add mod">
          <ac:chgData name="John Paserba" userId="77bd6c8a-d0c1-4fea-8705-0169f65d0c0e" providerId="ADAL" clId="{A70E4D0B-BA10-405C-ACA4-8528A8C7155D}" dt="2025-07-18T03:58:34.365" v="1514"/>
          <ac:spMkLst>
            <pc:docMk/>
            <pc:sldMk cId="2252215513" sldId="2147471610"/>
            <ac:spMk id="10" creationId="{35CEDD6D-0F1B-4683-8D75-4D4C2D88637C}"/>
          </ac:spMkLst>
        </pc:spChg>
        <pc:spChg chg="add mod">
          <ac:chgData name="John Paserba" userId="77bd6c8a-d0c1-4fea-8705-0169f65d0c0e" providerId="ADAL" clId="{A70E4D0B-BA10-405C-ACA4-8528A8C7155D}" dt="2025-07-18T04:08:06.402" v="1959"/>
          <ac:spMkLst>
            <pc:docMk/>
            <pc:sldMk cId="2252215513" sldId="2147471610"/>
            <ac:spMk id="12" creationId="{877B9D4C-619B-4F38-B85E-1A24DFC150E8}"/>
          </ac:spMkLst>
        </pc:spChg>
        <pc:graphicFrameChg chg="modGraphic">
          <ac:chgData name="John Paserba" userId="77bd6c8a-d0c1-4fea-8705-0169f65d0c0e" providerId="ADAL" clId="{A70E4D0B-BA10-405C-ACA4-8528A8C7155D}" dt="2025-07-18T03:52:56.021" v="1307" actId="20577"/>
          <ac:graphicFrameMkLst>
            <pc:docMk/>
            <pc:sldMk cId="2252215513" sldId="2147471610"/>
            <ac:graphicFrameMk id="11" creationId="{F3DED44F-C0EF-4935-A06B-3FC910885FD8}"/>
          </ac:graphicFrameMkLst>
        </pc:graphicFrameChg>
        <pc:picChg chg="add mod modCrop">
          <ac:chgData name="John Paserba" userId="77bd6c8a-d0c1-4fea-8705-0169f65d0c0e" providerId="ADAL" clId="{A70E4D0B-BA10-405C-ACA4-8528A8C7155D}" dt="2025-07-18T04:00:04.230" v="1524" actId="1076"/>
          <ac:picMkLst>
            <pc:docMk/>
            <pc:sldMk cId="2252215513" sldId="2147471610"/>
            <ac:picMk id="2" creationId="{AAD3BF96-7674-4895-BCFE-7BD3F80DA12A}"/>
          </ac:picMkLst>
        </pc:picChg>
      </pc:sldChg>
      <pc:sldChg chg="modSp mod">
        <pc:chgData name="John Paserba" userId="77bd6c8a-d0c1-4fea-8705-0169f65d0c0e" providerId="ADAL" clId="{A70E4D0B-BA10-405C-ACA4-8528A8C7155D}" dt="2025-07-18T03:33:46.695" v="1120" actId="14100"/>
        <pc:sldMkLst>
          <pc:docMk/>
          <pc:sldMk cId="4056519351" sldId="2147471625"/>
        </pc:sldMkLst>
        <pc:spChg chg="mod">
          <ac:chgData name="John Paserba" userId="77bd6c8a-d0c1-4fea-8705-0169f65d0c0e" providerId="ADAL" clId="{A70E4D0B-BA10-405C-ACA4-8528A8C7155D}" dt="2025-07-18T03:33:46.695" v="1120" actId="14100"/>
          <ac:spMkLst>
            <pc:docMk/>
            <pc:sldMk cId="4056519351" sldId="2147471625"/>
            <ac:spMk id="18" creationId="{19965AA2-BADD-4435-BC54-EE4744F9008B}"/>
          </ac:spMkLst>
        </pc:spChg>
      </pc:sldChg>
      <pc:sldChg chg="addSp delSp modSp mod">
        <pc:chgData name="John Paserba" userId="77bd6c8a-d0c1-4fea-8705-0169f65d0c0e" providerId="ADAL" clId="{A70E4D0B-BA10-405C-ACA4-8528A8C7155D}" dt="2025-07-18T02:47:22.059" v="1092" actId="1076"/>
        <pc:sldMkLst>
          <pc:docMk/>
          <pc:sldMk cId="2953226290" sldId="2147471629"/>
        </pc:sldMkLst>
        <pc:spChg chg="mod">
          <ac:chgData name="John Paserba" userId="77bd6c8a-d0c1-4fea-8705-0169f65d0c0e" providerId="ADAL" clId="{A70E4D0B-BA10-405C-ACA4-8528A8C7155D}" dt="2025-07-18T02:27:41.061" v="699" actId="1076"/>
          <ac:spMkLst>
            <pc:docMk/>
            <pc:sldMk cId="2953226290" sldId="2147471629"/>
            <ac:spMk id="2" creationId="{00000000-0000-0000-0000-000000000000}"/>
          </ac:spMkLst>
        </pc:spChg>
        <pc:spChg chg="del">
          <ac:chgData name="John Paserba" userId="77bd6c8a-d0c1-4fea-8705-0169f65d0c0e" providerId="ADAL" clId="{A70E4D0B-BA10-405C-ACA4-8528A8C7155D}" dt="2025-07-18T02:29:40.693" v="700" actId="478"/>
          <ac:spMkLst>
            <pc:docMk/>
            <pc:sldMk cId="2953226290" sldId="2147471629"/>
            <ac:spMk id="16" creationId="{94FF8F08-3C81-42E6-8741-23810D2A0F27}"/>
          </ac:spMkLst>
        </pc:spChg>
        <pc:spChg chg="del">
          <ac:chgData name="John Paserba" userId="77bd6c8a-d0c1-4fea-8705-0169f65d0c0e" providerId="ADAL" clId="{A70E4D0B-BA10-405C-ACA4-8528A8C7155D}" dt="2025-07-18T02:29:43.476" v="701" actId="478"/>
          <ac:spMkLst>
            <pc:docMk/>
            <pc:sldMk cId="2953226290" sldId="2147471629"/>
            <ac:spMk id="17" creationId="{48E920F5-BB1C-4605-A2C8-43367FE45F53}"/>
          </ac:spMkLst>
        </pc:spChg>
        <pc:spChg chg="add mod">
          <ac:chgData name="John Paserba" userId="77bd6c8a-d0c1-4fea-8705-0169f65d0c0e" providerId="ADAL" clId="{A70E4D0B-BA10-405C-ACA4-8528A8C7155D}" dt="2025-07-18T02:40:20.945" v="836" actId="1076"/>
          <ac:spMkLst>
            <pc:docMk/>
            <pc:sldMk cId="2953226290" sldId="2147471629"/>
            <ac:spMk id="18" creationId="{001272C2-B318-4867-AD72-6500F99E6076}"/>
          </ac:spMkLst>
        </pc:spChg>
        <pc:spChg chg="add mod">
          <ac:chgData name="John Paserba" userId="77bd6c8a-d0c1-4fea-8705-0169f65d0c0e" providerId="ADAL" clId="{A70E4D0B-BA10-405C-ACA4-8528A8C7155D}" dt="2025-07-18T02:35:23.829" v="728"/>
          <ac:spMkLst>
            <pc:docMk/>
            <pc:sldMk cId="2953226290" sldId="2147471629"/>
            <ac:spMk id="19" creationId="{C2312912-4861-495C-A9DA-EC9B1FE7DD0A}"/>
          </ac:spMkLst>
        </pc:spChg>
        <pc:spChg chg="add mod">
          <ac:chgData name="John Paserba" userId="77bd6c8a-d0c1-4fea-8705-0169f65d0c0e" providerId="ADAL" clId="{A70E4D0B-BA10-405C-ACA4-8528A8C7155D}" dt="2025-07-18T02:47:22.059" v="1092" actId="1076"/>
          <ac:spMkLst>
            <pc:docMk/>
            <pc:sldMk cId="2953226290" sldId="2147471629"/>
            <ac:spMk id="20" creationId="{189A933F-61D4-4676-978E-61E2EE1C4EA8}"/>
          </ac:spMkLst>
        </pc:spChg>
        <pc:graphicFrameChg chg="mod">
          <ac:chgData name="John Paserba" userId="77bd6c8a-d0c1-4fea-8705-0169f65d0c0e" providerId="ADAL" clId="{A70E4D0B-BA10-405C-ACA4-8528A8C7155D}" dt="2025-07-18T02:33:34.867" v="723" actId="20577"/>
          <ac:graphicFrameMkLst>
            <pc:docMk/>
            <pc:sldMk cId="2953226290" sldId="2147471629"/>
            <ac:graphicFrameMk id="6" creationId="{00000000-0000-0000-0000-000000000000}"/>
          </ac:graphicFrameMkLst>
        </pc:graphicFrameChg>
        <pc:graphicFrameChg chg="modGraphic">
          <ac:chgData name="John Paserba" userId="77bd6c8a-d0c1-4fea-8705-0169f65d0c0e" providerId="ADAL" clId="{A70E4D0B-BA10-405C-ACA4-8528A8C7155D}" dt="2025-07-18T02:33:01.629" v="709" actId="20577"/>
          <ac:graphicFrameMkLst>
            <pc:docMk/>
            <pc:sldMk cId="2953226290" sldId="2147471629"/>
            <ac:graphicFrameMk id="11" creationId="{00000000-0000-0000-0000-000000000000}"/>
          </ac:graphicFrameMkLst>
        </pc:graphicFrameChg>
      </pc:sldChg>
      <pc:sldChg chg="addSp delSp modSp mod">
        <pc:chgData name="John Paserba" userId="77bd6c8a-d0c1-4fea-8705-0169f65d0c0e" providerId="ADAL" clId="{A70E4D0B-BA10-405C-ACA4-8528A8C7155D}" dt="2025-07-18T04:06:57.536" v="1904" actId="1076"/>
        <pc:sldMkLst>
          <pc:docMk/>
          <pc:sldMk cId="2472254228" sldId="2147471632"/>
        </pc:sldMkLst>
        <pc:spChg chg="mod">
          <ac:chgData name="John Paserba" userId="77bd6c8a-d0c1-4fea-8705-0169f65d0c0e" providerId="ADAL" clId="{A70E4D0B-BA10-405C-ACA4-8528A8C7155D}" dt="2025-07-18T04:06:57.536" v="1904" actId="1076"/>
          <ac:spMkLst>
            <pc:docMk/>
            <pc:sldMk cId="2472254228" sldId="2147471632"/>
            <ac:spMk id="2" creationId="{00000000-0000-0000-0000-000000000000}"/>
          </ac:spMkLst>
        </pc:spChg>
        <pc:spChg chg="del">
          <ac:chgData name="John Paserba" userId="77bd6c8a-d0c1-4fea-8705-0169f65d0c0e" providerId="ADAL" clId="{A70E4D0B-BA10-405C-ACA4-8528A8C7155D}" dt="2025-07-18T03:33:27.005" v="1119" actId="478"/>
          <ac:spMkLst>
            <pc:docMk/>
            <pc:sldMk cId="2472254228" sldId="2147471632"/>
            <ac:spMk id="16" creationId="{5670BE34-48BF-4F78-A55B-62BDDEE3FFF3}"/>
          </ac:spMkLst>
        </pc:spChg>
        <pc:spChg chg="del">
          <ac:chgData name="John Paserba" userId="77bd6c8a-d0c1-4fea-8705-0169f65d0c0e" providerId="ADAL" clId="{A70E4D0B-BA10-405C-ACA4-8528A8C7155D}" dt="2025-07-18T03:33:23.875" v="1118" actId="478"/>
          <ac:spMkLst>
            <pc:docMk/>
            <pc:sldMk cId="2472254228" sldId="2147471632"/>
            <ac:spMk id="17" creationId="{C8B30E92-E481-4100-907A-066F0C93B12E}"/>
          </ac:spMkLst>
        </pc:spChg>
        <pc:spChg chg="add mod">
          <ac:chgData name="John Paserba" userId="77bd6c8a-d0c1-4fea-8705-0169f65d0c0e" providerId="ADAL" clId="{A70E4D0B-BA10-405C-ACA4-8528A8C7155D}" dt="2025-07-18T03:47:42.080" v="1217" actId="1076"/>
          <ac:spMkLst>
            <pc:docMk/>
            <pc:sldMk cId="2472254228" sldId="2147471632"/>
            <ac:spMk id="18" creationId="{323FB5F8-207B-40ED-833E-7E678AFE05FD}"/>
          </ac:spMkLst>
        </pc:spChg>
        <pc:spChg chg="add mod">
          <ac:chgData name="John Paserba" userId="77bd6c8a-d0c1-4fea-8705-0169f65d0c0e" providerId="ADAL" clId="{A70E4D0B-BA10-405C-ACA4-8528A8C7155D}" dt="2025-07-18T03:35:47.754" v="1180" actId="1076"/>
          <ac:spMkLst>
            <pc:docMk/>
            <pc:sldMk cId="2472254228" sldId="2147471632"/>
            <ac:spMk id="20" creationId="{C2C141C1-25CD-426F-955D-A1E66E6C41C1}"/>
          </ac:spMkLst>
        </pc:spChg>
        <pc:spChg chg="add mod">
          <ac:chgData name="John Paserba" userId="77bd6c8a-d0c1-4fea-8705-0169f65d0c0e" providerId="ADAL" clId="{A70E4D0B-BA10-405C-ACA4-8528A8C7155D}" dt="2025-07-18T03:57:45.449" v="1513" actId="14100"/>
          <ac:spMkLst>
            <pc:docMk/>
            <pc:sldMk cId="2472254228" sldId="2147471632"/>
            <ac:spMk id="21" creationId="{E32BA2E3-28DE-4616-AF71-120C8D23C9B0}"/>
          </ac:spMkLst>
        </pc:spChg>
        <pc:graphicFrameChg chg="mod">
          <ac:chgData name="John Paserba" userId="77bd6c8a-d0c1-4fea-8705-0169f65d0c0e" providerId="ADAL" clId="{A70E4D0B-BA10-405C-ACA4-8528A8C7155D}" dt="2025-07-18T03:47:25.692" v="1214"/>
          <ac:graphicFrameMkLst>
            <pc:docMk/>
            <pc:sldMk cId="2472254228" sldId="2147471632"/>
            <ac:graphicFrameMk id="5" creationId="{00000000-0000-0000-0000-000000000000}"/>
          </ac:graphicFrameMkLst>
        </pc:graphicFrameChg>
        <pc:graphicFrameChg chg="mod modGraphic">
          <ac:chgData name="John Paserba" userId="77bd6c8a-d0c1-4fea-8705-0169f65d0c0e" providerId="ADAL" clId="{A70E4D0B-BA10-405C-ACA4-8528A8C7155D}" dt="2025-07-18T03:53:24.556" v="1317" actId="14734"/>
          <ac:graphicFrameMkLst>
            <pc:docMk/>
            <pc:sldMk cId="2472254228" sldId="2147471632"/>
            <ac:graphicFrameMk id="11" creationId="{00000000-0000-0000-0000-000000000000}"/>
          </ac:graphicFrameMkLst>
        </pc:graphicFrameChg>
        <pc:graphicFrameChg chg="mod">
          <ac:chgData name="John Paserba" userId="77bd6c8a-d0c1-4fea-8705-0169f65d0c0e" providerId="ADAL" clId="{A70E4D0B-BA10-405C-ACA4-8528A8C7155D}" dt="2025-07-18T03:52:26.532" v="1285" actId="1076"/>
          <ac:graphicFrameMkLst>
            <pc:docMk/>
            <pc:sldMk cId="2472254228" sldId="2147471632"/>
            <ac:graphicFrameMk id="15" creationId="{69018FA5-0D80-44F6-A17C-B282D097795C}"/>
          </ac:graphicFrameMkLst>
        </pc:graphicFrameChg>
        <pc:graphicFrameChg chg="add del mod">
          <ac:chgData name="John Paserba" userId="77bd6c8a-d0c1-4fea-8705-0169f65d0c0e" providerId="ADAL" clId="{A70E4D0B-BA10-405C-ACA4-8528A8C7155D}" dt="2025-07-18T03:42:16.188" v="1189"/>
          <ac:graphicFrameMkLst>
            <pc:docMk/>
            <pc:sldMk cId="2472254228" sldId="2147471632"/>
            <ac:graphicFrameMk id="22" creationId="{6DFF955B-75E5-479F-9A00-529F77D415E9}"/>
          </ac:graphicFrameMkLst>
        </pc:graphicFrameChg>
      </pc:sldChg>
      <pc:sldChg chg="addSp modSp mod">
        <pc:chgData name="John Paserba" userId="77bd6c8a-d0c1-4fea-8705-0169f65d0c0e" providerId="ADAL" clId="{A70E4D0B-BA10-405C-ACA4-8528A8C7155D}" dt="2025-07-18T04:41:19.109" v="2700" actId="14100"/>
        <pc:sldMkLst>
          <pc:docMk/>
          <pc:sldMk cId="191411695" sldId="2147471642"/>
        </pc:sldMkLst>
        <pc:spChg chg="add mod">
          <ac:chgData name="John Paserba" userId="77bd6c8a-d0c1-4fea-8705-0169f65d0c0e" providerId="ADAL" clId="{A70E4D0B-BA10-405C-ACA4-8528A8C7155D}" dt="2025-07-18T04:41:19.109" v="2700" actId="14100"/>
          <ac:spMkLst>
            <pc:docMk/>
            <pc:sldMk cId="191411695" sldId="2147471642"/>
            <ac:spMk id="13" creationId="{28F2EB60-0571-4CE9-AEBE-AED78A110FB8}"/>
          </ac:spMkLst>
        </pc:spChg>
      </pc:sldChg>
      <pc:sldChg chg="addSp delSp modSp mod">
        <pc:chgData name="John Paserba" userId="77bd6c8a-d0c1-4fea-8705-0169f65d0c0e" providerId="ADAL" clId="{A70E4D0B-BA10-405C-ACA4-8528A8C7155D}" dt="2025-07-18T04:32:10.106" v="2411" actId="27918"/>
        <pc:sldMkLst>
          <pc:docMk/>
          <pc:sldMk cId="2485570784" sldId="2147471643"/>
        </pc:sldMkLst>
        <pc:spChg chg="add mod">
          <ac:chgData name="John Paserba" userId="77bd6c8a-d0c1-4fea-8705-0169f65d0c0e" providerId="ADAL" clId="{A70E4D0B-BA10-405C-ACA4-8528A8C7155D}" dt="2025-07-18T04:18:35.354" v="1984"/>
          <ac:spMkLst>
            <pc:docMk/>
            <pc:sldMk cId="2485570784" sldId="2147471643"/>
            <ac:spMk id="21" creationId="{162F52AD-3BF8-4DA7-9699-1FBCA3F31B22}"/>
          </ac:spMkLst>
        </pc:spChg>
        <pc:spChg chg="del">
          <ac:chgData name="John Paserba" userId="77bd6c8a-d0c1-4fea-8705-0169f65d0c0e" providerId="ADAL" clId="{A70E4D0B-BA10-405C-ACA4-8528A8C7155D}" dt="2025-07-18T04:12:44.222" v="1961" actId="478"/>
          <ac:spMkLst>
            <pc:docMk/>
            <pc:sldMk cId="2485570784" sldId="2147471643"/>
            <ac:spMk id="23" creationId="{6E5ECE97-540E-4758-A8C7-B0EDC932E1B4}"/>
          </ac:spMkLst>
        </pc:spChg>
        <pc:spChg chg="del">
          <ac:chgData name="John Paserba" userId="77bd6c8a-d0c1-4fea-8705-0169f65d0c0e" providerId="ADAL" clId="{A70E4D0B-BA10-405C-ACA4-8528A8C7155D}" dt="2025-07-18T04:12:40.125" v="1960" actId="478"/>
          <ac:spMkLst>
            <pc:docMk/>
            <pc:sldMk cId="2485570784" sldId="2147471643"/>
            <ac:spMk id="24" creationId="{9DE2AE37-976F-4B5E-85BE-A521FF36EE03}"/>
          </ac:spMkLst>
        </pc:spChg>
        <pc:spChg chg="add mod">
          <ac:chgData name="John Paserba" userId="77bd6c8a-d0c1-4fea-8705-0169f65d0c0e" providerId="ADAL" clId="{A70E4D0B-BA10-405C-ACA4-8528A8C7155D}" dt="2025-07-18T04:18:49.438" v="1996" actId="20577"/>
          <ac:spMkLst>
            <pc:docMk/>
            <pc:sldMk cId="2485570784" sldId="2147471643"/>
            <ac:spMk id="25" creationId="{E1E1A783-0B38-4132-95B8-76E20D0673FA}"/>
          </ac:spMkLst>
        </pc:spChg>
        <pc:spChg chg="add del mod">
          <ac:chgData name="John Paserba" userId="77bd6c8a-d0c1-4fea-8705-0169f65d0c0e" providerId="ADAL" clId="{A70E4D0B-BA10-405C-ACA4-8528A8C7155D}" dt="2025-07-18T04:18:45.898" v="1992" actId="478"/>
          <ac:spMkLst>
            <pc:docMk/>
            <pc:sldMk cId="2485570784" sldId="2147471643"/>
            <ac:spMk id="26" creationId="{FB781AE4-248E-4D05-945D-982D5D3CDA1C}"/>
          </ac:spMkLst>
        </pc:spChg>
        <pc:spChg chg="add mod">
          <ac:chgData name="John Paserba" userId="77bd6c8a-d0c1-4fea-8705-0169f65d0c0e" providerId="ADAL" clId="{A70E4D0B-BA10-405C-ACA4-8528A8C7155D}" dt="2025-07-18T04:31:39.825" v="2409" actId="20577"/>
          <ac:spMkLst>
            <pc:docMk/>
            <pc:sldMk cId="2485570784" sldId="2147471643"/>
            <ac:spMk id="27" creationId="{756418B6-D77C-49FB-82D0-449E1514005D}"/>
          </ac:spMkLst>
        </pc:spChg>
        <pc:graphicFrameChg chg="mod">
          <ac:chgData name="John Paserba" userId="77bd6c8a-d0c1-4fea-8705-0169f65d0c0e" providerId="ADAL" clId="{A70E4D0B-BA10-405C-ACA4-8528A8C7155D}" dt="2025-07-18T04:29:09.221" v="2361"/>
          <ac:graphicFrameMkLst>
            <pc:docMk/>
            <pc:sldMk cId="2485570784" sldId="2147471643"/>
            <ac:graphicFrameMk id="16" creationId="{A9B09697-6D04-4AED-B8DA-7964DF323193}"/>
          </ac:graphicFrameMkLst>
        </pc:graphicFrameChg>
        <pc:graphicFrameChg chg="mod">
          <ac:chgData name="John Paserba" userId="77bd6c8a-d0c1-4fea-8705-0169f65d0c0e" providerId="ADAL" clId="{A70E4D0B-BA10-405C-ACA4-8528A8C7155D}" dt="2025-07-18T04:15:17.714" v="1979" actId="20577"/>
          <ac:graphicFrameMkLst>
            <pc:docMk/>
            <pc:sldMk cId="2485570784" sldId="2147471643"/>
            <ac:graphicFrameMk id="17" creationId="{92E26C94-F162-4B18-8B6C-AF382DB389C3}"/>
          </ac:graphicFrameMkLst>
        </pc:graphicFrameChg>
        <pc:graphicFrameChg chg="modGraphic">
          <ac:chgData name="John Paserba" userId="77bd6c8a-d0c1-4fea-8705-0169f65d0c0e" providerId="ADAL" clId="{A70E4D0B-BA10-405C-ACA4-8528A8C7155D}" dt="2025-07-18T04:15:30.593" v="1983" actId="20577"/>
          <ac:graphicFrameMkLst>
            <pc:docMk/>
            <pc:sldMk cId="2485570784" sldId="2147471643"/>
            <ac:graphicFrameMk id="22" creationId="{44E69467-56B4-473E-AA04-9341F5A64D36}"/>
          </ac:graphicFrameMkLst>
        </pc:graphicFrameChg>
      </pc:sldChg>
      <pc:sldChg chg="addSp modSp mod">
        <pc:chgData name="John Paserba" userId="77bd6c8a-d0c1-4fea-8705-0169f65d0c0e" providerId="ADAL" clId="{A70E4D0B-BA10-405C-ACA4-8528A8C7155D}" dt="2025-07-18T04:34:07.370" v="2538" actId="14100"/>
        <pc:sldMkLst>
          <pc:docMk/>
          <pc:sldMk cId="2163309065" sldId="2147471644"/>
        </pc:sldMkLst>
        <pc:spChg chg="add mod">
          <ac:chgData name="John Paserba" userId="77bd6c8a-d0c1-4fea-8705-0169f65d0c0e" providerId="ADAL" clId="{A70E4D0B-BA10-405C-ACA4-8528A8C7155D}" dt="2025-07-18T04:34:07.370" v="2538" actId="14100"/>
          <ac:spMkLst>
            <pc:docMk/>
            <pc:sldMk cId="2163309065" sldId="2147471644"/>
            <ac:spMk id="7" creationId="{B25E2F5E-3873-48F5-883C-C22B59C4FE3A}"/>
          </ac:spMkLst>
        </pc:spChg>
      </pc:sldChg>
      <pc:sldChg chg="addSp modSp mod">
        <pc:chgData name="John Paserba" userId="77bd6c8a-d0c1-4fea-8705-0169f65d0c0e" providerId="ADAL" clId="{A70E4D0B-BA10-405C-ACA4-8528A8C7155D}" dt="2025-07-18T02:14:17.632" v="190" actId="14100"/>
        <pc:sldMkLst>
          <pc:docMk/>
          <pc:sldMk cId="2283321829" sldId="2147471649"/>
        </pc:sldMkLst>
        <pc:spChg chg="add mod">
          <ac:chgData name="John Paserba" userId="77bd6c8a-d0c1-4fea-8705-0169f65d0c0e" providerId="ADAL" clId="{A70E4D0B-BA10-405C-ACA4-8528A8C7155D}" dt="2025-07-18T02:14:17.632" v="190" actId="14100"/>
          <ac:spMkLst>
            <pc:docMk/>
            <pc:sldMk cId="2283321829" sldId="2147471649"/>
            <ac:spMk id="6" creationId="{7EEBDDF9-60B0-4FFF-9754-EA7DF086357E}"/>
          </ac:spMkLst>
        </pc:spChg>
      </pc:sldChg>
      <pc:sldChg chg="addSp modSp mod">
        <pc:chgData name="John Paserba" userId="77bd6c8a-d0c1-4fea-8705-0169f65d0c0e" providerId="ADAL" clId="{A70E4D0B-BA10-405C-ACA4-8528A8C7155D}" dt="2025-07-18T02:20:54.397" v="571" actId="20577"/>
        <pc:sldMkLst>
          <pc:docMk/>
          <pc:sldMk cId="4216810556" sldId="2147471650"/>
        </pc:sldMkLst>
        <pc:spChg chg="add mod">
          <ac:chgData name="John Paserba" userId="77bd6c8a-d0c1-4fea-8705-0169f65d0c0e" providerId="ADAL" clId="{A70E4D0B-BA10-405C-ACA4-8528A8C7155D}" dt="2025-07-18T02:20:54.397" v="571" actId="20577"/>
          <ac:spMkLst>
            <pc:docMk/>
            <pc:sldMk cId="4216810556" sldId="2147471650"/>
            <ac:spMk id="7" creationId="{4F7748AE-36C5-4A5A-9EE1-386C1BABCFFD}"/>
          </ac:spMkLst>
        </pc:spChg>
      </pc:sldChg>
      <pc:sldChg chg="addSp modSp mod">
        <pc:chgData name="John Paserba" userId="77bd6c8a-d0c1-4fea-8705-0169f65d0c0e" providerId="ADAL" clId="{A70E4D0B-BA10-405C-ACA4-8528A8C7155D}" dt="2025-07-18T03:49:02.992" v="1236" actId="14100"/>
        <pc:sldMkLst>
          <pc:docMk/>
          <pc:sldMk cId="889899731" sldId="2147471651"/>
        </pc:sldMkLst>
        <pc:spChg chg="add mod">
          <ac:chgData name="John Paserba" userId="77bd6c8a-d0c1-4fea-8705-0169f65d0c0e" providerId="ADAL" clId="{A70E4D0B-BA10-405C-ACA4-8528A8C7155D}" dt="2025-07-18T03:49:02.992" v="1236" actId="14100"/>
          <ac:spMkLst>
            <pc:docMk/>
            <pc:sldMk cId="889899731" sldId="2147471651"/>
            <ac:spMk id="7" creationId="{D9CD20AD-ECD8-4A7A-A2C9-96F7D666A49A}"/>
          </ac:spMkLst>
        </pc:spChg>
      </pc:sldChg>
      <pc:sldChg chg="addSp delSp modSp mod">
        <pc:chgData name="John Paserba" userId="77bd6c8a-d0c1-4fea-8705-0169f65d0c0e" providerId="ADAL" clId="{A70E4D0B-BA10-405C-ACA4-8528A8C7155D}" dt="2025-07-18T04:07:53.721" v="1958" actId="20577"/>
        <pc:sldMkLst>
          <pc:docMk/>
          <pc:sldMk cId="2303667209" sldId="2147471657"/>
        </pc:sldMkLst>
        <pc:spChg chg="del">
          <ac:chgData name="John Paserba" userId="77bd6c8a-d0c1-4fea-8705-0169f65d0c0e" providerId="ADAL" clId="{A70E4D0B-BA10-405C-ACA4-8528A8C7155D}" dt="2025-07-18T04:01:46.066" v="1525" actId="478"/>
          <ac:spMkLst>
            <pc:docMk/>
            <pc:sldMk cId="2303667209" sldId="2147471657"/>
            <ac:spMk id="13" creationId="{DA44CFDB-5F0F-4A24-85D5-FECE733F197D}"/>
          </ac:spMkLst>
        </pc:spChg>
        <pc:spChg chg="add mod">
          <ac:chgData name="John Paserba" userId="77bd6c8a-d0c1-4fea-8705-0169f65d0c0e" providerId="ADAL" clId="{A70E4D0B-BA10-405C-ACA4-8528A8C7155D}" dt="2025-07-18T04:07:53.721" v="1958" actId="20577"/>
          <ac:spMkLst>
            <pc:docMk/>
            <pc:sldMk cId="2303667209" sldId="2147471657"/>
            <ac:spMk id="14" creationId="{2B146BD0-9AC2-472C-8B03-27E9DD410F4E}"/>
          </ac:spMkLst>
        </pc:spChg>
      </pc:sldChg>
      <pc:sldChg chg="del">
        <pc:chgData name="John Paserba" userId="77bd6c8a-d0c1-4fea-8705-0169f65d0c0e" providerId="ADAL" clId="{A70E4D0B-BA10-405C-ACA4-8528A8C7155D}" dt="2025-07-18T04:01:51.222" v="1526" actId="47"/>
        <pc:sldMkLst>
          <pc:docMk/>
          <pc:sldMk cId="3025975963" sldId="2147471658"/>
        </pc:sldMkLst>
      </pc:sldChg>
      <pc:sldChg chg="del">
        <pc:chgData name="John Paserba" userId="77bd6c8a-d0c1-4fea-8705-0169f65d0c0e" providerId="ADAL" clId="{A70E4D0B-BA10-405C-ACA4-8528A8C7155D}" dt="2025-07-18T04:01:53.564" v="1528" actId="47"/>
        <pc:sldMkLst>
          <pc:docMk/>
          <pc:sldMk cId="1322540154" sldId="2147471661"/>
        </pc:sldMkLst>
      </pc:sldChg>
      <pc:sldChg chg="addSp modSp mod">
        <pc:chgData name="John Paserba" userId="77bd6c8a-d0c1-4fea-8705-0169f65d0c0e" providerId="ADAL" clId="{A70E4D0B-BA10-405C-ACA4-8528A8C7155D}" dt="2025-07-18T02:26:30.100" v="697" actId="1076"/>
        <pc:sldMkLst>
          <pc:docMk/>
          <pc:sldMk cId="2771696798" sldId="2147471691"/>
        </pc:sldMkLst>
        <pc:spChg chg="add mod">
          <ac:chgData name="John Paserba" userId="77bd6c8a-d0c1-4fea-8705-0169f65d0c0e" providerId="ADAL" clId="{A70E4D0B-BA10-405C-ACA4-8528A8C7155D}" dt="2025-07-18T02:26:30.100" v="697" actId="1076"/>
          <ac:spMkLst>
            <pc:docMk/>
            <pc:sldMk cId="2771696798" sldId="2147471691"/>
            <ac:spMk id="10" creationId="{A4F400A0-B31D-4252-A656-F998A21FDAB7}"/>
          </ac:spMkLst>
        </pc:spChg>
        <pc:spChg chg="add mod">
          <ac:chgData name="John Paserba" userId="77bd6c8a-d0c1-4fea-8705-0169f65d0c0e" providerId="ADAL" clId="{A70E4D0B-BA10-405C-ACA4-8528A8C7155D}" dt="2025-07-18T02:26:26.521" v="696" actId="1036"/>
          <ac:spMkLst>
            <pc:docMk/>
            <pc:sldMk cId="2771696798" sldId="2147471691"/>
            <ac:spMk id="12" creationId="{ABAFF0A8-60BA-4A68-9347-FDE05AAE0FBA}"/>
          </ac:spMkLst>
        </pc:spChg>
        <pc:graphicFrameChg chg="add mod modGraphic">
          <ac:chgData name="John Paserba" userId="77bd6c8a-d0c1-4fea-8705-0169f65d0c0e" providerId="ADAL" clId="{A70E4D0B-BA10-405C-ACA4-8528A8C7155D}" dt="2025-07-18T02:24:38.470" v="625" actId="1035"/>
          <ac:graphicFrameMkLst>
            <pc:docMk/>
            <pc:sldMk cId="2771696798" sldId="2147471691"/>
            <ac:graphicFrameMk id="8" creationId="{39582B85-799D-4E35-8AE9-7E03151716A4}"/>
          </ac:graphicFrameMkLst>
        </pc:graphicFrameChg>
        <pc:picChg chg="mod">
          <ac:chgData name="John Paserba" userId="77bd6c8a-d0c1-4fea-8705-0169f65d0c0e" providerId="ADAL" clId="{A70E4D0B-BA10-405C-ACA4-8528A8C7155D}" dt="2025-07-18T02:25:39.041" v="659" actId="732"/>
          <ac:picMkLst>
            <pc:docMk/>
            <pc:sldMk cId="2771696798" sldId="2147471691"/>
            <ac:picMk id="1026" creationId="{F9F81944-E741-3BA8-9CFA-A03B893FE786}"/>
          </ac:picMkLst>
        </pc:picChg>
      </pc:sldChg>
      <pc:sldChg chg="addSp delSp modSp add mod">
        <pc:chgData name="John Paserba" userId="77bd6c8a-d0c1-4fea-8705-0169f65d0c0e" providerId="ADAL" clId="{A70E4D0B-BA10-405C-ACA4-8528A8C7155D}" dt="2025-07-18T02:17:34.883" v="392" actId="1076"/>
        <pc:sldMkLst>
          <pc:docMk/>
          <pc:sldMk cId="3996962301" sldId="2147471706"/>
        </pc:sldMkLst>
        <pc:spChg chg="del">
          <ac:chgData name="John Paserba" userId="77bd6c8a-d0c1-4fea-8705-0169f65d0c0e" providerId="ADAL" clId="{A70E4D0B-BA10-405C-ACA4-8528A8C7155D}" dt="2025-07-18T02:14:37.429" v="192" actId="478"/>
          <ac:spMkLst>
            <pc:docMk/>
            <pc:sldMk cId="3996962301" sldId="2147471706"/>
            <ac:spMk id="3" creationId="{E6993746-A424-4F09-867F-B919F4E18ECB}"/>
          </ac:spMkLst>
        </pc:spChg>
        <pc:spChg chg="mod">
          <ac:chgData name="John Paserba" userId="77bd6c8a-d0c1-4fea-8705-0169f65d0c0e" providerId="ADAL" clId="{A70E4D0B-BA10-405C-ACA4-8528A8C7155D}" dt="2025-07-18T02:16:19.394" v="373" actId="1076"/>
          <ac:spMkLst>
            <pc:docMk/>
            <pc:sldMk cId="3996962301" sldId="2147471706"/>
            <ac:spMk id="6" creationId="{7EEBDDF9-60B0-4FFF-9754-EA7DF086357E}"/>
          </ac:spMkLst>
        </pc:spChg>
        <pc:spChg chg="add del mod">
          <ac:chgData name="John Paserba" userId="77bd6c8a-d0c1-4fea-8705-0169f65d0c0e" providerId="ADAL" clId="{A70E4D0B-BA10-405C-ACA4-8528A8C7155D}" dt="2025-07-18T02:14:40.185" v="193" actId="478"/>
          <ac:spMkLst>
            <pc:docMk/>
            <pc:sldMk cId="3996962301" sldId="2147471706"/>
            <ac:spMk id="7" creationId="{6FCD416B-875A-4BA3-9716-86CCE3384D1F}"/>
          </ac:spMkLst>
        </pc:spChg>
        <pc:spChg chg="add mod">
          <ac:chgData name="John Paserba" userId="77bd6c8a-d0c1-4fea-8705-0169f65d0c0e" providerId="ADAL" clId="{A70E4D0B-BA10-405C-ACA4-8528A8C7155D}" dt="2025-07-18T02:17:34.883" v="392" actId="1076"/>
          <ac:spMkLst>
            <pc:docMk/>
            <pc:sldMk cId="3996962301" sldId="2147471706"/>
            <ac:spMk id="9" creationId="{F17936EC-A727-45A7-8BE9-824CFC677F0F}"/>
          </ac:spMkLst>
        </pc:spChg>
        <pc:spChg chg="add del mod">
          <ac:chgData name="John Paserba" userId="77bd6c8a-d0c1-4fea-8705-0169f65d0c0e" providerId="ADAL" clId="{A70E4D0B-BA10-405C-ACA4-8528A8C7155D}" dt="2025-07-18T02:16:53.447" v="379"/>
          <ac:spMkLst>
            <pc:docMk/>
            <pc:sldMk cId="3996962301" sldId="2147471706"/>
            <ac:spMk id="11" creationId="{7A8839F1-31E9-4D9F-98A4-A468E64D9F81}"/>
          </ac:spMkLst>
        </pc:spChg>
        <pc:spChg chg="add del mod">
          <ac:chgData name="John Paserba" userId="77bd6c8a-d0c1-4fea-8705-0169f65d0c0e" providerId="ADAL" clId="{A70E4D0B-BA10-405C-ACA4-8528A8C7155D}" dt="2025-07-18T02:16:53.447" v="379"/>
          <ac:spMkLst>
            <pc:docMk/>
            <pc:sldMk cId="3996962301" sldId="2147471706"/>
            <ac:spMk id="13" creationId="{D55DA53B-E916-4215-808C-2B78F5039D7F}"/>
          </ac:spMkLst>
        </pc:spChg>
        <pc:spChg chg="add del mod">
          <ac:chgData name="John Paserba" userId="77bd6c8a-d0c1-4fea-8705-0169f65d0c0e" providerId="ADAL" clId="{A70E4D0B-BA10-405C-ACA4-8528A8C7155D}" dt="2025-07-18T02:16:53.447" v="379"/>
          <ac:spMkLst>
            <pc:docMk/>
            <pc:sldMk cId="3996962301" sldId="2147471706"/>
            <ac:spMk id="14" creationId="{905C0D9A-415A-48A8-8453-B75B4A0B5865}"/>
          </ac:spMkLst>
        </pc:spChg>
        <pc:spChg chg="add del mod">
          <ac:chgData name="John Paserba" userId="77bd6c8a-d0c1-4fea-8705-0169f65d0c0e" providerId="ADAL" clId="{A70E4D0B-BA10-405C-ACA4-8528A8C7155D}" dt="2025-07-18T02:16:53.447" v="379"/>
          <ac:spMkLst>
            <pc:docMk/>
            <pc:sldMk cId="3996962301" sldId="2147471706"/>
            <ac:spMk id="15" creationId="{6234826B-57E5-4BFB-899E-9507D056E120}"/>
          </ac:spMkLst>
        </pc:spChg>
        <pc:spChg chg="add del mod">
          <ac:chgData name="John Paserba" userId="77bd6c8a-d0c1-4fea-8705-0169f65d0c0e" providerId="ADAL" clId="{A70E4D0B-BA10-405C-ACA4-8528A8C7155D}" dt="2025-07-18T02:16:53.447" v="379"/>
          <ac:spMkLst>
            <pc:docMk/>
            <pc:sldMk cId="3996962301" sldId="2147471706"/>
            <ac:spMk id="16" creationId="{A3F42019-A59A-4722-A0F9-E203A951F45C}"/>
          </ac:spMkLst>
        </pc:spChg>
        <pc:spChg chg="add del mod">
          <ac:chgData name="John Paserba" userId="77bd6c8a-d0c1-4fea-8705-0169f65d0c0e" providerId="ADAL" clId="{A70E4D0B-BA10-405C-ACA4-8528A8C7155D}" dt="2025-07-18T02:16:53.447" v="379"/>
          <ac:spMkLst>
            <pc:docMk/>
            <pc:sldMk cId="3996962301" sldId="2147471706"/>
            <ac:spMk id="21" creationId="{6418046C-8AE9-43A5-8EAE-CFB2331BB4B6}"/>
          </ac:spMkLst>
        </pc:spChg>
        <pc:spChg chg="add del mod">
          <ac:chgData name="John Paserba" userId="77bd6c8a-d0c1-4fea-8705-0169f65d0c0e" providerId="ADAL" clId="{A70E4D0B-BA10-405C-ACA4-8528A8C7155D}" dt="2025-07-18T02:16:53.447" v="379"/>
          <ac:spMkLst>
            <pc:docMk/>
            <pc:sldMk cId="3996962301" sldId="2147471706"/>
            <ac:spMk id="22" creationId="{E0F1A6D8-20EA-4417-9B15-E85EB756FACA}"/>
          </ac:spMkLst>
        </pc:spChg>
        <pc:spChg chg="add del mod">
          <ac:chgData name="John Paserba" userId="77bd6c8a-d0c1-4fea-8705-0169f65d0c0e" providerId="ADAL" clId="{A70E4D0B-BA10-405C-ACA4-8528A8C7155D}" dt="2025-07-18T02:16:53.447" v="379"/>
          <ac:spMkLst>
            <pc:docMk/>
            <pc:sldMk cId="3996962301" sldId="2147471706"/>
            <ac:spMk id="23" creationId="{AF4DA171-5BBB-47DD-BF72-543B6D72292E}"/>
          </ac:spMkLst>
        </pc:spChg>
        <pc:spChg chg="add del mod">
          <ac:chgData name="John Paserba" userId="77bd6c8a-d0c1-4fea-8705-0169f65d0c0e" providerId="ADAL" clId="{A70E4D0B-BA10-405C-ACA4-8528A8C7155D}" dt="2025-07-18T02:16:53.447" v="379"/>
          <ac:spMkLst>
            <pc:docMk/>
            <pc:sldMk cId="3996962301" sldId="2147471706"/>
            <ac:spMk id="24" creationId="{2514B830-ED35-4C9A-9DB9-2C60ED81C481}"/>
          </ac:spMkLst>
        </pc:spChg>
        <pc:spChg chg="add mod">
          <ac:chgData name="John Paserba" userId="77bd6c8a-d0c1-4fea-8705-0169f65d0c0e" providerId="ADAL" clId="{A70E4D0B-BA10-405C-ACA4-8528A8C7155D}" dt="2025-07-18T02:17:26.092" v="388" actId="14100"/>
          <ac:spMkLst>
            <pc:docMk/>
            <pc:sldMk cId="3996962301" sldId="2147471706"/>
            <ac:spMk id="32" creationId="{A5594DAA-2BBD-46B3-9AA9-08B5F051964F}"/>
          </ac:spMkLst>
        </pc:spChg>
        <pc:spChg chg="add mod">
          <ac:chgData name="John Paserba" userId="77bd6c8a-d0c1-4fea-8705-0169f65d0c0e" providerId="ADAL" clId="{A70E4D0B-BA10-405C-ACA4-8528A8C7155D}" dt="2025-07-18T02:17:29.093" v="389" actId="1076"/>
          <ac:spMkLst>
            <pc:docMk/>
            <pc:sldMk cId="3996962301" sldId="2147471706"/>
            <ac:spMk id="33" creationId="{E8F1E236-4504-4F5F-BC9A-4580A6ADE3F9}"/>
          </ac:spMkLst>
        </pc:spChg>
        <pc:spChg chg="mod">
          <ac:chgData name="John Paserba" userId="77bd6c8a-d0c1-4fea-8705-0169f65d0c0e" providerId="ADAL" clId="{A70E4D0B-BA10-405C-ACA4-8528A8C7155D}" dt="2025-07-18T02:15:21.935" v="367" actId="20577"/>
          <ac:spMkLst>
            <pc:docMk/>
            <pc:sldMk cId="3996962301" sldId="2147471706"/>
            <ac:spMk id="3328002" creationId="{00000000-0000-0000-0000-000000000000}"/>
          </ac:spMkLst>
        </pc:spChg>
        <pc:picChg chg="add ord">
          <ac:chgData name="John Paserba" userId="77bd6c8a-d0c1-4fea-8705-0169f65d0c0e" providerId="ADAL" clId="{A70E4D0B-BA10-405C-ACA4-8528A8C7155D}" dt="2025-07-18T02:16:08.433" v="369" actId="167"/>
          <ac:picMkLst>
            <pc:docMk/>
            <pc:sldMk cId="3996962301" sldId="2147471706"/>
            <ac:picMk id="8" creationId="{96F6A5DC-6A55-428F-9C73-56D0546F5177}"/>
          </ac:picMkLst>
        </pc:picChg>
        <pc:cxnChg chg="add del mod">
          <ac:chgData name="John Paserba" userId="77bd6c8a-d0c1-4fea-8705-0169f65d0c0e" providerId="ADAL" clId="{A70E4D0B-BA10-405C-ACA4-8528A8C7155D}" dt="2025-07-18T02:16:53.447" v="379"/>
          <ac:cxnSpMkLst>
            <pc:docMk/>
            <pc:sldMk cId="3996962301" sldId="2147471706"/>
            <ac:cxnSpMk id="12" creationId="{5204A123-16BD-4C2F-9F9C-10B7E62AC20A}"/>
          </ac:cxnSpMkLst>
        </pc:cxnChg>
        <pc:cxnChg chg="add del mod">
          <ac:chgData name="John Paserba" userId="77bd6c8a-d0c1-4fea-8705-0169f65d0c0e" providerId="ADAL" clId="{A70E4D0B-BA10-405C-ACA4-8528A8C7155D}" dt="2025-07-18T02:16:53.447" v="379"/>
          <ac:cxnSpMkLst>
            <pc:docMk/>
            <pc:sldMk cId="3996962301" sldId="2147471706"/>
            <ac:cxnSpMk id="17" creationId="{2AF09281-3B2D-4CD9-9DEC-D85733510AC0}"/>
          </ac:cxnSpMkLst>
        </pc:cxnChg>
        <pc:cxnChg chg="add del mod">
          <ac:chgData name="John Paserba" userId="77bd6c8a-d0c1-4fea-8705-0169f65d0c0e" providerId="ADAL" clId="{A70E4D0B-BA10-405C-ACA4-8528A8C7155D}" dt="2025-07-18T02:16:53.447" v="379"/>
          <ac:cxnSpMkLst>
            <pc:docMk/>
            <pc:sldMk cId="3996962301" sldId="2147471706"/>
            <ac:cxnSpMk id="18" creationId="{6EE3AB5B-4C6A-4C5E-B969-F49C7ECF5646}"/>
          </ac:cxnSpMkLst>
        </pc:cxnChg>
        <pc:cxnChg chg="add del mod">
          <ac:chgData name="John Paserba" userId="77bd6c8a-d0c1-4fea-8705-0169f65d0c0e" providerId="ADAL" clId="{A70E4D0B-BA10-405C-ACA4-8528A8C7155D}" dt="2025-07-18T02:16:53.447" v="379"/>
          <ac:cxnSpMkLst>
            <pc:docMk/>
            <pc:sldMk cId="3996962301" sldId="2147471706"/>
            <ac:cxnSpMk id="19" creationId="{11A37FDF-0358-447A-93B1-E948E8135278}"/>
          </ac:cxnSpMkLst>
        </pc:cxnChg>
        <pc:cxnChg chg="add del mod">
          <ac:chgData name="John Paserba" userId="77bd6c8a-d0c1-4fea-8705-0169f65d0c0e" providerId="ADAL" clId="{A70E4D0B-BA10-405C-ACA4-8528A8C7155D}" dt="2025-07-18T02:16:53.447" v="379"/>
          <ac:cxnSpMkLst>
            <pc:docMk/>
            <pc:sldMk cId="3996962301" sldId="2147471706"/>
            <ac:cxnSpMk id="20" creationId="{29305607-2EC3-4FE1-8781-0E0A42D2D631}"/>
          </ac:cxnSpMkLst>
        </pc:cxnChg>
        <pc:cxnChg chg="add del mod">
          <ac:chgData name="John Paserba" userId="77bd6c8a-d0c1-4fea-8705-0169f65d0c0e" providerId="ADAL" clId="{A70E4D0B-BA10-405C-ACA4-8528A8C7155D}" dt="2025-07-18T02:16:53.447" v="379"/>
          <ac:cxnSpMkLst>
            <pc:docMk/>
            <pc:sldMk cId="3996962301" sldId="2147471706"/>
            <ac:cxnSpMk id="25" creationId="{86FC330E-3B68-4D22-B497-7B2BDC3F13EF}"/>
          </ac:cxnSpMkLst>
        </pc:cxnChg>
        <pc:cxnChg chg="add del mod">
          <ac:chgData name="John Paserba" userId="77bd6c8a-d0c1-4fea-8705-0169f65d0c0e" providerId="ADAL" clId="{A70E4D0B-BA10-405C-ACA4-8528A8C7155D}" dt="2025-07-18T02:16:53.447" v="379"/>
          <ac:cxnSpMkLst>
            <pc:docMk/>
            <pc:sldMk cId="3996962301" sldId="2147471706"/>
            <ac:cxnSpMk id="26" creationId="{0E01E8FE-C724-4953-B23C-0CF5AA7968FB}"/>
          </ac:cxnSpMkLst>
        </pc:cxnChg>
        <pc:cxnChg chg="add del mod">
          <ac:chgData name="John Paserba" userId="77bd6c8a-d0c1-4fea-8705-0169f65d0c0e" providerId="ADAL" clId="{A70E4D0B-BA10-405C-ACA4-8528A8C7155D}" dt="2025-07-18T02:16:53.447" v="379"/>
          <ac:cxnSpMkLst>
            <pc:docMk/>
            <pc:sldMk cId="3996962301" sldId="2147471706"/>
            <ac:cxnSpMk id="27" creationId="{34F79D4A-C5F8-4F89-AF7C-1B7DBF6FFF2F}"/>
          </ac:cxnSpMkLst>
        </pc:cxnChg>
        <pc:cxnChg chg="add del mod">
          <ac:chgData name="John Paserba" userId="77bd6c8a-d0c1-4fea-8705-0169f65d0c0e" providerId="ADAL" clId="{A70E4D0B-BA10-405C-ACA4-8528A8C7155D}" dt="2025-07-18T02:16:53.447" v="379"/>
          <ac:cxnSpMkLst>
            <pc:docMk/>
            <pc:sldMk cId="3996962301" sldId="2147471706"/>
            <ac:cxnSpMk id="28" creationId="{8FECFC74-8268-447C-BF54-8F541C9C937E}"/>
          </ac:cxnSpMkLst>
        </pc:cxnChg>
        <pc:cxnChg chg="add del mod">
          <ac:chgData name="John Paserba" userId="77bd6c8a-d0c1-4fea-8705-0169f65d0c0e" providerId="ADAL" clId="{A70E4D0B-BA10-405C-ACA4-8528A8C7155D}" dt="2025-07-18T02:16:53.447" v="379"/>
          <ac:cxnSpMkLst>
            <pc:docMk/>
            <pc:sldMk cId="3996962301" sldId="2147471706"/>
            <ac:cxnSpMk id="29" creationId="{ACAD62EF-C786-4D73-8D20-36F3925C5D7A}"/>
          </ac:cxnSpMkLst>
        </pc:cxnChg>
        <pc:cxnChg chg="add del mod">
          <ac:chgData name="John Paserba" userId="77bd6c8a-d0c1-4fea-8705-0169f65d0c0e" providerId="ADAL" clId="{A70E4D0B-BA10-405C-ACA4-8528A8C7155D}" dt="2025-07-18T02:16:53.447" v="379"/>
          <ac:cxnSpMkLst>
            <pc:docMk/>
            <pc:sldMk cId="3996962301" sldId="2147471706"/>
            <ac:cxnSpMk id="30" creationId="{D9286806-57ED-4B28-94CF-721BB6BF4E71}"/>
          </ac:cxnSpMkLst>
        </pc:cxnChg>
        <pc:cxnChg chg="add del mod">
          <ac:chgData name="John Paserba" userId="77bd6c8a-d0c1-4fea-8705-0169f65d0c0e" providerId="ADAL" clId="{A70E4D0B-BA10-405C-ACA4-8528A8C7155D}" dt="2025-07-18T02:16:53.447" v="379"/>
          <ac:cxnSpMkLst>
            <pc:docMk/>
            <pc:sldMk cId="3996962301" sldId="2147471706"/>
            <ac:cxnSpMk id="31" creationId="{B21B939C-1191-407A-A170-716B534374B6}"/>
          </ac:cxnSpMkLst>
        </pc:cxnChg>
      </pc:sldChg>
      <pc:sldChg chg="addSp delSp modSp add mod">
        <pc:chgData name="John Paserba" userId="77bd6c8a-d0c1-4fea-8705-0169f65d0c0e" providerId="ADAL" clId="{A70E4D0B-BA10-405C-ACA4-8528A8C7155D}" dt="2025-07-18T04:06:17.234" v="1902" actId="1076"/>
        <pc:sldMkLst>
          <pc:docMk/>
          <pc:sldMk cId="3300707688" sldId="2147471707"/>
        </pc:sldMkLst>
        <pc:spChg chg="mod">
          <ac:chgData name="John Paserba" userId="77bd6c8a-d0c1-4fea-8705-0169f65d0c0e" providerId="ADAL" clId="{A70E4D0B-BA10-405C-ACA4-8528A8C7155D}" dt="2025-07-18T04:06:17.234" v="1902" actId="1076"/>
          <ac:spMkLst>
            <pc:docMk/>
            <pc:sldMk cId="3300707688" sldId="2147471707"/>
            <ac:spMk id="6" creationId="{7EEBDDF9-60B0-4FFF-9754-EA7DF086357E}"/>
          </ac:spMkLst>
        </pc:spChg>
        <pc:spChg chg="del">
          <ac:chgData name="John Paserba" userId="77bd6c8a-d0c1-4fea-8705-0169f65d0c0e" providerId="ADAL" clId="{A70E4D0B-BA10-405C-ACA4-8528A8C7155D}" dt="2025-07-18T04:03:51.032" v="1656" actId="478"/>
          <ac:spMkLst>
            <pc:docMk/>
            <pc:sldMk cId="3300707688" sldId="2147471707"/>
            <ac:spMk id="9" creationId="{F17936EC-A727-45A7-8BE9-824CFC677F0F}"/>
          </ac:spMkLst>
        </pc:spChg>
        <pc:spChg chg="del">
          <ac:chgData name="John Paserba" userId="77bd6c8a-d0c1-4fea-8705-0169f65d0c0e" providerId="ADAL" clId="{A70E4D0B-BA10-405C-ACA4-8528A8C7155D}" dt="2025-07-18T04:03:51.032" v="1656" actId="478"/>
          <ac:spMkLst>
            <pc:docMk/>
            <pc:sldMk cId="3300707688" sldId="2147471707"/>
            <ac:spMk id="32" creationId="{A5594DAA-2BBD-46B3-9AA9-08B5F051964F}"/>
          </ac:spMkLst>
        </pc:spChg>
        <pc:spChg chg="del">
          <ac:chgData name="John Paserba" userId="77bd6c8a-d0c1-4fea-8705-0169f65d0c0e" providerId="ADAL" clId="{A70E4D0B-BA10-405C-ACA4-8528A8C7155D}" dt="2025-07-18T04:03:51.032" v="1656" actId="478"/>
          <ac:spMkLst>
            <pc:docMk/>
            <pc:sldMk cId="3300707688" sldId="2147471707"/>
            <ac:spMk id="33" creationId="{E8F1E236-4504-4F5F-BC9A-4580A6ADE3F9}"/>
          </ac:spMkLst>
        </pc:spChg>
        <pc:spChg chg="mod">
          <ac:chgData name="John Paserba" userId="77bd6c8a-d0c1-4fea-8705-0169f65d0c0e" providerId="ADAL" clId="{A70E4D0B-BA10-405C-ACA4-8528A8C7155D}" dt="2025-07-18T04:03:42.923" v="1653" actId="20577"/>
          <ac:spMkLst>
            <pc:docMk/>
            <pc:sldMk cId="3300707688" sldId="2147471707"/>
            <ac:spMk id="3328002" creationId="{00000000-0000-0000-0000-000000000000}"/>
          </ac:spMkLst>
        </pc:spChg>
        <pc:picChg chg="add mod">
          <ac:chgData name="John Paserba" userId="77bd6c8a-d0c1-4fea-8705-0169f65d0c0e" providerId="ADAL" clId="{A70E4D0B-BA10-405C-ACA4-8528A8C7155D}" dt="2025-07-18T04:06:12.958" v="1900" actId="1076"/>
          <ac:picMkLst>
            <pc:docMk/>
            <pc:sldMk cId="3300707688" sldId="2147471707"/>
            <ac:picMk id="2" creationId="{BD53FCD3-C311-4AC8-B1A8-0B58572BACF1}"/>
          </ac:picMkLst>
        </pc:picChg>
        <pc:picChg chg="del mod">
          <ac:chgData name="John Paserba" userId="77bd6c8a-d0c1-4fea-8705-0169f65d0c0e" providerId="ADAL" clId="{A70E4D0B-BA10-405C-ACA4-8528A8C7155D}" dt="2025-07-18T04:03:47.792" v="1655" actId="478"/>
          <ac:picMkLst>
            <pc:docMk/>
            <pc:sldMk cId="3300707688" sldId="2147471707"/>
            <ac:picMk id="8" creationId="{96F6A5DC-6A55-428F-9C73-56D0546F5177}"/>
          </ac:picMkLst>
        </pc:picChg>
      </pc:sldChg>
      <pc:sldChg chg="addSp modSp add mod">
        <pc:chgData name="John Paserba" userId="77bd6c8a-d0c1-4fea-8705-0169f65d0c0e" providerId="ADAL" clId="{A70E4D0B-BA10-405C-ACA4-8528A8C7155D}" dt="2025-07-18T04:36:33.834" v="2669" actId="1076"/>
        <pc:sldMkLst>
          <pc:docMk/>
          <pc:sldMk cId="4225029992" sldId="2147471708"/>
        </pc:sldMkLst>
        <pc:spChg chg="mod">
          <ac:chgData name="John Paserba" userId="77bd6c8a-d0c1-4fea-8705-0169f65d0c0e" providerId="ADAL" clId="{A70E4D0B-BA10-405C-ACA4-8528A8C7155D}" dt="2025-07-18T04:34:37.258" v="2560" actId="6549"/>
          <ac:spMkLst>
            <pc:docMk/>
            <pc:sldMk cId="4225029992" sldId="2147471708"/>
            <ac:spMk id="21" creationId="{162F52AD-3BF8-4DA7-9699-1FBCA3F31B22}"/>
          </ac:spMkLst>
        </pc:spChg>
        <pc:spChg chg="add mod">
          <ac:chgData name="John Paserba" userId="77bd6c8a-d0c1-4fea-8705-0169f65d0c0e" providerId="ADAL" clId="{A70E4D0B-BA10-405C-ACA4-8528A8C7155D}" dt="2025-07-18T04:36:33.834" v="2669" actId="1076"/>
          <ac:spMkLst>
            <pc:docMk/>
            <pc:sldMk cId="4225029992" sldId="2147471708"/>
            <ac:spMk id="23" creationId="{EE50A710-6206-4350-B4E9-302D9C4B0D84}"/>
          </ac:spMkLst>
        </pc:spChg>
        <pc:spChg chg="add mod">
          <ac:chgData name="John Paserba" userId="77bd6c8a-d0c1-4fea-8705-0169f65d0c0e" providerId="ADAL" clId="{A70E4D0B-BA10-405C-ACA4-8528A8C7155D}" dt="2025-07-18T04:36:15.535" v="2665" actId="688"/>
          <ac:spMkLst>
            <pc:docMk/>
            <pc:sldMk cId="4225029992" sldId="2147471708"/>
            <ac:spMk id="24" creationId="{60A50DB6-6E31-49D7-845B-71C7AB777ABE}"/>
          </ac:spMkLst>
        </pc:spChg>
        <pc:spChg chg="mod">
          <ac:chgData name="John Paserba" userId="77bd6c8a-d0c1-4fea-8705-0169f65d0c0e" providerId="ADAL" clId="{A70E4D0B-BA10-405C-ACA4-8528A8C7155D}" dt="2025-07-18T04:36:25.639" v="2667" actId="1076"/>
          <ac:spMkLst>
            <pc:docMk/>
            <pc:sldMk cId="4225029992" sldId="2147471708"/>
            <ac:spMk id="25" creationId="{E1E1A783-0B38-4132-95B8-76E20D0673FA}"/>
          </ac:spMkLst>
        </pc:spChg>
        <pc:spChg chg="mod">
          <ac:chgData name="John Paserba" userId="77bd6c8a-d0c1-4fea-8705-0169f65d0c0e" providerId="ADAL" clId="{A70E4D0B-BA10-405C-ACA4-8528A8C7155D}" dt="2025-07-18T04:35:01.210" v="2573" actId="1076"/>
          <ac:spMkLst>
            <pc:docMk/>
            <pc:sldMk cId="4225029992" sldId="2147471708"/>
            <ac:spMk id="27" creationId="{756418B6-D77C-49FB-82D0-449E1514005D}"/>
          </ac:spMkLst>
        </pc:spChg>
      </pc:sldChg>
      <pc:sldMasterChg chg="del delSldLayout">
        <pc:chgData name="John Paserba" userId="77bd6c8a-d0c1-4fea-8705-0169f65d0c0e" providerId="ADAL" clId="{A70E4D0B-BA10-405C-ACA4-8528A8C7155D}" dt="2025-07-18T04:01:54.652" v="1529" actId="47"/>
        <pc:sldMasterMkLst>
          <pc:docMk/>
          <pc:sldMasterMk cId="1429680990" sldId="2147483783"/>
        </pc:sldMasterMkLst>
        <pc:sldLayoutChg chg="del">
          <pc:chgData name="John Paserba" userId="77bd6c8a-d0c1-4fea-8705-0169f65d0c0e" providerId="ADAL" clId="{A70E4D0B-BA10-405C-ACA4-8528A8C7155D}" dt="2025-07-18T04:01:54.652" v="1529" actId="47"/>
          <pc:sldLayoutMkLst>
            <pc:docMk/>
            <pc:sldMasterMk cId="1429680990" sldId="2147483783"/>
            <pc:sldLayoutMk cId="2698605928" sldId="2147483784"/>
          </pc:sldLayoutMkLst>
        </pc:sldLayoutChg>
        <pc:sldLayoutChg chg="del">
          <pc:chgData name="John Paserba" userId="77bd6c8a-d0c1-4fea-8705-0169f65d0c0e" providerId="ADAL" clId="{A70E4D0B-BA10-405C-ACA4-8528A8C7155D}" dt="2025-07-18T04:01:54.652" v="1529" actId="47"/>
          <pc:sldLayoutMkLst>
            <pc:docMk/>
            <pc:sldMasterMk cId="1429680990" sldId="2147483783"/>
            <pc:sldLayoutMk cId="3589667056" sldId="2147483785"/>
          </pc:sldLayoutMkLst>
        </pc:sldLayoutChg>
        <pc:sldLayoutChg chg="del">
          <pc:chgData name="John Paserba" userId="77bd6c8a-d0c1-4fea-8705-0169f65d0c0e" providerId="ADAL" clId="{A70E4D0B-BA10-405C-ACA4-8528A8C7155D}" dt="2025-07-18T04:01:54.652" v="1529" actId="47"/>
          <pc:sldLayoutMkLst>
            <pc:docMk/>
            <pc:sldMasterMk cId="1429680990" sldId="2147483783"/>
            <pc:sldLayoutMk cId="1449940123" sldId="2147483786"/>
          </pc:sldLayoutMkLst>
        </pc:sldLayoutChg>
        <pc:sldLayoutChg chg="del">
          <pc:chgData name="John Paserba" userId="77bd6c8a-d0c1-4fea-8705-0169f65d0c0e" providerId="ADAL" clId="{A70E4D0B-BA10-405C-ACA4-8528A8C7155D}" dt="2025-07-18T04:01:54.652" v="1529" actId="47"/>
          <pc:sldLayoutMkLst>
            <pc:docMk/>
            <pc:sldMasterMk cId="1429680990" sldId="2147483783"/>
            <pc:sldLayoutMk cId="929052071" sldId="2147483787"/>
          </pc:sldLayoutMkLst>
        </pc:sldLayoutChg>
        <pc:sldLayoutChg chg="del">
          <pc:chgData name="John Paserba" userId="77bd6c8a-d0c1-4fea-8705-0169f65d0c0e" providerId="ADAL" clId="{A70E4D0B-BA10-405C-ACA4-8528A8C7155D}" dt="2025-07-18T04:01:54.652" v="1529" actId="47"/>
          <pc:sldLayoutMkLst>
            <pc:docMk/>
            <pc:sldMasterMk cId="1429680990" sldId="2147483783"/>
            <pc:sldLayoutMk cId="2942887887" sldId="2147483788"/>
          </pc:sldLayoutMkLst>
        </pc:sldLayoutChg>
        <pc:sldLayoutChg chg="del">
          <pc:chgData name="John Paserba" userId="77bd6c8a-d0c1-4fea-8705-0169f65d0c0e" providerId="ADAL" clId="{A70E4D0B-BA10-405C-ACA4-8528A8C7155D}" dt="2025-07-18T04:01:54.652" v="1529" actId="47"/>
          <pc:sldLayoutMkLst>
            <pc:docMk/>
            <pc:sldMasterMk cId="1429680990" sldId="2147483783"/>
            <pc:sldLayoutMk cId="76439299" sldId="2147483789"/>
          </pc:sldLayoutMkLst>
        </pc:sldLayoutChg>
        <pc:sldLayoutChg chg="del">
          <pc:chgData name="John Paserba" userId="77bd6c8a-d0c1-4fea-8705-0169f65d0c0e" providerId="ADAL" clId="{A70E4D0B-BA10-405C-ACA4-8528A8C7155D}" dt="2025-07-18T04:01:54.652" v="1529" actId="47"/>
          <pc:sldLayoutMkLst>
            <pc:docMk/>
            <pc:sldMasterMk cId="1429680990" sldId="2147483783"/>
            <pc:sldLayoutMk cId="3463368289" sldId="2147483790"/>
          </pc:sldLayoutMkLst>
        </pc:sldLayoutChg>
        <pc:sldLayoutChg chg="del">
          <pc:chgData name="John Paserba" userId="77bd6c8a-d0c1-4fea-8705-0169f65d0c0e" providerId="ADAL" clId="{A70E4D0B-BA10-405C-ACA4-8528A8C7155D}" dt="2025-07-18T04:01:54.652" v="1529" actId="47"/>
          <pc:sldLayoutMkLst>
            <pc:docMk/>
            <pc:sldMasterMk cId="1429680990" sldId="2147483783"/>
            <pc:sldLayoutMk cId="3829875925" sldId="2147483791"/>
          </pc:sldLayoutMkLst>
        </pc:sldLayoutChg>
        <pc:sldLayoutChg chg="del">
          <pc:chgData name="John Paserba" userId="77bd6c8a-d0c1-4fea-8705-0169f65d0c0e" providerId="ADAL" clId="{A70E4D0B-BA10-405C-ACA4-8528A8C7155D}" dt="2025-07-18T04:01:54.652" v="1529" actId="47"/>
          <pc:sldLayoutMkLst>
            <pc:docMk/>
            <pc:sldMasterMk cId="1429680990" sldId="2147483783"/>
            <pc:sldLayoutMk cId="1184010771" sldId="2147483792"/>
          </pc:sldLayoutMkLst>
        </pc:sldLayoutChg>
        <pc:sldLayoutChg chg="del">
          <pc:chgData name="John Paserba" userId="77bd6c8a-d0c1-4fea-8705-0169f65d0c0e" providerId="ADAL" clId="{A70E4D0B-BA10-405C-ACA4-8528A8C7155D}" dt="2025-07-18T04:01:54.652" v="1529" actId="47"/>
          <pc:sldLayoutMkLst>
            <pc:docMk/>
            <pc:sldMasterMk cId="1429680990" sldId="2147483783"/>
            <pc:sldLayoutMk cId="2640750268" sldId="2147483793"/>
          </pc:sldLayoutMkLst>
        </pc:sldLayoutChg>
        <pc:sldLayoutChg chg="del">
          <pc:chgData name="John Paserba" userId="77bd6c8a-d0c1-4fea-8705-0169f65d0c0e" providerId="ADAL" clId="{A70E4D0B-BA10-405C-ACA4-8528A8C7155D}" dt="2025-07-18T04:01:54.652" v="1529" actId="47"/>
          <pc:sldLayoutMkLst>
            <pc:docMk/>
            <pc:sldMasterMk cId="1429680990" sldId="2147483783"/>
            <pc:sldLayoutMk cId="1954736578" sldId="2147483794"/>
          </pc:sldLayoutMkLst>
        </pc:sldLayoutChg>
      </pc:sldMasterChg>
    </pc:docChg>
  </pc:docChgLst>
  <pc:docChgLst>
    <pc:chgData name="John Paserba" userId="77bd6c8a-d0c1-4fea-8705-0169f65d0c0e" providerId="ADAL" clId="{BF4BD5A9-81CF-496E-BF70-4217756ADADE}"/>
    <pc:docChg chg="undo redo custSel addSld delSld modSld sldOrd">
      <pc:chgData name="John Paserba" userId="77bd6c8a-d0c1-4fea-8705-0169f65d0c0e" providerId="ADAL" clId="{BF4BD5A9-81CF-496E-BF70-4217756ADADE}" dt="2025-07-25T23:21:06.427" v="1092" actId="20577"/>
      <pc:docMkLst>
        <pc:docMk/>
      </pc:docMkLst>
      <pc:sldChg chg="addSp modSp mod">
        <pc:chgData name="John Paserba" userId="77bd6c8a-d0c1-4fea-8705-0169f65d0c0e" providerId="ADAL" clId="{BF4BD5A9-81CF-496E-BF70-4217756ADADE}" dt="2025-07-25T22:37:53.743" v="398"/>
        <pc:sldMkLst>
          <pc:docMk/>
          <pc:sldMk cId="2521621173" sldId="2147471011"/>
        </pc:sldMkLst>
        <pc:spChg chg="mod">
          <ac:chgData name="John Paserba" userId="77bd6c8a-d0c1-4fea-8705-0169f65d0c0e" providerId="ADAL" clId="{BF4BD5A9-81CF-496E-BF70-4217756ADADE}" dt="2025-07-25T22:36:46.512" v="395" actId="1076"/>
          <ac:spMkLst>
            <pc:docMk/>
            <pc:sldMk cId="2521621173" sldId="2147471011"/>
            <ac:spMk id="2" creationId="{00000000-0000-0000-0000-000000000000}"/>
          </ac:spMkLst>
        </pc:spChg>
        <pc:spChg chg="mod">
          <ac:chgData name="John Paserba" userId="77bd6c8a-d0c1-4fea-8705-0169f65d0c0e" providerId="ADAL" clId="{BF4BD5A9-81CF-496E-BF70-4217756ADADE}" dt="2025-07-25T22:37:53.743" v="398"/>
          <ac:spMkLst>
            <pc:docMk/>
            <pc:sldMk cId="2521621173" sldId="2147471011"/>
            <ac:spMk id="16" creationId="{C299FF24-54A2-4D5D-BAB9-714E171D8A2C}"/>
          </ac:spMkLst>
        </pc:spChg>
        <pc:spChg chg="mod">
          <ac:chgData name="John Paserba" userId="77bd6c8a-d0c1-4fea-8705-0169f65d0c0e" providerId="ADAL" clId="{BF4BD5A9-81CF-496E-BF70-4217756ADADE}" dt="2025-07-25T22:37:53.743" v="398"/>
          <ac:spMkLst>
            <pc:docMk/>
            <pc:sldMk cId="2521621173" sldId="2147471011"/>
            <ac:spMk id="19" creationId="{253920F8-60E6-424F-AD19-69F2A3279F1F}"/>
          </ac:spMkLst>
        </pc:spChg>
        <pc:grpChg chg="add mod">
          <ac:chgData name="John Paserba" userId="77bd6c8a-d0c1-4fea-8705-0169f65d0c0e" providerId="ADAL" clId="{BF4BD5A9-81CF-496E-BF70-4217756ADADE}" dt="2025-07-25T22:37:53.743" v="398"/>
          <ac:grpSpMkLst>
            <pc:docMk/>
            <pc:sldMk cId="2521621173" sldId="2147471011"/>
            <ac:grpSpMk id="15" creationId="{4E9D1D05-89C1-4AE7-ADE3-D858FAD2951D}"/>
          </ac:grpSpMkLst>
        </pc:grpChg>
        <pc:grpChg chg="add mod">
          <ac:chgData name="John Paserba" userId="77bd6c8a-d0c1-4fea-8705-0169f65d0c0e" providerId="ADAL" clId="{BF4BD5A9-81CF-496E-BF70-4217756ADADE}" dt="2025-07-25T22:37:53.743" v="398"/>
          <ac:grpSpMkLst>
            <pc:docMk/>
            <pc:sldMk cId="2521621173" sldId="2147471011"/>
            <ac:grpSpMk id="18" creationId="{DC0498C2-48A0-401B-953E-BDAFAD9EB014}"/>
          </ac:grpSpMkLst>
        </pc:grpChg>
        <pc:picChg chg="mod">
          <ac:chgData name="John Paserba" userId="77bd6c8a-d0c1-4fea-8705-0169f65d0c0e" providerId="ADAL" clId="{BF4BD5A9-81CF-496E-BF70-4217756ADADE}" dt="2025-07-25T22:37:53.743" v="398"/>
          <ac:picMkLst>
            <pc:docMk/>
            <pc:sldMk cId="2521621173" sldId="2147471011"/>
            <ac:picMk id="17" creationId="{CCDE277C-AB8A-4419-B9B5-CDB8D437086B}"/>
          </ac:picMkLst>
        </pc:picChg>
        <pc:picChg chg="mod">
          <ac:chgData name="John Paserba" userId="77bd6c8a-d0c1-4fea-8705-0169f65d0c0e" providerId="ADAL" clId="{BF4BD5A9-81CF-496E-BF70-4217756ADADE}" dt="2025-07-25T22:37:53.743" v="398"/>
          <ac:picMkLst>
            <pc:docMk/>
            <pc:sldMk cId="2521621173" sldId="2147471011"/>
            <ac:picMk id="20" creationId="{B1F96B21-ADBE-4EDE-9504-B3572A90699F}"/>
          </ac:picMkLst>
        </pc:picChg>
      </pc:sldChg>
      <pc:sldChg chg="modSp mod">
        <pc:chgData name="John Paserba" userId="77bd6c8a-d0c1-4fea-8705-0169f65d0c0e" providerId="ADAL" clId="{BF4BD5A9-81CF-496E-BF70-4217756ADADE}" dt="2025-07-25T23:04:54.300" v="872" actId="1076"/>
        <pc:sldMkLst>
          <pc:docMk/>
          <pc:sldMk cId="3482163997" sldId="2147471283"/>
        </pc:sldMkLst>
        <pc:spChg chg="mod">
          <ac:chgData name="John Paserba" userId="77bd6c8a-d0c1-4fea-8705-0169f65d0c0e" providerId="ADAL" clId="{BF4BD5A9-81CF-496E-BF70-4217756ADADE}" dt="2025-07-25T23:04:40.050" v="871" actId="115"/>
          <ac:spMkLst>
            <pc:docMk/>
            <pc:sldMk cId="3482163997" sldId="2147471283"/>
            <ac:spMk id="3" creationId="{E6993746-A424-4F09-867F-B919F4E18ECB}"/>
          </ac:spMkLst>
        </pc:spChg>
        <pc:spChg chg="mod">
          <ac:chgData name="John Paserba" userId="77bd6c8a-d0c1-4fea-8705-0169f65d0c0e" providerId="ADAL" clId="{BF4BD5A9-81CF-496E-BF70-4217756ADADE}" dt="2025-07-25T23:04:54.300" v="872" actId="1076"/>
          <ac:spMkLst>
            <pc:docMk/>
            <pc:sldMk cId="3482163997" sldId="2147471283"/>
            <ac:spMk id="8" creationId="{5CDDFDB1-AED0-4B64-8B82-63C7C11ED802}"/>
          </ac:spMkLst>
        </pc:spChg>
      </pc:sldChg>
      <pc:sldChg chg="addSp delSp modSp mod">
        <pc:chgData name="John Paserba" userId="77bd6c8a-d0c1-4fea-8705-0169f65d0c0e" providerId="ADAL" clId="{BF4BD5A9-81CF-496E-BF70-4217756ADADE}" dt="2025-07-25T22:32:20.836" v="360" actId="1076"/>
        <pc:sldMkLst>
          <pc:docMk/>
          <pc:sldMk cId="1789101232" sldId="2147471322"/>
        </pc:sldMkLst>
        <pc:spChg chg="del mod">
          <ac:chgData name="John Paserba" userId="77bd6c8a-d0c1-4fea-8705-0169f65d0c0e" providerId="ADAL" clId="{BF4BD5A9-81CF-496E-BF70-4217756ADADE}" dt="2025-07-25T22:31:51.023" v="334" actId="478"/>
          <ac:spMkLst>
            <pc:docMk/>
            <pc:sldMk cId="1789101232" sldId="2147471322"/>
            <ac:spMk id="2" creationId="{3886EC70-5D04-9327-5328-EC944E5C503F}"/>
          </ac:spMkLst>
        </pc:spChg>
        <pc:spChg chg="mod">
          <ac:chgData name="John Paserba" userId="77bd6c8a-d0c1-4fea-8705-0169f65d0c0e" providerId="ADAL" clId="{BF4BD5A9-81CF-496E-BF70-4217756ADADE}" dt="2025-07-25T22:32:20.836" v="360" actId="1076"/>
          <ac:spMkLst>
            <pc:docMk/>
            <pc:sldMk cId="1789101232" sldId="2147471322"/>
            <ac:spMk id="3" creationId="{5B73CDDE-D282-9F8B-C0E2-3F357220D1FE}"/>
          </ac:spMkLst>
        </pc:spChg>
        <pc:spChg chg="mod">
          <ac:chgData name="John Paserba" userId="77bd6c8a-d0c1-4fea-8705-0169f65d0c0e" providerId="ADAL" clId="{BF4BD5A9-81CF-496E-BF70-4217756ADADE}" dt="2025-07-25T22:32:13.545" v="358" actId="1035"/>
          <ac:spMkLst>
            <pc:docMk/>
            <pc:sldMk cId="1789101232" sldId="2147471322"/>
            <ac:spMk id="5" creationId="{B780A12F-B680-91BE-0A3E-862B92D78AE5}"/>
          </ac:spMkLst>
        </pc:spChg>
        <pc:spChg chg="mod">
          <ac:chgData name="John Paserba" userId="77bd6c8a-d0c1-4fea-8705-0169f65d0c0e" providerId="ADAL" clId="{BF4BD5A9-81CF-496E-BF70-4217756ADADE}" dt="2025-07-25T22:32:13.545" v="358" actId="1035"/>
          <ac:spMkLst>
            <pc:docMk/>
            <pc:sldMk cId="1789101232" sldId="2147471322"/>
            <ac:spMk id="6" creationId="{25C147DD-89CE-E02F-B2AD-B375FACA0859}"/>
          </ac:spMkLst>
        </pc:spChg>
        <pc:spChg chg="mod">
          <ac:chgData name="John Paserba" userId="77bd6c8a-d0c1-4fea-8705-0169f65d0c0e" providerId="ADAL" clId="{BF4BD5A9-81CF-496E-BF70-4217756ADADE}" dt="2025-07-25T22:32:13.545" v="358" actId="1035"/>
          <ac:spMkLst>
            <pc:docMk/>
            <pc:sldMk cId="1789101232" sldId="2147471322"/>
            <ac:spMk id="7" creationId="{DF720EA4-E520-D5CD-B763-ADF299C0FC19}"/>
          </ac:spMkLst>
        </pc:spChg>
        <pc:spChg chg="mod">
          <ac:chgData name="John Paserba" userId="77bd6c8a-d0c1-4fea-8705-0169f65d0c0e" providerId="ADAL" clId="{BF4BD5A9-81CF-496E-BF70-4217756ADADE}" dt="2025-07-25T22:32:13.545" v="358" actId="1035"/>
          <ac:spMkLst>
            <pc:docMk/>
            <pc:sldMk cId="1789101232" sldId="2147471322"/>
            <ac:spMk id="8" creationId="{3F5E219F-1447-2106-D02E-73D970C1AEBD}"/>
          </ac:spMkLst>
        </pc:spChg>
        <pc:spChg chg="mod">
          <ac:chgData name="John Paserba" userId="77bd6c8a-d0c1-4fea-8705-0169f65d0c0e" providerId="ADAL" clId="{BF4BD5A9-81CF-496E-BF70-4217756ADADE}" dt="2025-07-25T22:32:13.545" v="358" actId="1035"/>
          <ac:spMkLst>
            <pc:docMk/>
            <pc:sldMk cId="1789101232" sldId="2147471322"/>
            <ac:spMk id="9" creationId="{387FF389-3101-6644-DBED-84DC824F710F}"/>
          </ac:spMkLst>
        </pc:spChg>
        <pc:spChg chg="mod">
          <ac:chgData name="John Paserba" userId="77bd6c8a-d0c1-4fea-8705-0169f65d0c0e" providerId="ADAL" clId="{BF4BD5A9-81CF-496E-BF70-4217756ADADE}" dt="2025-07-25T22:32:13.545" v="358" actId="1035"/>
          <ac:spMkLst>
            <pc:docMk/>
            <pc:sldMk cId="1789101232" sldId="2147471322"/>
            <ac:spMk id="10" creationId="{FF74CCE0-630F-F776-C09E-808432EF3306}"/>
          </ac:spMkLst>
        </pc:spChg>
        <pc:spChg chg="mod">
          <ac:chgData name="John Paserba" userId="77bd6c8a-d0c1-4fea-8705-0169f65d0c0e" providerId="ADAL" clId="{BF4BD5A9-81CF-496E-BF70-4217756ADADE}" dt="2025-07-25T22:32:13.545" v="358" actId="1035"/>
          <ac:spMkLst>
            <pc:docMk/>
            <pc:sldMk cId="1789101232" sldId="2147471322"/>
            <ac:spMk id="11" creationId="{A09E97A2-8BF3-B22B-0DAC-02E590BAC9DC}"/>
          </ac:spMkLst>
        </pc:spChg>
        <pc:spChg chg="mod">
          <ac:chgData name="John Paserba" userId="77bd6c8a-d0c1-4fea-8705-0169f65d0c0e" providerId="ADAL" clId="{BF4BD5A9-81CF-496E-BF70-4217756ADADE}" dt="2025-07-25T22:32:13.545" v="358" actId="1035"/>
          <ac:spMkLst>
            <pc:docMk/>
            <pc:sldMk cId="1789101232" sldId="2147471322"/>
            <ac:spMk id="12" creationId="{4A4516AE-42CD-8F21-B9A9-5AF74495FD1E}"/>
          </ac:spMkLst>
        </pc:spChg>
        <pc:spChg chg="mod">
          <ac:chgData name="John Paserba" userId="77bd6c8a-d0c1-4fea-8705-0169f65d0c0e" providerId="ADAL" clId="{BF4BD5A9-81CF-496E-BF70-4217756ADADE}" dt="2025-07-25T22:32:13.545" v="358" actId="1035"/>
          <ac:spMkLst>
            <pc:docMk/>
            <pc:sldMk cId="1789101232" sldId="2147471322"/>
            <ac:spMk id="13" creationId="{B516057A-38F4-B60D-E4B7-E2528243DA31}"/>
          </ac:spMkLst>
        </pc:spChg>
        <pc:spChg chg="mod">
          <ac:chgData name="John Paserba" userId="77bd6c8a-d0c1-4fea-8705-0169f65d0c0e" providerId="ADAL" clId="{BF4BD5A9-81CF-496E-BF70-4217756ADADE}" dt="2025-07-25T22:32:13.545" v="358" actId="1035"/>
          <ac:spMkLst>
            <pc:docMk/>
            <pc:sldMk cId="1789101232" sldId="2147471322"/>
            <ac:spMk id="20" creationId="{22903C1A-CE12-167E-94A7-32BAA1633464}"/>
          </ac:spMkLst>
        </pc:spChg>
        <pc:spChg chg="mod">
          <ac:chgData name="John Paserba" userId="77bd6c8a-d0c1-4fea-8705-0169f65d0c0e" providerId="ADAL" clId="{BF4BD5A9-81CF-496E-BF70-4217756ADADE}" dt="2025-07-25T22:32:13.545" v="358" actId="1035"/>
          <ac:spMkLst>
            <pc:docMk/>
            <pc:sldMk cId="1789101232" sldId="2147471322"/>
            <ac:spMk id="21" creationId="{6534D544-485D-6FED-682E-56F85ED7C45A}"/>
          </ac:spMkLst>
        </pc:spChg>
        <pc:spChg chg="mod">
          <ac:chgData name="John Paserba" userId="77bd6c8a-d0c1-4fea-8705-0169f65d0c0e" providerId="ADAL" clId="{BF4BD5A9-81CF-496E-BF70-4217756ADADE}" dt="2025-07-25T22:32:13.545" v="358" actId="1035"/>
          <ac:spMkLst>
            <pc:docMk/>
            <pc:sldMk cId="1789101232" sldId="2147471322"/>
            <ac:spMk id="26" creationId="{4180DA72-AE85-C8C4-06B7-2AA0F7BB3819}"/>
          </ac:spMkLst>
        </pc:spChg>
        <pc:spChg chg="mod">
          <ac:chgData name="John Paserba" userId="77bd6c8a-d0c1-4fea-8705-0169f65d0c0e" providerId="ADAL" clId="{BF4BD5A9-81CF-496E-BF70-4217756ADADE}" dt="2025-07-25T22:32:13.545" v="358" actId="1035"/>
          <ac:spMkLst>
            <pc:docMk/>
            <pc:sldMk cId="1789101232" sldId="2147471322"/>
            <ac:spMk id="46" creationId="{2E7CB76A-173C-F930-EF0A-3B1ABC832A28}"/>
          </ac:spMkLst>
        </pc:spChg>
        <pc:spChg chg="mod">
          <ac:chgData name="John Paserba" userId="77bd6c8a-d0c1-4fea-8705-0169f65d0c0e" providerId="ADAL" clId="{BF4BD5A9-81CF-496E-BF70-4217756ADADE}" dt="2025-07-25T22:32:13.545" v="358" actId="1035"/>
          <ac:spMkLst>
            <pc:docMk/>
            <pc:sldMk cId="1789101232" sldId="2147471322"/>
            <ac:spMk id="47" creationId="{7938F19D-FE73-77E9-C256-726E64D5478E}"/>
          </ac:spMkLst>
        </pc:spChg>
        <pc:spChg chg="mod">
          <ac:chgData name="John Paserba" userId="77bd6c8a-d0c1-4fea-8705-0169f65d0c0e" providerId="ADAL" clId="{BF4BD5A9-81CF-496E-BF70-4217756ADADE}" dt="2025-07-25T22:32:13.545" v="358" actId="1035"/>
          <ac:spMkLst>
            <pc:docMk/>
            <pc:sldMk cId="1789101232" sldId="2147471322"/>
            <ac:spMk id="48" creationId="{6AA84499-D851-AFC4-2F1E-6D7C1ABFD50F}"/>
          </ac:spMkLst>
        </pc:spChg>
        <pc:spChg chg="mod">
          <ac:chgData name="John Paserba" userId="77bd6c8a-d0c1-4fea-8705-0169f65d0c0e" providerId="ADAL" clId="{BF4BD5A9-81CF-496E-BF70-4217756ADADE}" dt="2025-07-25T22:32:13.545" v="358" actId="1035"/>
          <ac:spMkLst>
            <pc:docMk/>
            <pc:sldMk cId="1789101232" sldId="2147471322"/>
            <ac:spMk id="49" creationId="{D4572378-C0EC-6AE6-52A2-4872D3C6AE53}"/>
          </ac:spMkLst>
        </pc:spChg>
        <pc:spChg chg="mod">
          <ac:chgData name="John Paserba" userId="77bd6c8a-d0c1-4fea-8705-0169f65d0c0e" providerId="ADAL" clId="{BF4BD5A9-81CF-496E-BF70-4217756ADADE}" dt="2025-07-25T22:32:13.545" v="358" actId="1035"/>
          <ac:spMkLst>
            <pc:docMk/>
            <pc:sldMk cId="1789101232" sldId="2147471322"/>
            <ac:spMk id="52" creationId="{9A031F01-FF40-B3E6-9C35-4307631CE6DE}"/>
          </ac:spMkLst>
        </pc:spChg>
        <pc:spChg chg="mod">
          <ac:chgData name="John Paserba" userId="77bd6c8a-d0c1-4fea-8705-0169f65d0c0e" providerId="ADAL" clId="{BF4BD5A9-81CF-496E-BF70-4217756ADADE}" dt="2025-07-25T22:32:13.545" v="358" actId="1035"/>
          <ac:spMkLst>
            <pc:docMk/>
            <pc:sldMk cId="1789101232" sldId="2147471322"/>
            <ac:spMk id="58" creationId="{E4943C20-7F54-7C51-4D7B-A1500D2A2CD6}"/>
          </ac:spMkLst>
        </pc:spChg>
        <pc:spChg chg="mod">
          <ac:chgData name="John Paserba" userId="77bd6c8a-d0c1-4fea-8705-0169f65d0c0e" providerId="ADAL" clId="{BF4BD5A9-81CF-496E-BF70-4217756ADADE}" dt="2025-07-25T22:32:13.545" v="358" actId="1035"/>
          <ac:spMkLst>
            <pc:docMk/>
            <pc:sldMk cId="1789101232" sldId="2147471322"/>
            <ac:spMk id="59" creationId="{D9DDE8A3-282A-60AE-6CA2-061F05F3E712}"/>
          </ac:spMkLst>
        </pc:spChg>
        <pc:spChg chg="mod">
          <ac:chgData name="John Paserba" userId="77bd6c8a-d0c1-4fea-8705-0169f65d0c0e" providerId="ADAL" clId="{BF4BD5A9-81CF-496E-BF70-4217756ADADE}" dt="2025-07-25T22:32:13.545" v="358" actId="1035"/>
          <ac:spMkLst>
            <pc:docMk/>
            <pc:sldMk cId="1789101232" sldId="2147471322"/>
            <ac:spMk id="60" creationId="{9027F0FA-CE3B-F68C-59CF-677021FC988F}"/>
          </ac:spMkLst>
        </pc:spChg>
        <pc:spChg chg="mod">
          <ac:chgData name="John Paserba" userId="77bd6c8a-d0c1-4fea-8705-0169f65d0c0e" providerId="ADAL" clId="{BF4BD5A9-81CF-496E-BF70-4217756ADADE}" dt="2025-07-25T22:32:13.545" v="358" actId="1035"/>
          <ac:spMkLst>
            <pc:docMk/>
            <pc:sldMk cId="1789101232" sldId="2147471322"/>
            <ac:spMk id="61" creationId="{15420E38-839A-5BA4-2653-57ACC62C32DC}"/>
          </ac:spMkLst>
        </pc:spChg>
        <pc:spChg chg="add mod">
          <ac:chgData name="John Paserba" userId="77bd6c8a-d0c1-4fea-8705-0169f65d0c0e" providerId="ADAL" clId="{BF4BD5A9-81CF-496E-BF70-4217756ADADE}" dt="2025-07-25T22:31:55.840" v="335"/>
          <ac:spMkLst>
            <pc:docMk/>
            <pc:sldMk cId="1789101232" sldId="2147471322"/>
            <ac:spMk id="84" creationId="{0F2A1D3B-2048-484E-8310-3AC794EB68B7}"/>
          </ac:spMkLst>
        </pc:spChg>
        <pc:spChg chg="mod">
          <ac:chgData name="John Paserba" userId="77bd6c8a-d0c1-4fea-8705-0169f65d0c0e" providerId="ADAL" clId="{BF4BD5A9-81CF-496E-BF70-4217756ADADE}" dt="2025-07-25T22:32:13.545" v="358" actId="1035"/>
          <ac:spMkLst>
            <pc:docMk/>
            <pc:sldMk cId="1789101232" sldId="2147471322"/>
            <ac:spMk id="87" creationId="{E64111E7-2446-9ED1-C01C-7A46ABEB75AA}"/>
          </ac:spMkLst>
        </pc:spChg>
        <pc:spChg chg="mod">
          <ac:chgData name="John Paserba" userId="77bd6c8a-d0c1-4fea-8705-0169f65d0c0e" providerId="ADAL" clId="{BF4BD5A9-81CF-496E-BF70-4217756ADADE}" dt="2025-07-25T22:32:13.545" v="358" actId="1035"/>
          <ac:spMkLst>
            <pc:docMk/>
            <pc:sldMk cId="1789101232" sldId="2147471322"/>
            <ac:spMk id="88" creationId="{EFA6E0E5-322D-A6F2-4E8A-AC4D3CD06DEC}"/>
          </ac:spMkLst>
        </pc:spChg>
        <pc:spChg chg="mod">
          <ac:chgData name="John Paserba" userId="77bd6c8a-d0c1-4fea-8705-0169f65d0c0e" providerId="ADAL" clId="{BF4BD5A9-81CF-496E-BF70-4217756ADADE}" dt="2025-07-25T22:32:13.545" v="358" actId="1035"/>
          <ac:spMkLst>
            <pc:docMk/>
            <pc:sldMk cId="1789101232" sldId="2147471322"/>
            <ac:spMk id="89" creationId="{CB75AF12-A5BF-3057-0760-A8DEC37BDAED}"/>
          </ac:spMkLst>
        </pc:spChg>
        <pc:spChg chg="mod">
          <ac:chgData name="John Paserba" userId="77bd6c8a-d0c1-4fea-8705-0169f65d0c0e" providerId="ADAL" clId="{BF4BD5A9-81CF-496E-BF70-4217756ADADE}" dt="2025-07-25T22:32:13.545" v="358" actId="1035"/>
          <ac:spMkLst>
            <pc:docMk/>
            <pc:sldMk cId="1789101232" sldId="2147471322"/>
            <ac:spMk id="90" creationId="{C913E56C-BCB6-384C-0ECD-8D6A754FBDB8}"/>
          </ac:spMkLst>
        </pc:spChg>
        <pc:spChg chg="mod">
          <ac:chgData name="John Paserba" userId="77bd6c8a-d0c1-4fea-8705-0169f65d0c0e" providerId="ADAL" clId="{BF4BD5A9-81CF-496E-BF70-4217756ADADE}" dt="2025-07-25T22:32:13.545" v="358" actId="1035"/>
          <ac:spMkLst>
            <pc:docMk/>
            <pc:sldMk cId="1789101232" sldId="2147471322"/>
            <ac:spMk id="93" creationId="{649D5690-D6A3-99FA-0EF0-C5364078B173}"/>
          </ac:spMkLst>
        </pc:spChg>
        <pc:spChg chg="mod">
          <ac:chgData name="John Paserba" userId="77bd6c8a-d0c1-4fea-8705-0169f65d0c0e" providerId="ADAL" clId="{BF4BD5A9-81CF-496E-BF70-4217756ADADE}" dt="2025-07-25T22:32:13.545" v="358" actId="1035"/>
          <ac:spMkLst>
            <pc:docMk/>
            <pc:sldMk cId="1789101232" sldId="2147471322"/>
            <ac:spMk id="94" creationId="{FA186EF3-C3F3-5448-E46B-C8053EFC679C}"/>
          </ac:spMkLst>
        </pc:spChg>
        <pc:spChg chg="mod">
          <ac:chgData name="John Paserba" userId="77bd6c8a-d0c1-4fea-8705-0169f65d0c0e" providerId="ADAL" clId="{BF4BD5A9-81CF-496E-BF70-4217756ADADE}" dt="2025-07-25T22:32:13.545" v="358" actId="1035"/>
          <ac:spMkLst>
            <pc:docMk/>
            <pc:sldMk cId="1789101232" sldId="2147471322"/>
            <ac:spMk id="95" creationId="{7334FEA0-6EFD-BF26-E6A2-235A749F37CF}"/>
          </ac:spMkLst>
        </pc:spChg>
        <pc:spChg chg="mod">
          <ac:chgData name="John Paserba" userId="77bd6c8a-d0c1-4fea-8705-0169f65d0c0e" providerId="ADAL" clId="{BF4BD5A9-81CF-496E-BF70-4217756ADADE}" dt="2025-07-25T22:32:13.545" v="358" actId="1035"/>
          <ac:spMkLst>
            <pc:docMk/>
            <pc:sldMk cId="1789101232" sldId="2147471322"/>
            <ac:spMk id="96" creationId="{D4058D33-B826-20B7-F6CF-ADB6B422B45D}"/>
          </ac:spMkLst>
        </pc:spChg>
        <pc:spChg chg="mod">
          <ac:chgData name="John Paserba" userId="77bd6c8a-d0c1-4fea-8705-0169f65d0c0e" providerId="ADAL" clId="{BF4BD5A9-81CF-496E-BF70-4217756ADADE}" dt="2025-07-25T22:32:17.925" v="359" actId="1076"/>
          <ac:spMkLst>
            <pc:docMk/>
            <pc:sldMk cId="1789101232" sldId="2147471322"/>
            <ac:spMk id="102" creationId="{BDBEFADA-E667-D7DB-9435-5FD349D53C9E}"/>
          </ac:spMkLst>
        </pc:spChg>
        <pc:spChg chg="mod">
          <ac:chgData name="John Paserba" userId="77bd6c8a-d0c1-4fea-8705-0169f65d0c0e" providerId="ADAL" clId="{BF4BD5A9-81CF-496E-BF70-4217756ADADE}" dt="2025-07-25T22:32:13.545" v="358" actId="1035"/>
          <ac:spMkLst>
            <pc:docMk/>
            <pc:sldMk cId="1789101232" sldId="2147471322"/>
            <ac:spMk id="108" creationId="{C12A072E-38AF-B164-877B-97AAD127EA3C}"/>
          </ac:spMkLst>
        </pc:spChg>
        <pc:spChg chg="mod">
          <ac:chgData name="John Paserba" userId="77bd6c8a-d0c1-4fea-8705-0169f65d0c0e" providerId="ADAL" clId="{BF4BD5A9-81CF-496E-BF70-4217756ADADE}" dt="2025-07-25T22:32:13.545" v="358" actId="1035"/>
          <ac:spMkLst>
            <pc:docMk/>
            <pc:sldMk cId="1789101232" sldId="2147471322"/>
            <ac:spMk id="109" creationId="{9E07E950-8C8A-2254-79A4-6A64CC138BF9}"/>
          </ac:spMkLst>
        </pc:spChg>
        <pc:spChg chg="mod">
          <ac:chgData name="John Paserba" userId="77bd6c8a-d0c1-4fea-8705-0169f65d0c0e" providerId="ADAL" clId="{BF4BD5A9-81CF-496E-BF70-4217756ADADE}" dt="2025-07-25T22:32:13.545" v="358" actId="1035"/>
          <ac:spMkLst>
            <pc:docMk/>
            <pc:sldMk cId="1789101232" sldId="2147471322"/>
            <ac:spMk id="115" creationId="{6D834C23-BD63-F885-7784-A5E66A483710}"/>
          </ac:spMkLst>
        </pc:spChg>
        <pc:spChg chg="mod">
          <ac:chgData name="John Paserba" userId="77bd6c8a-d0c1-4fea-8705-0169f65d0c0e" providerId="ADAL" clId="{BF4BD5A9-81CF-496E-BF70-4217756ADADE}" dt="2025-07-25T22:32:13.545" v="358" actId="1035"/>
          <ac:spMkLst>
            <pc:docMk/>
            <pc:sldMk cId="1789101232" sldId="2147471322"/>
            <ac:spMk id="117" creationId="{427F6053-DA11-7651-0597-42026FF7B06A}"/>
          </ac:spMkLst>
        </pc:spChg>
        <pc:spChg chg="mod">
          <ac:chgData name="John Paserba" userId="77bd6c8a-d0c1-4fea-8705-0169f65d0c0e" providerId="ADAL" clId="{BF4BD5A9-81CF-496E-BF70-4217756ADADE}" dt="2025-07-25T22:32:13.545" v="358" actId="1035"/>
          <ac:spMkLst>
            <pc:docMk/>
            <pc:sldMk cId="1789101232" sldId="2147471322"/>
            <ac:spMk id="125" creationId="{010B16D7-FA3C-2B38-44E4-5CDC1EEDDFB7}"/>
          </ac:spMkLst>
        </pc:spChg>
        <pc:spChg chg="mod">
          <ac:chgData name="John Paserba" userId="77bd6c8a-d0c1-4fea-8705-0169f65d0c0e" providerId="ADAL" clId="{BF4BD5A9-81CF-496E-BF70-4217756ADADE}" dt="2025-07-25T22:32:13.545" v="358" actId="1035"/>
          <ac:spMkLst>
            <pc:docMk/>
            <pc:sldMk cId="1789101232" sldId="2147471322"/>
            <ac:spMk id="126" creationId="{31AAEC5D-1CCB-37A5-F288-BAD31C28DEA4}"/>
          </ac:spMkLst>
        </pc:spChg>
        <pc:spChg chg="mod">
          <ac:chgData name="John Paserba" userId="77bd6c8a-d0c1-4fea-8705-0169f65d0c0e" providerId="ADAL" clId="{BF4BD5A9-81CF-496E-BF70-4217756ADADE}" dt="2025-07-25T22:32:13.545" v="358" actId="1035"/>
          <ac:spMkLst>
            <pc:docMk/>
            <pc:sldMk cId="1789101232" sldId="2147471322"/>
            <ac:spMk id="129" creationId="{002FF512-3659-61EC-1EF4-F6D4BB7E6E14}"/>
          </ac:spMkLst>
        </pc:spChg>
        <pc:spChg chg="mod">
          <ac:chgData name="John Paserba" userId="77bd6c8a-d0c1-4fea-8705-0169f65d0c0e" providerId="ADAL" clId="{BF4BD5A9-81CF-496E-BF70-4217756ADADE}" dt="2025-07-25T22:32:13.545" v="358" actId="1035"/>
          <ac:spMkLst>
            <pc:docMk/>
            <pc:sldMk cId="1789101232" sldId="2147471322"/>
            <ac:spMk id="132" creationId="{C1399E50-8AB1-76B4-B52E-DD2603EE6B4C}"/>
          </ac:spMkLst>
        </pc:spChg>
        <pc:spChg chg="mod">
          <ac:chgData name="John Paserba" userId="77bd6c8a-d0c1-4fea-8705-0169f65d0c0e" providerId="ADAL" clId="{BF4BD5A9-81CF-496E-BF70-4217756ADADE}" dt="2025-07-25T22:32:13.545" v="358" actId="1035"/>
          <ac:spMkLst>
            <pc:docMk/>
            <pc:sldMk cId="1789101232" sldId="2147471322"/>
            <ac:spMk id="133" creationId="{C8212B36-E589-97A6-DD57-9EA95CB42741}"/>
          </ac:spMkLst>
        </pc:spChg>
        <pc:spChg chg="mod">
          <ac:chgData name="John Paserba" userId="77bd6c8a-d0c1-4fea-8705-0169f65d0c0e" providerId="ADAL" clId="{BF4BD5A9-81CF-496E-BF70-4217756ADADE}" dt="2025-07-25T22:32:13.545" v="358" actId="1035"/>
          <ac:spMkLst>
            <pc:docMk/>
            <pc:sldMk cId="1789101232" sldId="2147471322"/>
            <ac:spMk id="136" creationId="{A098CC49-3258-A275-603A-E4DA719AF4AB}"/>
          </ac:spMkLst>
        </pc:spChg>
        <pc:spChg chg="mod">
          <ac:chgData name="John Paserba" userId="77bd6c8a-d0c1-4fea-8705-0169f65d0c0e" providerId="ADAL" clId="{BF4BD5A9-81CF-496E-BF70-4217756ADADE}" dt="2025-07-25T22:32:13.545" v="358" actId="1035"/>
          <ac:spMkLst>
            <pc:docMk/>
            <pc:sldMk cId="1789101232" sldId="2147471322"/>
            <ac:spMk id="137" creationId="{07B992CB-EDEC-BB84-27B7-19183C0BA54C}"/>
          </ac:spMkLst>
        </pc:spChg>
        <pc:cxnChg chg="mod">
          <ac:chgData name="John Paserba" userId="77bd6c8a-d0c1-4fea-8705-0169f65d0c0e" providerId="ADAL" clId="{BF4BD5A9-81CF-496E-BF70-4217756ADADE}" dt="2025-07-25T22:32:13.545" v="358" actId="1035"/>
          <ac:cxnSpMkLst>
            <pc:docMk/>
            <pc:sldMk cId="1789101232" sldId="2147471322"/>
            <ac:cxnSpMk id="14" creationId="{9F7CC347-DE3C-DC9F-19CE-10E8D6307AC7}"/>
          </ac:cxnSpMkLst>
        </pc:cxnChg>
        <pc:cxnChg chg="mod">
          <ac:chgData name="John Paserba" userId="77bd6c8a-d0c1-4fea-8705-0169f65d0c0e" providerId="ADAL" clId="{BF4BD5A9-81CF-496E-BF70-4217756ADADE}" dt="2025-07-25T22:32:13.545" v="358" actId="1035"/>
          <ac:cxnSpMkLst>
            <pc:docMk/>
            <pc:sldMk cId="1789101232" sldId="2147471322"/>
            <ac:cxnSpMk id="15" creationId="{6DFA6580-FB49-63A0-1D09-F999275D76DE}"/>
          </ac:cxnSpMkLst>
        </pc:cxnChg>
        <pc:cxnChg chg="mod">
          <ac:chgData name="John Paserba" userId="77bd6c8a-d0c1-4fea-8705-0169f65d0c0e" providerId="ADAL" clId="{BF4BD5A9-81CF-496E-BF70-4217756ADADE}" dt="2025-07-25T22:32:13.545" v="358" actId="1035"/>
          <ac:cxnSpMkLst>
            <pc:docMk/>
            <pc:sldMk cId="1789101232" sldId="2147471322"/>
            <ac:cxnSpMk id="16" creationId="{2DEC1B3D-7278-753D-CEB1-2DC07C06CC89}"/>
          </ac:cxnSpMkLst>
        </pc:cxnChg>
        <pc:cxnChg chg="mod">
          <ac:chgData name="John Paserba" userId="77bd6c8a-d0c1-4fea-8705-0169f65d0c0e" providerId="ADAL" clId="{BF4BD5A9-81CF-496E-BF70-4217756ADADE}" dt="2025-07-25T22:32:13.545" v="358" actId="1035"/>
          <ac:cxnSpMkLst>
            <pc:docMk/>
            <pc:sldMk cId="1789101232" sldId="2147471322"/>
            <ac:cxnSpMk id="17" creationId="{7B5A85A8-8F84-5537-0CED-67D9331F4336}"/>
          </ac:cxnSpMkLst>
        </pc:cxnChg>
        <pc:cxnChg chg="mod">
          <ac:chgData name="John Paserba" userId="77bd6c8a-d0c1-4fea-8705-0169f65d0c0e" providerId="ADAL" clId="{BF4BD5A9-81CF-496E-BF70-4217756ADADE}" dt="2025-07-25T22:32:13.545" v="358" actId="1035"/>
          <ac:cxnSpMkLst>
            <pc:docMk/>
            <pc:sldMk cId="1789101232" sldId="2147471322"/>
            <ac:cxnSpMk id="18" creationId="{85A2BF3F-4F18-1C82-2118-E9A74FCDE119}"/>
          </ac:cxnSpMkLst>
        </pc:cxnChg>
        <pc:cxnChg chg="mod">
          <ac:chgData name="John Paserba" userId="77bd6c8a-d0c1-4fea-8705-0169f65d0c0e" providerId="ADAL" clId="{BF4BD5A9-81CF-496E-BF70-4217756ADADE}" dt="2025-07-25T22:32:13.545" v="358" actId="1035"/>
          <ac:cxnSpMkLst>
            <pc:docMk/>
            <pc:sldMk cId="1789101232" sldId="2147471322"/>
            <ac:cxnSpMk id="19" creationId="{8B85BBF2-7A8B-ADCB-4A65-E94275F4BA7E}"/>
          </ac:cxnSpMkLst>
        </pc:cxnChg>
        <pc:cxnChg chg="mod">
          <ac:chgData name="John Paserba" userId="77bd6c8a-d0c1-4fea-8705-0169f65d0c0e" providerId="ADAL" clId="{BF4BD5A9-81CF-496E-BF70-4217756ADADE}" dt="2025-07-25T22:32:13.545" v="358" actId="1035"/>
          <ac:cxnSpMkLst>
            <pc:docMk/>
            <pc:sldMk cId="1789101232" sldId="2147471322"/>
            <ac:cxnSpMk id="22" creationId="{69A7E67B-4B71-75A8-A774-5CF71D3F9798}"/>
          </ac:cxnSpMkLst>
        </pc:cxnChg>
        <pc:cxnChg chg="mod">
          <ac:chgData name="John Paserba" userId="77bd6c8a-d0c1-4fea-8705-0169f65d0c0e" providerId="ADAL" clId="{BF4BD5A9-81CF-496E-BF70-4217756ADADE}" dt="2025-07-25T22:32:13.545" v="358" actId="1035"/>
          <ac:cxnSpMkLst>
            <pc:docMk/>
            <pc:sldMk cId="1789101232" sldId="2147471322"/>
            <ac:cxnSpMk id="23" creationId="{44079031-2CB1-B4E2-1364-F88820A1316C}"/>
          </ac:cxnSpMkLst>
        </pc:cxnChg>
        <pc:cxnChg chg="mod">
          <ac:chgData name="John Paserba" userId="77bd6c8a-d0c1-4fea-8705-0169f65d0c0e" providerId="ADAL" clId="{BF4BD5A9-81CF-496E-BF70-4217756ADADE}" dt="2025-07-25T22:32:13.545" v="358" actId="1035"/>
          <ac:cxnSpMkLst>
            <pc:docMk/>
            <pc:sldMk cId="1789101232" sldId="2147471322"/>
            <ac:cxnSpMk id="24" creationId="{B6AE619F-0BA5-5357-E9A8-A497E19F5F22}"/>
          </ac:cxnSpMkLst>
        </pc:cxnChg>
        <pc:cxnChg chg="mod">
          <ac:chgData name="John Paserba" userId="77bd6c8a-d0c1-4fea-8705-0169f65d0c0e" providerId="ADAL" clId="{BF4BD5A9-81CF-496E-BF70-4217756ADADE}" dt="2025-07-25T22:32:13.545" v="358" actId="1035"/>
          <ac:cxnSpMkLst>
            <pc:docMk/>
            <pc:sldMk cId="1789101232" sldId="2147471322"/>
            <ac:cxnSpMk id="28" creationId="{D71857EA-BD7D-4CF8-1CF2-7FC4765782C9}"/>
          </ac:cxnSpMkLst>
        </pc:cxnChg>
        <pc:cxnChg chg="mod">
          <ac:chgData name="John Paserba" userId="77bd6c8a-d0c1-4fea-8705-0169f65d0c0e" providerId="ADAL" clId="{BF4BD5A9-81CF-496E-BF70-4217756ADADE}" dt="2025-07-25T22:32:13.545" v="358" actId="1035"/>
          <ac:cxnSpMkLst>
            <pc:docMk/>
            <pc:sldMk cId="1789101232" sldId="2147471322"/>
            <ac:cxnSpMk id="29" creationId="{2F94D786-59B4-7B1D-9A69-DFB0F29922DF}"/>
          </ac:cxnSpMkLst>
        </pc:cxnChg>
        <pc:cxnChg chg="mod">
          <ac:chgData name="John Paserba" userId="77bd6c8a-d0c1-4fea-8705-0169f65d0c0e" providerId="ADAL" clId="{BF4BD5A9-81CF-496E-BF70-4217756ADADE}" dt="2025-07-25T22:32:13.545" v="358" actId="1035"/>
          <ac:cxnSpMkLst>
            <pc:docMk/>
            <pc:sldMk cId="1789101232" sldId="2147471322"/>
            <ac:cxnSpMk id="31" creationId="{A38310B6-643D-BA10-936D-EF092BB25992}"/>
          </ac:cxnSpMkLst>
        </pc:cxnChg>
        <pc:cxnChg chg="mod">
          <ac:chgData name="John Paserba" userId="77bd6c8a-d0c1-4fea-8705-0169f65d0c0e" providerId="ADAL" clId="{BF4BD5A9-81CF-496E-BF70-4217756ADADE}" dt="2025-07-25T22:32:13.545" v="358" actId="1035"/>
          <ac:cxnSpMkLst>
            <pc:docMk/>
            <pc:sldMk cId="1789101232" sldId="2147471322"/>
            <ac:cxnSpMk id="33" creationId="{C517B0A7-DE33-C38D-25DC-4A90A429E84D}"/>
          </ac:cxnSpMkLst>
        </pc:cxnChg>
        <pc:cxnChg chg="mod">
          <ac:chgData name="John Paserba" userId="77bd6c8a-d0c1-4fea-8705-0169f65d0c0e" providerId="ADAL" clId="{BF4BD5A9-81CF-496E-BF70-4217756ADADE}" dt="2025-07-25T22:32:13.545" v="358" actId="1035"/>
          <ac:cxnSpMkLst>
            <pc:docMk/>
            <pc:sldMk cId="1789101232" sldId="2147471322"/>
            <ac:cxnSpMk id="38" creationId="{28B99D55-4D58-ED0E-5E1D-4026EE51BE51}"/>
          </ac:cxnSpMkLst>
        </pc:cxnChg>
        <pc:cxnChg chg="mod">
          <ac:chgData name="John Paserba" userId="77bd6c8a-d0c1-4fea-8705-0169f65d0c0e" providerId="ADAL" clId="{BF4BD5A9-81CF-496E-BF70-4217756ADADE}" dt="2025-07-25T22:32:13.545" v="358" actId="1035"/>
          <ac:cxnSpMkLst>
            <pc:docMk/>
            <pc:sldMk cId="1789101232" sldId="2147471322"/>
            <ac:cxnSpMk id="40" creationId="{51C6E1B2-5DA7-409E-76D3-E829316459F6}"/>
          </ac:cxnSpMkLst>
        </pc:cxnChg>
        <pc:cxnChg chg="mod">
          <ac:chgData name="John Paserba" userId="77bd6c8a-d0c1-4fea-8705-0169f65d0c0e" providerId="ADAL" clId="{BF4BD5A9-81CF-496E-BF70-4217756ADADE}" dt="2025-07-25T22:32:13.545" v="358" actId="1035"/>
          <ac:cxnSpMkLst>
            <pc:docMk/>
            <pc:sldMk cId="1789101232" sldId="2147471322"/>
            <ac:cxnSpMk id="44" creationId="{C7A73550-9C78-8DEC-7269-0D0B7DCA58BE}"/>
          </ac:cxnSpMkLst>
        </pc:cxnChg>
        <pc:cxnChg chg="mod">
          <ac:chgData name="John Paserba" userId="77bd6c8a-d0c1-4fea-8705-0169f65d0c0e" providerId="ADAL" clId="{BF4BD5A9-81CF-496E-BF70-4217756ADADE}" dt="2025-07-25T22:32:13.545" v="358" actId="1035"/>
          <ac:cxnSpMkLst>
            <pc:docMk/>
            <pc:sldMk cId="1789101232" sldId="2147471322"/>
            <ac:cxnSpMk id="45" creationId="{B34A3F36-9594-7385-C295-DC3800759258}"/>
          </ac:cxnSpMkLst>
        </pc:cxnChg>
        <pc:cxnChg chg="mod">
          <ac:chgData name="John Paserba" userId="77bd6c8a-d0c1-4fea-8705-0169f65d0c0e" providerId="ADAL" clId="{BF4BD5A9-81CF-496E-BF70-4217756ADADE}" dt="2025-07-25T22:32:13.545" v="358" actId="1035"/>
          <ac:cxnSpMkLst>
            <pc:docMk/>
            <pc:sldMk cId="1789101232" sldId="2147471322"/>
            <ac:cxnSpMk id="51" creationId="{27972850-E65A-AD7A-541F-60C4CC2C85E5}"/>
          </ac:cxnSpMkLst>
        </pc:cxnChg>
        <pc:cxnChg chg="mod">
          <ac:chgData name="John Paserba" userId="77bd6c8a-d0c1-4fea-8705-0169f65d0c0e" providerId="ADAL" clId="{BF4BD5A9-81CF-496E-BF70-4217756ADADE}" dt="2025-07-25T22:32:13.545" v="358" actId="1035"/>
          <ac:cxnSpMkLst>
            <pc:docMk/>
            <pc:sldMk cId="1789101232" sldId="2147471322"/>
            <ac:cxnSpMk id="53" creationId="{17BD243B-4C12-A3E1-A680-B624080AAB73}"/>
          </ac:cxnSpMkLst>
        </pc:cxnChg>
        <pc:cxnChg chg="mod">
          <ac:chgData name="John Paserba" userId="77bd6c8a-d0c1-4fea-8705-0169f65d0c0e" providerId="ADAL" clId="{BF4BD5A9-81CF-496E-BF70-4217756ADADE}" dt="2025-07-25T22:32:13.545" v="358" actId="1035"/>
          <ac:cxnSpMkLst>
            <pc:docMk/>
            <pc:sldMk cId="1789101232" sldId="2147471322"/>
            <ac:cxnSpMk id="55" creationId="{5C86AE7C-6E4C-E68D-B0CC-2245FE739C5E}"/>
          </ac:cxnSpMkLst>
        </pc:cxnChg>
        <pc:cxnChg chg="mod">
          <ac:chgData name="John Paserba" userId="77bd6c8a-d0c1-4fea-8705-0169f65d0c0e" providerId="ADAL" clId="{BF4BD5A9-81CF-496E-BF70-4217756ADADE}" dt="2025-07-25T22:32:13.545" v="358" actId="1035"/>
          <ac:cxnSpMkLst>
            <pc:docMk/>
            <pc:sldMk cId="1789101232" sldId="2147471322"/>
            <ac:cxnSpMk id="56" creationId="{CA0C3C55-2D46-DB14-1B8A-FF27A1975BEA}"/>
          </ac:cxnSpMkLst>
        </pc:cxnChg>
        <pc:cxnChg chg="mod">
          <ac:chgData name="John Paserba" userId="77bd6c8a-d0c1-4fea-8705-0169f65d0c0e" providerId="ADAL" clId="{BF4BD5A9-81CF-496E-BF70-4217756ADADE}" dt="2025-07-25T22:32:13.545" v="358" actId="1035"/>
          <ac:cxnSpMkLst>
            <pc:docMk/>
            <pc:sldMk cId="1789101232" sldId="2147471322"/>
            <ac:cxnSpMk id="57" creationId="{23FA2C8C-4ADA-F66C-D8DD-468B235E9790}"/>
          </ac:cxnSpMkLst>
        </pc:cxnChg>
        <pc:cxnChg chg="mod">
          <ac:chgData name="John Paserba" userId="77bd6c8a-d0c1-4fea-8705-0169f65d0c0e" providerId="ADAL" clId="{BF4BD5A9-81CF-496E-BF70-4217756ADADE}" dt="2025-07-25T22:32:13.545" v="358" actId="1035"/>
          <ac:cxnSpMkLst>
            <pc:docMk/>
            <pc:sldMk cId="1789101232" sldId="2147471322"/>
            <ac:cxnSpMk id="62" creationId="{396A4CA2-9E01-FBF3-EE3C-E73493513D41}"/>
          </ac:cxnSpMkLst>
        </pc:cxnChg>
        <pc:cxnChg chg="mod">
          <ac:chgData name="John Paserba" userId="77bd6c8a-d0c1-4fea-8705-0169f65d0c0e" providerId="ADAL" clId="{BF4BD5A9-81CF-496E-BF70-4217756ADADE}" dt="2025-07-25T22:32:13.545" v="358" actId="1035"/>
          <ac:cxnSpMkLst>
            <pc:docMk/>
            <pc:sldMk cId="1789101232" sldId="2147471322"/>
            <ac:cxnSpMk id="63" creationId="{FCAE47A2-155C-4E70-0959-0BD6A154CF22}"/>
          </ac:cxnSpMkLst>
        </pc:cxnChg>
        <pc:cxnChg chg="mod">
          <ac:chgData name="John Paserba" userId="77bd6c8a-d0c1-4fea-8705-0169f65d0c0e" providerId="ADAL" clId="{BF4BD5A9-81CF-496E-BF70-4217756ADADE}" dt="2025-07-25T22:32:13.545" v="358" actId="1035"/>
          <ac:cxnSpMkLst>
            <pc:docMk/>
            <pc:sldMk cId="1789101232" sldId="2147471322"/>
            <ac:cxnSpMk id="64" creationId="{FD149F2B-5450-EAE4-6DEA-2A92BF3CC6C9}"/>
          </ac:cxnSpMkLst>
        </pc:cxnChg>
        <pc:cxnChg chg="mod">
          <ac:chgData name="John Paserba" userId="77bd6c8a-d0c1-4fea-8705-0169f65d0c0e" providerId="ADAL" clId="{BF4BD5A9-81CF-496E-BF70-4217756ADADE}" dt="2025-07-25T22:32:13.545" v="358" actId="1035"/>
          <ac:cxnSpMkLst>
            <pc:docMk/>
            <pc:sldMk cId="1789101232" sldId="2147471322"/>
            <ac:cxnSpMk id="65" creationId="{6309C574-2AF5-5D66-81C5-F0772243D92F}"/>
          </ac:cxnSpMkLst>
        </pc:cxnChg>
        <pc:cxnChg chg="mod">
          <ac:chgData name="John Paserba" userId="77bd6c8a-d0c1-4fea-8705-0169f65d0c0e" providerId="ADAL" clId="{BF4BD5A9-81CF-496E-BF70-4217756ADADE}" dt="2025-07-25T22:32:13.545" v="358" actId="1035"/>
          <ac:cxnSpMkLst>
            <pc:docMk/>
            <pc:sldMk cId="1789101232" sldId="2147471322"/>
            <ac:cxnSpMk id="66" creationId="{DB20915C-F26C-B77C-13C0-E709B5A3BC88}"/>
          </ac:cxnSpMkLst>
        </pc:cxnChg>
        <pc:cxnChg chg="mod">
          <ac:chgData name="John Paserba" userId="77bd6c8a-d0c1-4fea-8705-0169f65d0c0e" providerId="ADAL" clId="{BF4BD5A9-81CF-496E-BF70-4217756ADADE}" dt="2025-07-25T22:32:13.545" v="358" actId="1035"/>
          <ac:cxnSpMkLst>
            <pc:docMk/>
            <pc:sldMk cId="1789101232" sldId="2147471322"/>
            <ac:cxnSpMk id="69" creationId="{4AC53B65-C532-5C6A-1489-E69FA73CA498}"/>
          </ac:cxnSpMkLst>
        </pc:cxnChg>
        <pc:cxnChg chg="mod">
          <ac:chgData name="John Paserba" userId="77bd6c8a-d0c1-4fea-8705-0169f65d0c0e" providerId="ADAL" clId="{BF4BD5A9-81CF-496E-BF70-4217756ADADE}" dt="2025-07-25T22:32:13.545" v="358" actId="1035"/>
          <ac:cxnSpMkLst>
            <pc:docMk/>
            <pc:sldMk cId="1789101232" sldId="2147471322"/>
            <ac:cxnSpMk id="70" creationId="{C95473B4-4E93-9FED-8D77-0C5B0F2DCE5D}"/>
          </ac:cxnSpMkLst>
        </pc:cxnChg>
        <pc:cxnChg chg="mod">
          <ac:chgData name="John Paserba" userId="77bd6c8a-d0c1-4fea-8705-0169f65d0c0e" providerId="ADAL" clId="{BF4BD5A9-81CF-496E-BF70-4217756ADADE}" dt="2025-07-25T22:32:13.545" v="358" actId="1035"/>
          <ac:cxnSpMkLst>
            <pc:docMk/>
            <pc:sldMk cId="1789101232" sldId="2147471322"/>
            <ac:cxnSpMk id="71" creationId="{79ABC4C0-73AF-9621-541C-9D352A5978C3}"/>
          </ac:cxnSpMkLst>
        </pc:cxnChg>
        <pc:cxnChg chg="mod">
          <ac:chgData name="John Paserba" userId="77bd6c8a-d0c1-4fea-8705-0169f65d0c0e" providerId="ADAL" clId="{BF4BD5A9-81CF-496E-BF70-4217756ADADE}" dt="2025-07-25T22:32:13.545" v="358" actId="1035"/>
          <ac:cxnSpMkLst>
            <pc:docMk/>
            <pc:sldMk cId="1789101232" sldId="2147471322"/>
            <ac:cxnSpMk id="77" creationId="{06D0E1E2-42A5-E633-C066-E38AC7347CA4}"/>
          </ac:cxnSpMkLst>
        </pc:cxnChg>
        <pc:cxnChg chg="mod">
          <ac:chgData name="John Paserba" userId="77bd6c8a-d0c1-4fea-8705-0169f65d0c0e" providerId="ADAL" clId="{BF4BD5A9-81CF-496E-BF70-4217756ADADE}" dt="2025-07-25T22:32:13.545" v="358" actId="1035"/>
          <ac:cxnSpMkLst>
            <pc:docMk/>
            <pc:sldMk cId="1789101232" sldId="2147471322"/>
            <ac:cxnSpMk id="79" creationId="{E253A711-957E-CD87-1783-88EBFCC3C918}"/>
          </ac:cxnSpMkLst>
        </pc:cxnChg>
        <pc:cxnChg chg="mod">
          <ac:chgData name="John Paserba" userId="77bd6c8a-d0c1-4fea-8705-0169f65d0c0e" providerId="ADAL" clId="{BF4BD5A9-81CF-496E-BF70-4217756ADADE}" dt="2025-07-25T22:32:13.545" v="358" actId="1035"/>
          <ac:cxnSpMkLst>
            <pc:docMk/>
            <pc:sldMk cId="1789101232" sldId="2147471322"/>
            <ac:cxnSpMk id="99" creationId="{04A5035F-6107-CD7F-8C20-C9E2588E357E}"/>
          </ac:cxnSpMkLst>
        </pc:cxnChg>
        <pc:cxnChg chg="mod">
          <ac:chgData name="John Paserba" userId="77bd6c8a-d0c1-4fea-8705-0169f65d0c0e" providerId="ADAL" clId="{BF4BD5A9-81CF-496E-BF70-4217756ADADE}" dt="2025-07-25T22:32:13.545" v="358" actId="1035"/>
          <ac:cxnSpMkLst>
            <pc:docMk/>
            <pc:sldMk cId="1789101232" sldId="2147471322"/>
            <ac:cxnSpMk id="101" creationId="{269DBF72-D6B2-5219-6322-E576EE07126C}"/>
          </ac:cxnSpMkLst>
        </pc:cxnChg>
        <pc:cxnChg chg="mod">
          <ac:chgData name="John Paserba" userId="77bd6c8a-d0c1-4fea-8705-0169f65d0c0e" providerId="ADAL" clId="{BF4BD5A9-81CF-496E-BF70-4217756ADADE}" dt="2025-07-25T22:32:13.545" v="358" actId="1035"/>
          <ac:cxnSpMkLst>
            <pc:docMk/>
            <pc:sldMk cId="1789101232" sldId="2147471322"/>
            <ac:cxnSpMk id="105" creationId="{F28A7C6E-FD75-B117-0791-A7BB29AF4F04}"/>
          </ac:cxnSpMkLst>
        </pc:cxnChg>
        <pc:cxnChg chg="mod">
          <ac:chgData name="John Paserba" userId="77bd6c8a-d0c1-4fea-8705-0169f65d0c0e" providerId="ADAL" clId="{BF4BD5A9-81CF-496E-BF70-4217756ADADE}" dt="2025-07-25T22:32:13.545" v="358" actId="1035"/>
          <ac:cxnSpMkLst>
            <pc:docMk/>
            <pc:sldMk cId="1789101232" sldId="2147471322"/>
            <ac:cxnSpMk id="114" creationId="{6D2EC9EE-BFB2-A993-16ED-901FD5F9E2E1}"/>
          </ac:cxnSpMkLst>
        </pc:cxnChg>
        <pc:cxnChg chg="mod">
          <ac:chgData name="John Paserba" userId="77bd6c8a-d0c1-4fea-8705-0169f65d0c0e" providerId="ADAL" clId="{BF4BD5A9-81CF-496E-BF70-4217756ADADE}" dt="2025-07-25T22:32:13.545" v="358" actId="1035"/>
          <ac:cxnSpMkLst>
            <pc:docMk/>
            <pc:sldMk cId="1789101232" sldId="2147471322"/>
            <ac:cxnSpMk id="116" creationId="{DA23CD44-0BF8-7D9B-6CBD-C200E11C8EDB}"/>
          </ac:cxnSpMkLst>
        </pc:cxnChg>
        <pc:cxnChg chg="mod">
          <ac:chgData name="John Paserba" userId="77bd6c8a-d0c1-4fea-8705-0169f65d0c0e" providerId="ADAL" clId="{BF4BD5A9-81CF-496E-BF70-4217756ADADE}" dt="2025-07-25T22:32:13.545" v="358" actId="1035"/>
          <ac:cxnSpMkLst>
            <pc:docMk/>
            <pc:sldMk cId="1789101232" sldId="2147471322"/>
            <ac:cxnSpMk id="124" creationId="{CDCC34B9-8752-6B58-7F43-2DBABFE42734}"/>
          </ac:cxnSpMkLst>
        </pc:cxnChg>
      </pc:sldChg>
      <pc:sldChg chg="addSp modSp mod">
        <pc:chgData name="John Paserba" userId="77bd6c8a-d0c1-4fea-8705-0169f65d0c0e" providerId="ADAL" clId="{BF4BD5A9-81CF-496E-BF70-4217756ADADE}" dt="2025-07-25T22:51:36.140" v="815" actId="20577"/>
        <pc:sldMkLst>
          <pc:docMk/>
          <pc:sldMk cId="227166264" sldId="2147471327"/>
        </pc:sldMkLst>
        <pc:spChg chg="add mod">
          <ac:chgData name="John Paserba" userId="77bd6c8a-d0c1-4fea-8705-0169f65d0c0e" providerId="ADAL" clId="{BF4BD5A9-81CF-496E-BF70-4217756ADADE}" dt="2025-07-25T22:51:36.140" v="815" actId="20577"/>
          <ac:spMkLst>
            <pc:docMk/>
            <pc:sldMk cId="227166264" sldId="2147471327"/>
            <ac:spMk id="32" creationId="{467CCDEF-BF45-4CDF-9379-B765EFF000C8}"/>
          </ac:spMkLst>
        </pc:spChg>
        <pc:cxnChg chg="add mod">
          <ac:chgData name="John Paserba" userId="77bd6c8a-d0c1-4fea-8705-0169f65d0c0e" providerId="ADAL" clId="{BF4BD5A9-81CF-496E-BF70-4217756ADADE}" dt="2025-07-25T22:51:20.848" v="796" actId="1076"/>
          <ac:cxnSpMkLst>
            <pc:docMk/>
            <pc:sldMk cId="227166264" sldId="2147471327"/>
            <ac:cxnSpMk id="33" creationId="{3B6AC5F7-D439-478D-8129-C95F0796AEC9}"/>
          </ac:cxnSpMkLst>
        </pc:cxnChg>
      </pc:sldChg>
      <pc:sldChg chg="delSp modSp mod">
        <pc:chgData name="John Paserba" userId="77bd6c8a-d0c1-4fea-8705-0169f65d0c0e" providerId="ADAL" clId="{BF4BD5A9-81CF-496E-BF70-4217756ADADE}" dt="2025-07-25T22:41:10.159" v="424" actId="27636"/>
        <pc:sldMkLst>
          <pc:docMk/>
          <pc:sldMk cId="195241491" sldId="2147471370"/>
        </pc:sldMkLst>
        <pc:spChg chg="mod">
          <ac:chgData name="John Paserba" userId="77bd6c8a-d0c1-4fea-8705-0169f65d0c0e" providerId="ADAL" clId="{BF4BD5A9-81CF-496E-BF70-4217756ADADE}" dt="2025-07-25T22:41:10.159" v="424" actId="27636"/>
          <ac:spMkLst>
            <pc:docMk/>
            <pc:sldMk cId="195241491" sldId="2147471370"/>
            <ac:spMk id="3" creationId="{E6993746-A424-4F09-867F-B919F4E18ECB}"/>
          </ac:spMkLst>
        </pc:spChg>
        <pc:spChg chg="del">
          <ac:chgData name="John Paserba" userId="77bd6c8a-d0c1-4fea-8705-0169f65d0c0e" providerId="ADAL" clId="{BF4BD5A9-81CF-496E-BF70-4217756ADADE}" dt="2025-07-25T22:38:17.298" v="399" actId="478"/>
          <ac:spMkLst>
            <pc:docMk/>
            <pc:sldMk cId="195241491" sldId="2147471370"/>
            <ac:spMk id="6" creationId="{C538B55C-48D5-436B-B0FB-8946B087EF5A}"/>
          </ac:spMkLst>
        </pc:spChg>
        <pc:spChg chg="mod">
          <ac:chgData name="John Paserba" userId="77bd6c8a-d0c1-4fea-8705-0169f65d0c0e" providerId="ADAL" clId="{BF4BD5A9-81CF-496E-BF70-4217756ADADE}" dt="2025-07-25T22:38:22.326" v="400"/>
          <ac:spMkLst>
            <pc:docMk/>
            <pc:sldMk cId="195241491" sldId="2147471370"/>
            <ac:spMk id="3328002" creationId="{00000000-0000-0000-0000-000000000000}"/>
          </ac:spMkLst>
        </pc:spChg>
      </pc:sldChg>
      <pc:sldChg chg="delSp modSp mod">
        <pc:chgData name="John Paserba" userId="77bd6c8a-d0c1-4fea-8705-0169f65d0c0e" providerId="ADAL" clId="{BF4BD5A9-81CF-496E-BF70-4217756ADADE}" dt="2025-07-25T22:43:50.330" v="513"/>
        <pc:sldMkLst>
          <pc:docMk/>
          <pc:sldMk cId="4170103928" sldId="2147471371"/>
        </pc:sldMkLst>
        <pc:spChg chg="mod">
          <ac:chgData name="John Paserba" userId="77bd6c8a-d0c1-4fea-8705-0169f65d0c0e" providerId="ADAL" clId="{BF4BD5A9-81CF-496E-BF70-4217756ADADE}" dt="2025-07-25T22:43:45.588" v="512" actId="20577"/>
          <ac:spMkLst>
            <pc:docMk/>
            <pc:sldMk cId="4170103928" sldId="2147471371"/>
            <ac:spMk id="3" creationId="{E6993746-A424-4F09-867F-B919F4E18ECB}"/>
          </ac:spMkLst>
        </pc:spChg>
        <pc:spChg chg="del">
          <ac:chgData name="John Paserba" userId="77bd6c8a-d0c1-4fea-8705-0169f65d0c0e" providerId="ADAL" clId="{BF4BD5A9-81CF-496E-BF70-4217756ADADE}" dt="2025-07-25T22:42:03.260" v="427" actId="478"/>
          <ac:spMkLst>
            <pc:docMk/>
            <pc:sldMk cId="4170103928" sldId="2147471371"/>
            <ac:spMk id="6" creationId="{0AC6383F-07E7-4D32-8D81-E811FEEC71C6}"/>
          </ac:spMkLst>
        </pc:spChg>
        <pc:spChg chg="mod">
          <ac:chgData name="John Paserba" userId="77bd6c8a-d0c1-4fea-8705-0169f65d0c0e" providerId="ADAL" clId="{BF4BD5A9-81CF-496E-BF70-4217756ADADE}" dt="2025-07-25T22:43:50.330" v="513"/>
          <ac:spMkLst>
            <pc:docMk/>
            <pc:sldMk cId="4170103928" sldId="2147471371"/>
            <ac:spMk id="3328002" creationId="{00000000-0000-0000-0000-000000000000}"/>
          </ac:spMkLst>
        </pc:spChg>
      </pc:sldChg>
      <pc:sldChg chg="delSp modSp mod">
        <pc:chgData name="John Paserba" userId="77bd6c8a-d0c1-4fea-8705-0169f65d0c0e" providerId="ADAL" clId="{BF4BD5A9-81CF-496E-BF70-4217756ADADE}" dt="2025-07-25T22:44:11.739" v="517" actId="20577"/>
        <pc:sldMkLst>
          <pc:docMk/>
          <pc:sldMk cId="2676973762" sldId="2147471372"/>
        </pc:sldMkLst>
        <pc:spChg chg="mod">
          <ac:chgData name="John Paserba" userId="77bd6c8a-d0c1-4fea-8705-0169f65d0c0e" providerId="ADAL" clId="{BF4BD5A9-81CF-496E-BF70-4217756ADADE}" dt="2025-07-25T22:44:11.739" v="517" actId="20577"/>
          <ac:spMkLst>
            <pc:docMk/>
            <pc:sldMk cId="2676973762" sldId="2147471372"/>
            <ac:spMk id="3" creationId="{E6993746-A424-4F09-867F-B919F4E18ECB}"/>
          </ac:spMkLst>
        </pc:spChg>
        <pc:spChg chg="del">
          <ac:chgData name="John Paserba" userId="77bd6c8a-d0c1-4fea-8705-0169f65d0c0e" providerId="ADAL" clId="{BF4BD5A9-81CF-496E-BF70-4217756ADADE}" dt="2025-07-25T22:43:56.527" v="514" actId="478"/>
          <ac:spMkLst>
            <pc:docMk/>
            <pc:sldMk cId="2676973762" sldId="2147471372"/>
            <ac:spMk id="6" creationId="{32903A06-4CB1-48B1-B462-49597A88CDA7}"/>
          </ac:spMkLst>
        </pc:spChg>
        <pc:spChg chg="mod">
          <ac:chgData name="John Paserba" userId="77bd6c8a-d0c1-4fea-8705-0169f65d0c0e" providerId="ADAL" clId="{BF4BD5A9-81CF-496E-BF70-4217756ADADE}" dt="2025-07-25T22:44:00.682" v="515"/>
          <ac:spMkLst>
            <pc:docMk/>
            <pc:sldMk cId="2676973762" sldId="2147471372"/>
            <ac:spMk id="3328002" creationId="{00000000-0000-0000-0000-000000000000}"/>
          </ac:spMkLst>
        </pc:spChg>
      </pc:sldChg>
      <pc:sldChg chg="delSp mod">
        <pc:chgData name="John Paserba" userId="77bd6c8a-d0c1-4fea-8705-0169f65d0c0e" providerId="ADAL" clId="{BF4BD5A9-81CF-496E-BF70-4217756ADADE}" dt="2025-07-25T23:05:48.960" v="877" actId="27918"/>
        <pc:sldMkLst>
          <pc:docMk/>
          <pc:sldMk cId="3498029312" sldId="2147471414"/>
        </pc:sldMkLst>
        <pc:spChg chg="del">
          <ac:chgData name="John Paserba" userId="77bd6c8a-d0c1-4fea-8705-0169f65d0c0e" providerId="ADAL" clId="{BF4BD5A9-81CF-496E-BF70-4217756ADADE}" dt="2025-07-25T23:05:26.784" v="873" actId="478"/>
          <ac:spMkLst>
            <pc:docMk/>
            <pc:sldMk cId="3498029312" sldId="2147471414"/>
            <ac:spMk id="14" creationId="{10A16B51-145A-4CBD-8A82-6F764B6F9830}"/>
          </ac:spMkLst>
        </pc:spChg>
      </pc:sldChg>
      <pc:sldChg chg="addSp delSp modSp mod">
        <pc:chgData name="John Paserba" userId="77bd6c8a-d0c1-4fea-8705-0169f65d0c0e" providerId="ADAL" clId="{BF4BD5A9-81CF-496E-BF70-4217756ADADE}" dt="2025-07-25T23:16:51.453" v="924" actId="27918"/>
        <pc:sldMkLst>
          <pc:docMk/>
          <pc:sldMk cId="29349428" sldId="2147471427"/>
        </pc:sldMkLst>
        <pc:spChg chg="add mod">
          <ac:chgData name="John Paserba" userId="77bd6c8a-d0c1-4fea-8705-0169f65d0c0e" providerId="ADAL" clId="{BF4BD5A9-81CF-496E-BF70-4217756ADADE}" dt="2025-07-25T23:13:40.979" v="904"/>
          <ac:spMkLst>
            <pc:docMk/>
            <pc:sldMk cId="29349428" sldId="2147471427"/>
            <ac:spMk id="9" creationId="{994ECF44-4C80-41C5-99DA-7B98588F411D}"/>
          </ac:spMkLst>
        </pc:spChg>
        <pc:spChg chg="mod">
          <ac:chgData name="John Paserba" userId="77bd6c8a-d0c1-4fea-8705-0169f65d0c0e" providerId="ADAL" clId="{BF4BD5A9-81CF-496E-BF70-4217756ADADE}" dt="2025-07-25T23:13:23.932" v="903"/>
          <ac:spMkLst>
            <pc:docMk/>
            <pc:sldMk cId="29349428" sldId="2147471427"/>
            <ac:spMk id="19" creationId="{00000000-0000-0000-0000-000000000000}"/>
          </ac:spMkLst>
        </pc:spChg>
        <pc:picChg chg="add del mod">
          <ac:chgData name="John Paserba" userId="77bd6c8a-d0c1-4fea-8705-0169f65d0c0e" providerId="ADAL" clId="{BF4BD5A9-81CF-496E-BF70-4217756ADADE}" dt="2025-07-25T23:14:52.002" v="910" actId="478"/>
          <ac:picMkLst>
            <pc:docMk/>
            <pc:sldMk cId="29349428" sldId="2147471427"/>
            <ac:picMk id="2" creationId="{3CF2E6BE-041F-4727-ADC1-6460D7051B47}"/>
          </ac:picMkLst>
        </pc:picChg>
        <pc:picChg chg="add mod modCrop">
          <ac:chgData name="John Paserba" userId="77bd6c8a-d0c1-4fea-8705-0169f65d0c0e" providerId="ADAL" clId="{BF4BD5A9-81CF-496E-BF70-4217756ADADE}" dt="2025-07-25T23:16:03.065" v="919" actId="692"/>
          <ac:picMkLst>
            <pc:docMk/>
            <pc:sldMk cId="29349428" sldId="2147471427"/>
            <ac:picMk id="3" creationId="{3E109FB1-6F29-4379-B0AB-C5D622665C9E}"/>
          </ac:picMkLst>
        </pc:picChg>
      </pc:sldChg>
      <pc:sldChg chg="modSp mod">
        <pc:chgData name="John Paserba" userId="77bd6c8a-d0c1-4fea-8705-0169f65d0c0e" providerId="ADAL" clId="{BF4BD5A9-81CF-496E-BF70-4217756ADADE}" dt="2025-07-25T22:36:27.470" v="391" actId="255"/>
        <pc:sldMkLst>
          <pc:docMk/>
          <pc:sldMk cId="1243136271" sldId="2147471486"/>
        </pc:sldMkLst>
        <pc:spChg chg="mod">
          <ac:chgData name="John Paserba" userId="77bd6c8a-d0c1-4fea-8705-0169f65d0c0e" providerId="ADAL" clId="{BF4BD5A9-81CF-496E-BF70-4217756ADADE}" dt="2025-07-25T22:36:27.470" v="391" actId="255"/>
          <ac:spMkLst>
            <pc:docMk/>
            <pc:sldMk cId="1243136271" sldId="2147471486"/>
            <ac:spMk id="2" creationId="{24EFA49A-D6F0-94EB-2E4A-46AC510574DD}"/>
          </ac:spMkLst>
        </pc:spChg>
      </pc:sldChg>
      <pc:sldChg chg="modSp mod">
        <pc:chgData name="John Paserba" userId="77bd6c8a-d0c1-4fea-8705-0169f65d0c0e" providerId="ADAL" clId="{BF4BD5A9-81CF-496E-BF70-4217756ADADE}" dt="2025-07-25T22:35:30.591" v="383" actId="2711"/>
        <pc:sldMkLst>
          <pc:docMk/>
          <pc:sldMk cId="17225138" sldId="2147471503"/>
        </pc:sldMkLst>
        <pc:spChg chg="mod">
          <ac:chgData name="John Paserba" userId="77bd6c8a-d0c1-4fea-8705-0169f65d0c0e" providerId="ADAL" clId="{BF4BD5A9-81CF-496E-BF70-4217756ADADE}" dt="2025-07-25T22:35:30.591" v="383" actId="2711"/>
          <ac:spMkLst>
            <pc:docMk/>
            <pc:sldMk cId="17225138" sldId="2147471503"/>
            <ac:spMk id="3328002" creationId="{00000000-0000-0000-0000-000000000000}"/>
          </ac:spMkLst>
        </pc:spChg>
      </pc:sldChg>
      <pc:sldChg chg="add del">
        <pc:chgData name="John Paserba" userId="77bd6c8a-d0c1-4fea-8705-0169f65d0c0e" providerId="ADAL" clId="{BF4BD5A9-81CF-496E-BF70-4217756ADADE}" dt="2025-07-25T18:59:38.930" v="125"/>
        <pc:sldMkLst>
          <pc:docMk/>
          <pc:sldMk cId="2231163395" sldId="2147471510"/>
        </pc:sldMkLst>
      </pc:sldChg>
      <pc:sldChg chg="del">
        <pc:chgData name="John Paserba" userId="77bd6c8a-d0c1-4fea-8705-0169f65d0c0e" providerId="ADAL" clId="{BF4BD5A9-81CF-496E-BF70-4217756ADADE}" dt="2025-07-25T18:59:34.237" v="124" actId="47"/>
        <pc:sldMkLst>
          <pc:docMk/>
          <pc:sldMk cId="3003417310" sldId="2147471511"/>
        </pc:sldMkLst>
      </pc:sldChg>
      <pc:sldChg chg="add del">
        <pc:chgData name="John Paserba" userId="77bd6c8a-d0c1-4fea-8705-0169f65d0c0e" providerId="ADAL" clId="{BF4BD5A9-81CF-496E-BF70-4217756ADADE}" dt="2025-07-25T18:59:38.930" v="125"/>
        <pc:sldMkLst>
          <pc:docMk/>
          <pc:sldMk cId="3820929825" sldId="2147471516"/>
        </pc:sldMkLst>
      </pc:sldChg>
      <pc:sldChg chg="del">
        <pc:chgData name="John Paserba" userId="77bd6c8a-d0c1-4fea-8705-0169f65d0c0e" providerId="ADAL" clId="{BF4BD5A9-81CF-496E-BF70-4217756ADADE}" dt="2025-07-25T18:59:34.237" v="124" actId="47"/>
        <pc:sldMkLst>
          <pc:docMk/>
          <pc:sldMk cId="1134693933" sldId="2147471517"/>
        </pc:sldMkLst>
      </pc:sldChg>
      <pc:sldChg chg="addSp delSp mod">
        <pc:chgData name="John Paserba" userId="77bd6c8a-d0c1-4fea-8705-0169f65d0c0e" providerId="ADAL" clId="{BF4BD5A9-81CF-496E-BF70-4217756ADADE}" dt="2025-07-25T22:13:16.898" v="266" actId="22"/>
        <pc:sldMkLst>
          <pc:docMk/>
          <pc:sldMk cId="2607821654" sldId="2147471533"/>
        </pc:sldMkLst>
        <pc:spChg chg="add del">
          <ac:chgData name="John Paserba" userId="77bd6c8a-d0c1-4fea-8705-0169f65d0c0e" providerId="ADAL" clId="{BF4BD5A9-81CF-496E-BF70-4217756ADADE}" dt="2025-07-25T22:13:16.898" v="266" actId="22"/>
          <ac:spMkLst>
            <pc:docMk/>
            <pc:sldMk cId="2607821654" sldId="2147471533"/>
            <ac:spMk id="17" creationId="{3BCF46A4-54FE-4D10-B0E9-4D9A74C1F097}"/>
          </ac:spMkLst>
        </pc:spChg>
      </pc:sldChg>
      <pc:sldChg chg="add del">
        <pc:chgData name="John Paserba" userId="77bd6c8a-d0c1-4fea-8705-0169f65d0c0e" providerId="ADAL" clId="{BF4BD5A9-81CF-496E-BF70-4217756ADADE}" dt="2025-07-25T18:59:38.930" v="125"/>
        <pc:sldMkLst>
          <pc:docMk/>
          <pc:sldMk cId="3823917263" sldId="2147471561"/>
        </pc:sldMkLst>
      </pc:sldChg>
      <pc:sldChg chg="add del">
        <pc:chgData name="John Paserba" userId="77bd6c8a-d0c1-4fea-8705-0169f65d0c0e" providerId="ADAL" clId="{BF4BD5A9-81CF-496E-BF70-4217756ADADE}" dt="2025-07-25T18:59:38.930" v="125"/>
        <pc:sldMkLst>
          <pc:docMk/>
          <pc:sldMk cId="599989515" sldId="2147471562"/>
        </pc:sldMkLst>
      </pc:sldChg>
      <pc:sldChg chg="add del">
        <pc:chgData name="John Paserba" userId="77bd6c8a-d0c1-4fea-8705-0169f65d0c0e" providerId="ADAL" clId="{BF4BD5A9-81CF-496E-BF70-4217756ADADE}" dt="2025-07-25T18:59:38.930" v="125"/>
        <pc:sldMkLst>
          <pc:docMk/>
          <pc:sldMk cId="1930684240" sldId="2147471563"/>
        </pc:sldMkLst>
      </pc:sldChg>
      <pc:sldChg chg="modSp add del mod">
        <pc:chgData name="John Paserba" userId="77bd6c8a-d0c1-4fea-8705-0169f65d0c0e" providerId="ADAL" clId="{BF4BD5A9-81CF-496E-BF70-4217756ADADE}" dt="2025-07-25T21:56:04.607" v="135" actId="20577"/>
        <pc:sldMkLst>
          <pc:docMk/>
          <pc:sldMk cId="3848360745" sldId="2147471564"/>
        </pc:sldMkLst>
        <pc:spChg chg="mod">
          <ac:chgData name="John Paserba" userId="77bd6c8a-d0c1-4fea-8705-0169f65d0c0e" providerId="ADAL" clId="{BF4BD5A9-81CF-496E-BF70-4217756ADADE}" dt="2025-07-25T21:56:04.607" v="135" actId="20577"/>
          <ac:spMkLst>
            <pc:docMk/>
            <pc:sldMk cId="3848360745" sldId="2147471564"/>
            <ac:spMk id="3" creationId="{E6993746-A424-4F09-867F-B919F4E18ECB}"/>
          </ac:spMkLst>
        </pc:spChg>
      </pc:sldChg>
      <pc:sldChg chg="modSp mod">
        <pc:chgData name="John Paserba" userId="77bd6c8a-d0c1-4fea-8705-0169f65d0c0e" providerId="ADAL" clId="{BF4BD5A9-81CF-496E-BF70-4217756ADADE}" dt="2025-07-25T22:15:46.787" v="281" actId="255"/>
        <pc:sldMkLst>
          <pc:docMk/>
          <pc:sldMk cId="2546989764" sldId="2147471575"/>
        </pc:sldMkLst>
        <pc:spChg chg="mod">
          <ac:chgData name="John Paserba" userId="77bd6c8a-d0c1-4fea-8705-0169f65d0c0e" providerId="ADAL" clId="{BF4BD5A9-81CF-496E-BF70-4217756ADADE}" dt="2025-07-25T22:15:46.787" v="281" actId="255"/>
          <ac:spMkLst>
            <pc:docMk/>
            <pc:sldMk cId="2546989764" sldId="2147471575"/>
            <ac:spMk id="3328002" creationId="{00000000-0000-0000-0000-000000000000}"/>
          </ac:spMkLst>
        </pc:spChg>
      </pc:sldChg>
      <pc:sldChg chg="del">
        <pc:chgData name="John Paserba" userId="77bd6c8a-d0c1-4fea-8705-0169f65d0c0e" providerId="ADAL" clId="{BF4BD5A9-81CF-496E-BF70-4217756ADADE}" dt="2025-07-25T22:13:02.866" v="263" actId="47"/>
        <pc:sldMkLst>
          <pc:docMk/>
          <pc:sldMk cId="1095522058" sldId="2147471576"/>
        </pc:sldMkLst>
      </pc:sldChg>
      <pc:sldChg chg="add del">
        <pc:chgData name="John Paserba" userId="77bd6c8a-d0c1-4fea-8705-0169f65d0c0e" providerId="ADAL" clId="{BF4BD5A9-81CF-496E-BF70-4217756ADADE}" dt="2025-07-25T22:01:48.303" v="217"/>
        <pc:sldMkLst>
          <pc:docMk/>
          <pc:sldMk cId="1338355350" sldId="2147471577"/>
        </pc:sldMkLst>
      </pc:sldChg>
      <pc:sldChg chg="del">
        <pc:chgData name="John Paserba" userId="77bd6c8a-d0c1-4fea-8705-0169f65d0c0e" providerId="ADAL" clId="{BF4BD5A9-81CF-496E-BF70-4217756ADADE}" dt="2025-07-25T22:02:22.770" v="219" actId="47"/>
        <pc:sldMkLst>
          <pc:docMk/>
          <pc:sldMk cId="363196986" sldId="2147471578"/>
        </pc:sldMkLst>
      </pc:sldChg>
      <pc:sldChg chg="modSp mod">
        <pc:chgData name="John Paserba" userId="77bd6c8a-d0c1-4fea-8705-0169f65d0c0e" providerId="ADAL" clId="{BF4BD5A9-81CF-496E-BF70-4217756ADADE}" dt="2025-07-25T22:08:39.001" v="260"/>
        <pc:sldMkLst>
          <pc:docMk/>
          <pc:sldMk cId="1394849283" sldId="2147471580"/>
        </pc:sldMkLst>
        <pc:spChg chg="mod">
          <ac:chgData name="John Paserba" userId="77bd6c8a-d0c1-4fea-8705-0169f65d0c0e" providerId="ADAL" clId="{BF4BD5A9-81CF-496E-BF70-4217756ADADE}" dt="2025-07-25T22:08:39.001" v="260"/>
          <ac:spMkLst>
            <pc:docMk/>
            <pc:sldMk cId="1394849283" sldId="2147471580"/>
            <ac:spMk id="3" creationId="{E6993746-A424-4F09-867F-B919F4E18ECB}"/>
          </ac:spMkLst>
        </pc:spChg>
      </pc:sldChg>
      <pc:sldChg chg="del">
        <pc:chgData name="John Paserba" userId="77bd6c8a-d0c1-4fea-8705-0169f65d0c0e" providerId="ADAL" clId="{BF4BD5A9-81CF-496E-BF70-4217756ADADE}" dt="2025-07-25T22:16:00.085" v="282" actId="47"/>
        <pc:sldMkLst>
          <pc:docMk/>
          <pc:sldMk cId="3997758254" sldId="2147471581"/>
        </pc:sldMkLst>
      </pc:sldChg>
      <pc:sldChg chg="addSp delSp modSp mod">
        <pc:chgData name="John Paserba" userId="77bd6c8a-d0c1-4fea-8705-0169f65d0c0e" providerId="ADAL" clId="{BF4BD5A9-81CF-496E-BF70-4217756ADADE}" dt="2025-07-25T22:29:55.360" v="329" actId="255"/>
        <pc:sldMkLst>
          <pc:docMk/>
          <pc:sldMk cId="3886136744" sldId="2147471591"/>
        </pc:sldMkLst>
        <pc:spChg chg="add mod">
          <ac:chgData name="John Paserba" userId="77bd6c8a-d0c1-4fea-8705-0169f65d0c0e" providerId="ADAL" clId="{BF4BD5A9-81CF-496E-BF70-4217756ADADE}" dt="2025-07-25T22:29:55.360" v="329" actId="255"/>
          <ac:spMkLst>
            <pc:docMk/>
            <pc:sldMk cId="3886136744" sldId="2147471591"/>
            <ac:spMk id="8" creationId="{8353985F-7AEC-42DD-B834-FC9E8591E10C}"/>
          </ac:spMkLst>
        </pc:spChg>
        <pc:spChg chg="del mod">
          <ac:chgData name="John Paserba" userId="77bd6c8a-d0c1-4fea-8705-0169f65d0c0e" providerId="ADAL" clId="{BF4BD5A9-81CF-496E-BF70-4217756ADADE}" dt="2025-07-25T22:29:45.146" v="327" actId="478"/>
          <ac:spMkLst>
            <pc:docMk/>
            <pc:sldMk cId="3886136744" sldId="2147471591"/>
            <ac:spMk id="3328002" creationId="{00000000-0000-0000-0000-000000000000}"/>
          </ac:spMkLst>
        </pc:spChg>
        <pc:picChg chg="mod">
          <ac:chgData name="John Paserba" userId="77bd6c8a-d0c1-4fea-8705-0169f65d0c0e" providerId="ADAL" clId="{BF4BD5A9-81CF-496E-BF70-4217756ADADE}" dt="2025-07-25T22:29:37.703" v="325" actId="1076"/>
          <ac:picMkLst>
            <pc:docMk/>
            <pc:sldMk cId="3886136744" sldId="2147471591"/>
            <ac:picMk id="5" creationId="{E2090744-1273-4DE4-9F8B-73E3F5C1813E}"/>
          </ac:picMkLst>
        </pc:picChg>
      </pc:sldChg>
      <pc:sldChg chg="addSp delSp modSp mod">
        <pc:chgData name="John Paserba" userId="77bd6c8a-d0c1-4fea-8705-0169f65d0c0e" providerId="ADAL" clId="{BF4BD5A9-81CF-496E-BF70-4217756ADADE}" dt="2025-07-25T23:21:06.427" v="1092" actId="20577"/>
        <pc:sldMkLst>
          <pc:docMk/>
          <pc:sldMk cId="2252215513" sldId="2147471610"/>
        </pc:sldMkLst>
        <pc:spChg chg="add mod">
          <ac:chgData name="John Paserba" userId="77bd6c8a-d0c1-4fea-8705-0169f65d0c0e" providerId="ADAL" clId="{BF4BD5A9-81CF-496E-BF70-4217756ADADE}" dt="2025-07-25T23:21:06.427" v="1092" actId="20577"/>
          <ac:spMkLst>
            <pc:docMk/>
            <pc:sldMk cId="2252215513" sldId="2147471610"/>
            <ac:spMk id="12" creationId="{C43A7DFC-A883-4701-AC05-382F7933F157}"/>
          </ac:spMkLst>
        </pc:spChg>
        <pc:spChg chg="del">
          <ac:chgData name="John Paserba" userId="77bd6c8a-d0c1-4fea-8705-0169f65d0c0e" providerId="ADAL" clId="{BF4BD5A9-81CF-496E-BF70-4217756ADADE}" dt="2025-07-25T23:10:37.579" v="894" actId="478"/>
          <ac:spMkLst>
            <pc:docMk/>
            <pc:sldMk cId="2252215513" sldId="2147471610"/>
            <ac:spMk id="13" creationId="{333B4120-E4C4-4698-A7D9-888EE0819D62}"/>
          </ac:spMkLst>
        </pc:spChg>
        <pc:graphicFrameChg chg="mod">
          <ac:chgData name="John Paserba" userId="77bd6c8a-d0c1-4fea-8705-0169f65d0c0e" providerId="ADAL" clId="{BF4BD5A9-81CF-496E-BF70-4217756ADADE}" dt="2025-07-25T23:10:59.377" v="899"/>
          <ac:graphicFrameMkLst>
            <pc:docMk/>
            <pc:sldMk cId="2252215513" sldId="2147471610"/>
            <ac:graphicFrameMk id="24" creationId="{15813888-BDE7-483A-B111-3A6C5F25E35B}"/>
          </ac:graphicFrameMkLst>
        </pc:graphicFrameChg>
      </pc:sldChg>
      <pc:sldChg chg="delSp modSp mod">
        <pc:chgData name="John Paserba" userId="77bd6c8a-d0c1-4fea-8705-0169f65d0c0e" providerId="ADAL" clId="{BF4BD5A9-81CF-496E-BF70-4217756ADADE}" dt="2025-07-25T23:19:33.280" v="929" actId="20577"/>
        <pc:sldMkLst>
          <pc:docMk/>
          <pc:sldMk cId="2472254228" sldId="2147471632"/>
        </pc:sldMkLst>
        <pc:spChg chg="del">
          <ac:chgData name="John Paserba" userId="77bd6c8a-d0c1-4fea-8705-0169f65d0c0e" providerId="ADAL" clId="{BF4BD5A9-81CF-496E-BF70-4217756ADADE}" dt="2025-07-25T23:06:49.625" v="878" actId="478"/>
          <ac:spMkLst>
            <pc:docMk/>
            <pc:sldMk cId="2472254228" sldId="2147471632"/>
            <ac:spMk id="18" creationId="{323FB5F8-207B-40ED-833E-7E678AFE05FD}"/>
          </ac:spMkLst>
        </pc:spChg>
        <pc:spChg chg="mod">
          <ac:chgData name="John Paserba" userId="77bd6c8a-d0c1-4fea-8705-0169f65d0c0e" providerId="ADAL" clId="{BF4BD5A9-81CF-496E-BF70-4217756ADADE}" dt="2025-07-25T23:19:33.280" v="929" actId="20577"/>
          <ac:spMkLst>
            <pc:docMk/>
            <pc:sldMk cId="2472254228" sldId="2147471632"/>
            <ac:spMk id="23" creationId="{9A58F41F-A6CC-478A-A45C-43902016E283}"/>
          </ac:spMkLst>
        </pc:spChg>
        <pc:graphicFrameChg chg="mod">
          <ac:chgData name="John Paserba" userId="77bd6c8a-d0c1-4fea-8705-0169f65d0c0e" providerId="ADAL" clId="{BF4BD5A9-81CF-496E-BF70-4217756ADADE}" dt="2025-07-25T23:10:19.204" v="893"/>
          <ac:graphicFrameMkLst>
            <pc:docMk/>
            <pc:sldMk cId="2472254228" sldId="2147471632"/>
            <ac:graphicFrameMk id="5" creationId="{00000000-0000-0000-0000-000000000000}"/>
          </ac:graphicFrameMkLst>
        </pc:graphicFrameChg>
        <pc:graphicFrameChg chg="modGraphic">
          <ac:chgData name="John Paserba" userId="77bd6c8a-d0c1-4fea-8705-0169f65d0c0e" providerId="ADAL" clId="{BF4BD5A9-81CF-496E-BF70-4217756ADADE}" dt="2025-07-25T23:07:19.991" v="884" actId="20577"/>
          <ac:graphicFrameMkLst>
            <pc:docMk/>
            <pc:sldMk cId="2472254228" sldId="2147471632"/>
            <ac:graphicFrameMk id="11" creationId="{00000000-0000-0000-0000-000000000000}"/>
          </ac:graphicFrameMkLst>
        </pc:graphicFrameChg>
      </pc:sldChg>
      <pc:sldChg chg="modSp mod">
        <pc:chgData name="John Paserba" userId="77bd6c8a-d0c1-4fea-8705-0169f65d0c0e" providerId="ADAL" clId="{BF4BD5A9-81CF-496E-BF70-4217756ADADE}" dt="2025-07-25T23:12:12.148" v="902" actId="20577"/>
        <pc:sldMkLst>
          <pc:docMk/>
          <pc:sldMk cId="889899731" sldId="2147471651"/>
        </pc:sldMkLst>
        <pc:spChg chg="mod">
          <ac:chgData name="John Paserba" userId="77bd6c8a-d0c1-4fea-8705-0169f65d0c0e" providerId="ADAL" clId="{BF4BD5A9-81CF-496E-BF70-4217756ADADE}" dt="2025-07-25T23:12:12.148" v="902" actId="20577"/>
          <ac:spMkLst>
            <pc:docMk/>
            <pc:sldMk cId="889899731" sldId="2147471651"/>
            <ac:spMk id="3" creationId="{E6993746-A424-4F09-867F-B919F4E18ECB}"/>
          </ac:spMkLst>
        </pc:spChg>
      </pc:sldChg>
      <pc:sldChg chg="delSp modSp mod">
        <pc:chgData name="John Paserba" userId="77bd6c8a-d0c1-4fea-8705-0169f65d0c0e" providerId="ADAL" clId="{BF4BD5A9-81CF-496E-BF70-4217756ADADE}" dt="2025-07-25T18:58:17.560" v="123"/>
        <pc:sldMkLst>
          <pc:docMk/>
          <pc:sldMk cId="438874774" sldId="2147471662"/>
        </pc:sldMkLst>
        <pc:spChg chg="mod">
          <ac:chgData name="John Paserba" userId="77bd6c8a-d0c1-4fea-8705-0169f65d0c0e" providerId="ADAL" clId="{BF4BD5A9-81CF-496E-BF70-4217756ADADE}" dt="2025-07-25T18:58:10.747" v="122" actId="20577"/>
          <ac:spMkLst>
            <pc:docMk/>
            <pc:sldMk cId="438874774" sldId="2147471662"/>
            <ac:spMk id="3" creationId="{E6993746-A424-4F09-867F-B919F4E18ECB}"/>
          </ac:spMkLst>
        </pc:spChg>
        <pc:spChg chg="del">
          <ac:chgData name="John Paserba" userId="77bd6c8a-d0c1-4fea-8705-0169f65d0c0e" providerId="ADAL" clId="{BF4BD5A9-81CF-496E-BF70-4217756ADADE}" dt="2025-07-25T18:57:37.018" v="74" actId="478"/>
          <ac:spMkLst>
            <pc:docMk/>
            <pc:sldMk cId="438874774" sldId="2147471662"/>
            <ac:spMk id="12" creationId="{9271B09D-6787-4319-A454-AEEDF285BCC3}"/>
          </ac:spMkLst>
        </pc:spChg>
        <pc:spChg chg="mod">
          <ac:chgData name="John Paserba" userId="77bd6c8a-d0c1-4fea-8705-0169f65d0c0e" providerId="ADAL" clId="{BF4BD5A9-81CF-496E-BF70-4217756ADADE}" dt="2025-07-25T18:58:17.560" v="123"/>
          <ac:spMkLst>
            <pc:docMk/>
            <pc:sldMk cId="438874774" sldId="2147471662"/>
            <ac:spMk id="3328002" creationId="{00000000-0000-0000-0000-000000000000}"/>
          </ac:spMkLst>
        </pc:spChg>
      </pc:sldChg>
      <pc:sldChg chg="add del">
        <pc:chgData name="John Paserba" userId="77bd6c8a-d0c1-4fea-8705-0169f65d0c0e" providerId="ADAL" clId="{BF4BD5A9-81CF-496E-BF70-4217756ADADE}" dt="2025-07-25T18:59:38.930" v="125"/>
        <pc:sldMkLst>
          <pc:docMk/>
          <pc:sldMk cId="2068436623" sldId="2147471665"/>
        </pc:sldMkLst>
      </pc:sldChg>
      <pc:sldChg chg="delSp modSp mod">
        <pc:chgData name="John Paserba" userId="77bd6c8a-d0c1-4fea-8705-0169f65d0c0e" providerId="ADAL" clId="{BF4BD5A9-81CF-496E-BF70-4217756ADADE}" dt="2025-07-25T23:03:59.999" v="866"/>
        <pc:sldMkLst>
          <pc:docMk/>
          <pc:sldMk cId="3892713205" sldId="2147471673"/>
        </pc:sldMkLst>
        <pc:spChg chg="mod">
          <ac:chgData name="John Paserba" userId="77bd6c8a-d0c1-4fea-8705-0169f65d0c0e" providerId="ADAL" clId="{BF4BD5A9-81CF-496E-BF70-4217756ADADE}" dt="2025-07-25T22:55:53.349" v="836" actId="1076"/>
          <ac:spMkLst>
            <pc:docMk/>
            <pc:sldMk cId="3892713205" sldId="2147471673"/>
            <ac:spMk id="27" creationId="{85BC7F74-FA98-4833-B8F2-42C00371212E}"/>
          </ac:spMkLst>
        </pc:spChg>
        <pc:spChg chg="del">
          <ac:chgData name="John Paserba" userId="77bd6c8a-d0c1-4fea-8705-0169f65d0c0e" providerId="ADAL" clId="{BF4BD5A9-81CF-496E-BF70-4217756ADADE}" dt="2025-07-25T22:55:25.955" v="822" actId="478"/>
          <ac:spMkLst>
            <pc:docMk/>
            <pc:sldMk cId="3892713205" sldId="2147471673"/>
            <ac:spMk id="28" creationId="{DAB0817D-BE25-49E4-A882-ED5E35345B18}"/>
          </ac:spMkLst>
        </pc:spChg>
        <pc:spChg chg="del">
          <ac:chgData name="John Paserba" userId="77bd6c8a-d0c1-4fea-8705-0169f65d0c0e" providerId="ADAL" clId="{BF4BD5A9-81CF-496E-BF70-4217756ADADE}" dt="2025-07-25T23:00:30.592" v="843" actId="478"/>
          <ac:spMkLst>
            <pc:docMk/>
            <pc:sldMk cId="3892713205" sldId="2147471673"/>
            <ac:spMk id="29" creationId="{0FAC548C-97C1-4460-B62F-A1BA275DC0AA}"/>
          </ac:spMkLst>
        </pc:spChg>
        <pc:graphicFrameChg chg="modGraphic">
          <ac:chgData name="John Paserba" userId="77bd6c8a-d0c1-4fea-8705-0169f65d0c0e" providerId="ADAL" clId="{BF4BD5A9-81CF-496E-BF70-4217756ADADE}" dt="2025-07-25T23:00:28.905" v="842" actId="20577"/>
          <ac:graphicFrameMkLst>
            <pc:docMk/>
            <pc:sldMk cId="3892713205" sldId="2147471673"/>
            <ac:graphicFrameMk id="10" creationId="{00000000-0000-0000-0000-000000000000}"/>
          </ac:graphicFrameMkLst>
        </pc:graphicFrameChg>
        <pc:graphicFrameChg chg="mod">
          <ac:chgData name="John Paserba" userId="77bd6c8a-d0c1-4fea-8705-0169f65d0c0e" providerId="ADAL" clId="{BF4BD5A9-81CF-496E-BF70-4217756ADADE}" dt="2025-07-25T23:03:59.999" v="866"/>
          <ac:graphicFrameMkLst>
            <pc:docMk/>
            <pc:sldMk cId="3892713205" sldId="2147471673"/>
            <ac:graphicFrameMk id="14" creationId="{00000000-0000-0000-0000-000000000000}"/>
          </ac:graphicFrameMkLst>
        </pc:graphicFrameChg>
        <pc:graphicFrameChg chg="mod">
          <ac:chgData name="John Paserba" userId="77bd6c8a-d0c1-4fea-8705-0169f65d0c0e" providerId="ADAL" clId="{BF4BD5A9-81CF-496E-BF70-4217756ADADE}" dt="2025-07-25T23:03:47.093" v="865" actId="20577"/>
          <ac:graphicFrameMkLst>
            <pc:docMk/>
            <pc:sldMk cId="3892713205" sldId="2147471673"/>
            <ac:graphicFrameMk id="17" creationId="{56F1947A-A87B-47AE-A49D-C3183B9A0338}"/>
          </ac:graphicFrameMkLst>
        </pc:graphicFrameChg>
      </pc:sldChg>
      <pc:sldChg chg="modSp mod">
        <pc:chgData name="John Paserba" userId="77bd6c8a-d0c1-4fea-8705-0169f65d0c0e" providerId="ADAL" clId="{BF4BD5A9-81CF-496E-BF70-4217756ADADE}" dt="2025-07-25T22:44:59.964" v="538" actId="1076"/>
        <pc:sldMkLst>
          <pc:docMk/>
          <pc:sldMk cId="1433889411" sldId="2147471674"/>
        </pc:sldMkLst>
        <pc:spChg chg="mod">
          <ac:chgData name="John Paserba" userId="77bd6c8a-d0c1-4fea-8705-0169f65d0c0e" providerId="ADAL" clId="{BF4BD5A9-81CF-496E-BF70-4217756ADADE}" dt="2025-07-25T22:44:59.964" v="538" actId="1076"/>
          <ac:spMkLst>
            <pc:docMk/>
            <pc:sldMk cId="1433889411" sldId="2147471674"/>
            <ac:spMk id="16" creationId="{8CC8F3D1-F36E-4263-8CB6-B67E20B20D44}"/>
          </ac:spMkLst>
        </pc:spChg>
      </pc:sldChg>
      <pc:sldChg chg="addSp delSp modSp mod">
        <pc:chgData name="John Paserba" userId="77bd6c8a-d0c1-4fea-8705-0169f65d0c0e" providerId="ADAL" clId="{BF4BD5A9-81CF-496E-BF70-4217756ADADE}" dt="2025-07-25T22:53:10.889" v="821"/>
        <pc:sldMkLst>
          <pc:docMk/>
          <pc:sldMk cId="2090766154" sldId="2147471698"/>
        </pc:sldMkLst>
        <pc:spChg chg="mod">
          <ac:chgData name="John Paserba" userId="77bd6c8a-d0c1-4fea-8705-0169f65d0c0e" providerId="ADAL" clId="{BF4BD5A9-81CF-496E-BF70-4217756ADADE}" dt="2025-07-25T22:52:59.211" v="818" actId="20577"/>
          <ac:spMkLst>
            <pc:docMk/>
            <pc:sldMk cId="2090766154" sldId="2147471698"/>
            <ac:spMk id="9" creationId="{33E1701B-7F94-6789-3C6A-A428042FCAA4}"/>
          </ac:spMkLst>
        </pc:spChg>
        <pc:picChg chg="del">
          <ac:chgData name="John Paserba" userId="77bd6c8a-d0c1-4fea-8705-0169f65d0c0e" providerId="ADAL" clId="{BF4BD5A9-81CF-496E-BF70-4217756ADADE}" dt="2025-07-25T22:53:01.794" v="819" actId="478"/>
          <ac:picMkLst>
            <pc:docMk/>
            <pc:sldMk cId="2090766154" sldId="2147471698"/>
            <ac:picMk id="3" creationId="{5B4862C6-15CB-5938-77E1-E85A6E2B6A75}"/>
          </ac:picMkLst>
        </pc:picChg>
        <pc:picChg chg="del">
          <ac:chgData name="John Paserba" userId="77bd6c8a-d0c1-4fea-8705-0169f65d0c0e" providerId="ADAL" clId="{BF4BD5A9-81CF-496E-BF70-4217756ADADE}" dt="2025-07-25T22:53:02.339" v="820" actId="478"/>
          <ac:picMkLst>
            <pc:docMk/>
            <pc:sldMk cId="2090766154" sldId="2147471698"/>
            <ac:picMk id="14" creationId="{484705EC-36F5-2ED4-224C-25E67A965C0F}"/>
          </ac:picMkLst>
        </pc:picChg>
        <pc:picChg chg="add mod">
          <ac:chgData name="John Paserba" userId="77bd6c8a-d0c1-4fea-8705-0169f65d0c0e" providerId="ADAL" clId="{BF4BD5A9-81CF-496E-BF70-4217756ADADE}" dt="2025-07-25T22:53:10.889" v="821"/>
          <ac:picMkLst>
            <pc:docMk/>
            <pc:sldMk cId="2090766154" sldId="2147471698"/>
            <ac:picMk id="15" creationId="{1ABB85F6-9EE1-47D4-A39D-EBF0E86DE136}"/>
          </ac:picMkLst>
        </pc:picChg>
        <pc:picChg chg="add mod">
          <ac:chgData name="John Paserba" userId="77bd6c8a-d0c1-4fea-8705-0169f65d0c0e" providerId="ADAL" clId="{BF4BD5A9-81CF-496E-BF70-4217756ADADE}" dt="2025-07-25T22:53:10.889" v="821"/>
          <ac:picMkLst>
            <pc:docMk/>
            <pc:sldMk cId="2090766154" sldId="2147471698"/>
            <ac:picMk id="16" creationId="{93FF114C-2744-4724-9CCE-5354F228868E}"/>
          </ac:picMkLst>
        </pc:picChg>
      </pc:sldChg>
      <pc:sldChg chg="del">
        <pc:chgData name="John Paserba" userId="77bd6c8a-d0c1-4fea-8705-0169f65d0c0e" providerId="ADAL" clId="{BF4BD5A9-81CF-496E-BF70-4217756ADADE}" dt="2025-07-25T22:45:06.291" v="539" actId="47"/>
        <pc:sldMkLst>
          <pc:docMk/>
          <pc:sldMk cId="3828578127" sldId="2147471700"/>
        </pc:sldMkLst>
      </pc:sldChg>
      <pc:sldChg chg="modSp add del mod">
        <pc:chgData name="John Paserba" userId="77bd6c8a-d0c1-4fea-8705-0169f65d0c0e" providerId="ADAL" clId="{BF4BD5A9-81CF-496E-BF70-4217756ADADE}" dt="2025-07-25T22:00:12.142" v="215" actId="1076"/>
        <pc:sldMkLst>
          <pc:docMk/>
          <pc:sldMk cId="776265444" sldId="2147471702"/>
        </pc:sldMkLst>
        <pc:picChg chg="mod">
          <ac:chgData name="John Paserba" userId="77bd6c8a-d0c1-4fea-8705-0169f65d0c0e" providerId="ADAL" clId="{BF4BD5A9-81CF-496E-BF70-4217756ADADE}" dt="2025-07-25T22:00:12.142" v="215" actId="1076"/>
          <ac:picMkLst>
            <pc:docMk/>
            <pc:sldMk cId="776265444" sldId="2147471702"/>
            <ac:picMk id="7" creationId="{02B04693-1C4B-4B32-B8B2-60F46C50FDC9}"/>
          </ac:picMkLst>
        </pc:picChg>
      </pc:sldChg>
      <pc:sldChg chg="del">
        <pc:chgData name="John Paserba" userId="77bd6c8a-d0c1-4fea-8705-0169f65d0c0e" providerId="ADAL" clId="{BF4BD5A9-81CF-496E-BF70-4217756ADADE}" dt="2025-07-25T22:13:06.847" v="264" actId="47"/>
        <pc:sldMkLst>
          <pc:docMk/>
          <pc:sldMk cId="73387506" sldId="2147471703"/>
        </pc:sldMkLst>
      </pc:sldChg>
      <pc:sldChg chg="modSp mod">
        <pc:chgData name="John Paserba" userId="77bd6c8a-d0c1-4fea-8705-0169f65d0c0e" providerId="ADAL" clId="{BF4BD5A9-81CF-496E-BF70-4217756ADADE}" dt="2025-07-25T22:36:10.274" v="389" actId="1076"/>
        <pc:sldMkLst>
          <pc:docMk/>
          <pc:sldMk cId="1812772885" sldId="2147471704"/>
        </pc:sldMkLst>
        <pc:spChg chg="mod">
          <ac:chgData name="John Paserba" userId="77bd6c8a-d0c1-4fea-8705-0169f65d0c0e" providerId="ADAL" clId="{BF4BD5A9-81CF-496E-BF70-4217756ADADE}" dt="2025-07-25T22:36:10.274" v="389" actId="1076"/>
          <ac:spMkLst>
            <pc:docMk/>
            <pc:sldMk cId="1812772885" sldId="2147471704"/>
            <ac:spMk id="11" creationId="{FB3B9CB6-79E9-4448-AE52-A81A1F9D3770}"/>
          </ac:spMkLst>
        </pc:spChg>
      </pc:sldChg>
      <pc:sldChg chg="add">
        <pc:chgData name="John Paserba" userId="77bd6c8a-d0c1-4fea-8705-0169f65d0c0e" providerId="ADAL" clId="{BF4BD5A9-81CF-496E-BF70-4217756ADADE}" dt="2025-07-25T18:59:38.930" v="125"/>
        <pc:sldMkLst>
          <pc:docMk/>
          <pc:sldMk cId="4071523654" sldId="2147471705"/>
        </pc:sldMkLst>
      </pc:sldChg>
      <pc:sldChg chg="modSp mod">
        <pc:chgData name="John Paserba" userId="77bd6c8a-d0c1-4fea-8705-0169f65d0c0e" providerId="ADAL" clId="{BF4BD5A9-81CF-496E-BF70-4217756ADADE}" dt="2025-07-25T22:27:56.742" v="319" actId="12"/>
        <pc:sldMkLst>
          <pc:docMk/>
          <pc:sldMk cId="2459541753" sldId="2147471709"/>
        </pc:sldMkLst>
        <pc:spChg chg="mod">
          <ac:chgData name="John Paserba" userId="77bd6c8a-d0c1-4fea-8705-0169f65d0c0e" providerId="ADAL" clId="{BF4BD5A9-81CF-496E-BF70-4217756ADADE}" dt="2025-07-25T22:27:56.742" v="319" actId="12"/>
          <ac:spMkLst>
            <pc:docMk/>
            <pc:sldMk cId="2459541753" sldId="2147471709"/>
            <ac:spMk id="3" creationId="{E6993746-A424-4F09-867F-B919F4E18ECB}"/>
          </ac:spMkLst>
        </pc:spChg>
      </pc:sldChg>
      <pc:sldChg chg="modSp mod">
        <pc:chgData name="John Paserba" userId="77bd6c8a-d0c1-4fea-8705-0169f65d0c0e" providerId="ADAL" clId="{BF4BD5A9-81CF-496E-BF70-4217756ADADE}" dt="2025-07-25T22:34:24.546" v="378" actId="207"/>
        <pc:sldMkLst>
          <pc:docMk/>
          <pc:sldMk cId="1820092979" sldId="2147471711"/>
        </pc:sldMkLst>
        <pc:spChg chg="mod">
          <ac:chgData name="John Paserba" userId="77bd6c8a-d0c1-4fea-8705-0169f65d0c0e" providerId="ADAL" clId="{BF4BD5A9-81CF-496E-BF70-4217756ADADE}" dt="2025-07-25T22:34:24.546" v="378" actId="207"/>
          <ac:spMkLst>
            <pc:docMk/>
            <pc:sldMk cId="1820092979" sldId="2147471711"/>
            <ac:spMk id="9" creationId="{0F9721C2-9B5A-270E-F115-CCA3050C8196}"/>
          </ac:spMkLst>
        </pc:spChg>
      </pc:sldChg>
      <pc:sldChg chg="modSp mod">
        <pc:chgData name="John Paserba" userId="77bd6c8a-d0c1-4fea-8705-0169f65d0c0e" providerId="ADAL" clId="{BF4BD5A9-81CF-496E-BF70-4217756ADADE}" dt="2025-07-25T21:55:01.058" v="126" actId="12"/>
        <pc:sldMkLst>
          <pc:docMk/>
          <pc:sldMk cId="402333902" sldId="2147471715"/>
        </pc:sldMkLst>
        <pc:spChg chg="mod">
          <ac:chgData name="John Paserba" userId="77bd6c8a-d0c1-4fea-8705-0169f65d0c0e" providerId="ADAL" clId="{BF4BD5A9-81CF-496E-BF70-4217756ADADE}" dt="2025-07-25T21:55:01.058" v="126" actId="12"/>
          <ac:spMkLst>
            <pc:docMk/>
            <pc:sldMk cId="402333902" sldId="2147471715"/>
            <ac:spMk id="3" creationId="{E6993746-A424-4F09-867F-B919F4E18ECB}"/>
          </ac:spMkLst>
        </pc:spChg>
      </pc:sldChg>
      <pc:sldChg chg="del">
        <pc:chgData name="John Paserba" userId="77bd6c8a-d0c1-4fea-8705-0169f65d0c0e" providerId="ADAL" clId="{BF4BD5A9-81CF-496E-BF70-4217756ADADE}" dt="2025-07-25T23:04:23.661" v="868" actId="47"/>
        <pc:sldMkLst>
          <pc:docMk/>
          <pc:sldMk cId="1303176768" sldId="2147471720"/>
        </pc:sldMkLst>
      </pc:sldChg>
      <pc:sldChg chg="modSp mod">
        <pc:chgData name="John Paserba" userId="77bd6c8a-d0c1-4fea-8705-0169f65d0c0e" providerId="ADAL" clId="{BF4BD5A9-81CF-496E-BF70-4217756ADADE}" dt="2025-07-25T22:33:12.203" v="362" actId="207"/>
        <pc:sldMkLst>
          <pc:docMk/>
          <pc:sldMk cId="1189292215" sldId="2147471725"/>
        </pc:sldMkLst>
        <pc:spChg chg="mod">
          <ac:chgData name="John Paserba" userId="77bd6c8a-d0c1-4fea-8705-0169f65d0c0e" providerId="ADAL" clId="{BF4BD5A9-81CF-496E-BF70-4217756ADADE}" dt="2025-07-25T22:33:12.203" v="362" actId="207"/>
          <ac:spMkLst>
            <pc:docMk/>
            <pc:sldMk cId="1189292215" sldId="2147471725"/>
            <ac:spMk id="9" creationId="{0F9721C2-9B5A-270E-F115-CCA3050C8196}"/>
          </ac:spMkLst>
        </pc:spChg>
      </pc:sldChg>
      <pc:sldChg chg="modSp mod">
        <pc:chgData name="John Paserba" userId="77bd6c8a-d0c1-4fea-8705-0169f65d0c0e" providerId="ADAL" clId="{BF4BD5A9-81CF-496E-BF70-4217756ADADE}" dt="2025-07-25T22:33:19.015" v="363" actId="207"/>
        <pc:sldMkLst>
          <pc:docMk/>
          <pc:sldMk cId="3935368681" sldId="2147471726"/>
        </pc:sldMkLst>
        <pc:spChg chg="mod">
          <ac:chgData name="John Paserba" userId="77bd6c8a-d0c1-4fea-8705-0169f65d0c0e" providerId="ADAL" clId="{BF4BD5A9-81CF-496E-BF70-4217756ADADE}" dt="2025-07-25T22:33:19.015" v="363" actId="207"/>
          <ac:spMkLst>
            <pc:docMk/>
            <pc:sldMk cId="3935368681" sldId="2147471726"/>
            <ac:spMk id="3" creationId="{C0EC77ED-8041-4CD1-08A8-7CB9BA1A3639}"/>
          </ac:spMkLst>
        </pc:spChg>
      </pc:sldChg>
      <pc:sldChg chg="modSp mod">
        <pc:chgData name="John Paserba" userId="77bd6c8a-d0c1-4fea-8705-0169f65d0c0e" providerId="ADAL" clId="{BF4BD5A9-81CF-496E-BF70-4217756ADADE}" dt="2025-07-25T22:33:25.027" v="364" actId="207"/>
        <pc:sldMkLst>
          <pc:docMk/>
          <pc:sldMk cId="2441728225" sldId="2147471727"/>
        </pc:sldMkLst>
        <pc:spChg chg="mod">
          <ac:chgData name="John Paserba" userId="77bd6c8a-d0c1-4fea-8705-0169f65d0c0e" providerId="ADAL" clId="{BF4BD5A9-81CF-496E-BF70-4217756ADADE}" dt="2025-07-25T22:33:25.027" v="364" actId="207"/>
          <ac:spMkLst>
            <pc:docMk/>
            <pc:sldMk cId="2441728225" sldId="2147471727"/>
            <ac:spMk id="16" creationId="{4D063768-508B-981D-C862-CFE8696EFD15}"/>
          </ac:spMkLst>
        </pc:spChg>
      </pc:sldChg>
      <pc:sldChg chg="modSp mod">
        <pc:chgData name="John Paserba" userId="77bd6c8a-d0c1-4fea-8705-0169f65d0c0e" providerId="ADAL" clId="{BF4BD5A9-81CF-496E-BF70-4217756ADADE}" dt="2025-07-25T22:33:58.904" v="370" actId="12"/>
        <pc:sldMkLst>
          <pc:docMk/>
          <pc:sldMk cId="2829787811" sldId="2147471728"/>
        </pc:sldMkLst>
        <pc:spChg chg="mod">
          <ac:chgData name="John Paserba" userId="77bd6c8a-d0c1-4fea-8705-0169f65d0c0e" providerId="ADAL" clId="{BF4BD5A9-81CF-496E-BF70-4217756ADADE}" dt="2025-07-25T22:33:58.904" v="370" actId="12"/>
          <ac:spMkLst>
            <pc:docMk/>
            <pc:sldMk cId="2829787811" sldId="2147471728"/>
            <ac:spMk id="9" creationId="{0F9721C2-9B5A-270E-F115-CCA3050C8196}"/>
          </ac:spMkLst>
        </pc:spChg>
      </pc:sldChg>
      <pc:sldChg chg="del">
        <pc:chgData name="John Paserba" userId="77bd6c8a-d0c1-4fea-8705-0169f65d0c0e" providerId="ADAL" clId="{BF4BD5A9-81CF-496E-BF70-4217756ADADE}" dt="2025-07-25T22:02:19.970" v="218" actId="47"/>
        <pc:sldMkLst>
          <pc:docMk/>
          <pc:sldMk cId="298226682" sldId="2147471732"/>
        </pc:sldMkLst>
      </pc:sldChg>
      <pc:sldChg chg="ord">
        <pc:chgData name="John Paserba" userId="77bd6c8a-d0c1-4fea-8705-0169f65d0c0e" providerId="ADAL" clId="{BF4BD5A9-81CF-496E-BF70-4217756ADADE}" dt="2025-07-25T22:09:52.602" v="262"/>
        <pc:sldMkLst>
          <pc:docMk/>
          <pc:sldMk cId="1564990776" sldId="2147471756"/>
        </pc:sldMkLst>
      </pc:sldChg>
      <pc:sldChg chg="modSp mod">
        <pc:chgData name="John Paserba" userId="77bd6c8a-d0c1-4fea-8705-0169f65d0c0e" providerId="ADAL" clId="{BF4BD5A9-81CF-496E-BF70-4217756ADADE}" dt="2025-07-25T22:23:28.942" v="301" actId="20577"/>
        <pc:sldMkLst>
          <pc:docMk/>
          <pc:sldMk cId="3375477870" sldId="2147471758"/>
        </pc:sldMkLst>
        <pc:spChg chg="mod">
          <ac:chgData name="John Paserba" userId="77bd6c8a-d0c1-4fea-8705-0169f65d0c0e" providerId="ADAL" clId="{BF4BD5A9-81CF-496E-BF70-4217756ADADE}" dt="2025-07-25T22:23:28.942" v="301" actId="20577"/>
          <ac:spMkLst>
            <pc:docMk/>
            <pc:sldMk cId="3375477870" sldId="2147471758"/>
            <ac:spMk id="9" creationId="{BAAF9788-3882-7FD4-A043-13E164D06B60}"/>
          </ac:spMkLst>
        </pc:spChg>
      </pc:sldChg>
      <pc:sldChg chg="modSp mod">
        <pc:chgData name="John Paserba" userId="77bd6c8a-d0c1-4fea-8705-0169f65d0c0e" providerId="ADAL" clId="{BF4BD5A9-81CF-496E-BF70-4217756ADADE}" dt="2025-07-25T22:28:10.340" v="320" actId="12"/>
        <pc:sldMkLst>
          <pc:docMk/>
          <pc:sldMk cId="2478508329" sldId="2147471759"/>
        </pc:sldMkLst>
        <pc:spChg chg="mod">
          <ac:chgData name="John Paserba" userId="77bd6c8a-d0c1-4fea-8705-0169f65d0c0e" providerId="ADAL" clId="{BF4BD5A9-81CF-496E-BF70-4217756ADADE}" dt="2025-07-25T22:28:10.340" v="320" actId="12"/>
          <ac:spMkLst>
            <pc:docMk/>
            <pc:sldMk cId="2478508329" sldId="2147471759"/>
            <ac:spMk id="9" creationId="{BAAF9788-3882-7FD4-A043-13E164D06B60}"/>
          </ac:spMkLst>
        </pc:spChg>
      </pc:sldChg>
      <pc:sldChg chg="modSp mod">
        <pc:chgData name="John Paserba" userId="77bd6c8a-d0c1-4fea-8705-0169f65d0c0e" providerId="ADAL" clId="{BF4BD5A9-81CF-496E-BF70-4217756ADADE}" dt="2025-07-25T22:28:13.403" v="321" actId="12"/>
        <pc:sldMkLst>
          <pc:docMk/>
          <pc:sldMk cId="3146776872" sldId="2147471760"/>
        </pc:sldMkLst>
        <pc:spChg chg="mod">
          <ac:chgData name="John Paserba" userId="77bd6c8a-d0c1-4fea-8705-0169f65d0c0e" providerId="ADAL" clId="{BF4BD5A9-81CF-496E-BF70-4217756ADADE}" dt="2025-07-25T22:28:13.403" v="321" actId="12"/>
          <ac:spMkLst>
            <pc:docMk/>
            <pc:sldMk cId="3146776872" sldId="2147471760"/>
            <ac:spMk id="9" creationId="{BAAF9788-3882-7FD4-A043-13E164D06B60}"/>
          </ac:spMkLst>
        </pc:spChg>
      </pc:sldChg>
      <pc:sldChg chg="modSp">
        <pc:chgData name="John Paserba" userId="77bd6c8a-d0c1-4fea-8705-0169f65d0c0e" providerId="ADAL" clId="{BF4BD5A9-81CF-496E-BF70-4217756ADADE}" dt="2025-07-25T22:30:22.590" v="331" actId="207"/>
        <pc:sldMkLst>
          <pc:docMk/>
          <pc:sldMk cId="2503832311" sldId="2147471771"/>
        </pc:sldMkLst>
        <pc:graphicFrameChg chg="mod">
          <ac:chgData name="John Paserba" userId="77bd6c8a-d0c1-4fea-8705-0169f65d0c0e" providerId="ADAL" clId="{BF4BD5A9-81CF-496E-BF70-4217756ADADE}" dt="2025-07-25T22:30:22.590" v="331" actId="207"/>
          <ac:graphicFrameMkLst>
            <pc:docMk/>
            <pc:sldMk cId="2503832311" sldId="2147471771"/>
            <ac:graphicFrameMk id="7" creationId="{B5D8B26C-2B3E-4259-A651-A5E4F24CC575}"/>
          </ac:graphicFrameMkLst>
        </pc:graphicFrameChg>
      </pc:sldChg>
      <pc:sldChg chg="modSp mod">
        <pc:chgData name="John Paserba" userId="77bd6c8a-d0c1-4fea-8705-0169f65d0c0e" providerId="ADAL" clId="{BF4BD5A9-81CF-496E-BF70-4217756ADADE}" dt="2025-07-25T22:50:03.202" v="792" actId="20577"/>
        <pc:sldMkLst>
          <pc:docMk/>
          <pc:sldMk cId="3980057186" sldId="2147471772"/>
        </pc:sldMkLst>
        <pc:spChg chg="mod">
          <ac:chgData name="John Paserba" userId="77bd6c8a-d0c1-4fea-8705-0169f65d0c0e" providerId="ADAL" clId="{BF4BD5A9-81CF-496E-BF70-4217756ADADE}" dt="2025-07-25T22:50:03.202" v="792" actId="20577"/>
          <ac:spMkLst>
            <pc:docMk/>
            <pc:sldMk cId="3980057186" sldId="2147471772"/>
            <ac:spMk id="3" creationId="{E6993746-A424-4F09-867F-B919F4E18ECB}"/>
          </ac:spMkLst>
        </pc:spChg>
      </pc:sldChg>
      <pc:sldChg chg="modSp mod">
        <pc:chgData name="John Paserba" userId="77bd6c8a-d0c1-4fea-8705-0169f65d0c0e" providerId="ADAL" clId="{BF4BD5A9-81CF-496E-BF70-4217756ADADE}" dt="2025-07-25T22:24:18.161" v="308" actId="20577"/>
        <pc:sldMkLst>
          <pc:docMk/>
          <pc:sldMk cId="93880916" sldId="2147471773"/>
        </pc:sldMkLst>
        <pc:spChg chg="mod">
          <ac:chgData name="John Paserba" userId="77bd6c8a-d0c1-4fea-8705-0169f65d0c0e" providerId="ADAL" clId="{BF4BD5A9-81CF-496E-BF70-4217756ADADE}" dt="2025-07-25T22:24:18.161" v="308" actId="20577"/>
          <ac:spMkLst>
            <pc:docMk/>
            <pc:sldMk cId="93880916" sldId="2147471773"/>
            <ac:spMk id="9" creationId="{BAAF9788-3882-7FD4-A043-13E164D06B60}"/>
          </ac:spMkLst>
        </pc:spChg>
      </pc:sldChg>
      <pc:sldChg chg="modSp mod">
        <pc:chgData name="John Paserba" userId="77bd6c8a-d0c1-4fea-8705-0169f65d0c0e" providerId="ADAL" clId="{BF4BD5A9-81CF-496E-BF70-4217756ADADE}" dt="2025-07-25T22:28:15.639" v="322" actId="12"/>
        <pc:sldMkLst>
          <pc:docMk/>
          <pc:sldMk cId="2346600380" sldId="2147471774"/>
        </pc:sldMkLst>
        <pc:spChg chg="mod">
          <ac:chgData name="John Paserba" userId="77bd6c8a-d0c1-4fea-8705-0169f65d0c0e" providerId="ADAL" clId="{BF4BD5A9-81CF-496E-BF70-4217756ADADE}" dt="2025-07-25T22:28:15.639" v="322" actId="12"/>
          <ac:spMkLst>
            <pc:docMk/>
            <pc:sldMk cId="2346600380" sldId="2147471774"/>
            <ac:spMk id="9" creationId="{BAAF9788-3882-7FD4-A043-13E164D06B60}"/>
          </ac:spMkLst>
        </pc:spChg>
      </pc:sldChg>
      <pc:sldChg chg="addSp modSp del mod">
        <pc:chgData name="John Paserba" userId="77bd6c8a-d0c1-4fea-8705-0169f65d0c0e" providerId="ADAL" clId="{BF4BD5A9-81CF-496E-BF70-4217756ADADE}" dt="2025-07-25T23:16:15.703" v="920" actId="47"/>
        <pc:sldMkLst>
          <pc:docMk/>
          <pc:sldMk cId="3977096975" sldId="2147471775"/>
        </pc:sldMkLst>
        <pc:spChg chg="mod">
          <ac:chgData name="John Paserba" userId="77bd6c8a-d0c1-4fea-8705-0169f65d0c0e" providerId="ADAL" clId="{BF4BD5A9-81CF-496E-BF70-4217756ADADE}" dt="2025-07-25T22:37:07.330" v="396" actId="255"/>
          <ac:spMkLst>
            <pc:docMk/>
            <pc:sldMk cId="3977096975" sldId="2147471775"/>
            <ac:spMk id="19" creationId="{00000000-0000-0000-0000-000000000000}"/>
          </ac:spMkLst>
        </pc:spChg>
        <pc:picChg chg="add mod">
          <ac:chgData name="John Paserba" userId="77bd6c8a-d0c1-4fea-8705-0169f65d0c0e" providerId="ADAL" clId="{BF4BD5A9-81CF-496E-BF70-4217756ADADE}" dt="2025-07-25T22:37:31.411" v="397"/>
          <ac:picMkLst>
            <pc:docMk/>
            <pc:sldMk cId="3977096975" sldId="2147471775"/>
            <ac:picMk id="5" creationId="{8E7AFB0C-2E28-4721-A256-40E7D3B8E45A}"/>
          </ac:picMkLst>
        </pc:picChg>
      </pc:sldChg>
      <pc:sldChg chg="add">
        <pc:chgData name="John Paserba" userId="77bd6c8a-d0c1-4fea-8705-0169f65d0c0e" providerId="ADAL" clId="{BF4BD5A9-81CF-496E-BF70-4217756ADADE}" dt="2025-07-25T18:59:38.930" v="125"/>
        <pc:sldMkLst>
          <pc:docMk/>
          <pc:sldMk cId="2461146040" sldId="2147471776"/>
        </pc:sldMkLst>
      </pc:sldChg>
      <pc:sldChg chg="add">
        <pc:chgData name="John Paserba" userId="77bd6c8a-d0c1-4fea-8705-0169f65d0c0e" providerId="ADAL" clId="{BF4BD5A9-81CF-496E-BF70-4217756ADADE}" dt="2025-07-25T18:59:38.930" v="125"/>
        <pc:sldMkLst>
          <pc:docMk/>
          <pc:sldMk cId="4015560649" sldId="2147471777"/>
        </pc:sldMkLst>
      </pc:sldChg>
      <pc:sldChg chg="addSp modSp add mod">
        <pc:chgData name="John Paserba" userId="77bd6c8a-d0c1-4fea-8705-0169f65d0c0e" providerId="ADAL" clId="{BF4BD5A9-81CF-496E-BF70-4217756ADADE}" dt="2025-07-25T21:59:52.170" v="213" actId="732"/>
        <pc:sldMkLst>
          <pc:docMk/>
          <pc:sldMk cId="4155268325" sldId="2147471778"/>
        </pc:sldMkLst>
        <pc:spChg chg="mod">
          <ac:chgData name="John Paserba" userId="77bd6c8a-d0c1-4fea-8705-0169f65d0c0e" providerId="ADAL" clId="{BF4BD5A9-81CF-496E-BF70-4217756ADADE}" dt="2025-07-25T21:57:04.862" v="162" actId="20577"/>
          <ac:spMkLst>
            <pc:docMk/>
            <pc:sldMk cId="4155268325" sldId="2147471778"/>
            <ac:spMk id="3328002" creationId="{00000000-0000-0000-0000-000000000000}"/>
          </ac:spMkLst>
        </pc:spChg>
        <pc:picChg chg="add mod ord modCrop">
          <ac:chgData name="John Paserba" userId="77bd6c8a-d0c1-4fea-8705-0169f65d0c0e" providerId="ADAL" clId="{BF4BD5A9-81CF-496E-BF70-4217756ADADE}" dt="2025-07-25T21:59:52.170" v="213" actId="732"/>
          <ac:picMkLst>
            <pc:docMk/>
            <pc:sldMk cId="4155268325" sldId="2147471778"/>
            <ac:picMk id="6" creationId="{2A8BDA29-8987-4AC0-B2D2-22B3388B7174}"/>
          </ac:picMkLst>
        </pc:picChg>
        <pc:picChg chg="add mod modCrop">
          <ac:chgData name="John Paserba" userId="77bd6c8a-d0c1-4fea-8705-0169f65d0c0e" providerId="ADAL" clId="{BF4BD5A9-81CF-496E-BF70-4217756ADADE}" dt="2025-07-25T21:59:43.017" v="211" actId="1076"/>
          <ac:picMkLst>
            <pc:docMk/>
            <pc:sldMk cId="4155268325" sldId="2147471778"/>
            <ac:picMk id="7" creationId="{40C08F9B-7F08-4C08-9E4C-C6CA66FCD9E5}"/>
          </ac:picMkLst>
        </pc:picChg>
        <pc:picChg chg="mod ord modCrop">
          <ac:chgData name="John Paserba" userId="77bd6c8a-d0c1-4fea-8705-0169f65d0c0e" providerId="ADAL" clId="{BF4BD5A9-81CF-496E-BF70-4217756ADADE}" dt="2025-07-25T21:59:20.796" v="209" actId="732"/>
          <ac:picMkLst>
            <pc:docMk/>
            <pc:sldMk cId="4155268325" sldId="2147471778"/>
            <ac:picMk id="8" creationId="{F1AEFBBF-536C-44CF-B2A8-083F942B9655}"/>
          </ac:picMkLst>
        </pc:picChg>
      </pc:sldChg>
      <pc:sldChg chg="add">
        <pc:chgData name="John Paserba" userId="77bd6c8a-d0c1-4fea-8705-0169f65d0c0e" providerId="ADAL" clId="{BF4BD5A9-81CF-496E-BF70-4217756ADADE}" dt="2025-07-25T18:59:38.930" v="125"/>
        <pc:sldMkLst>
          <pc:docMk/>
          <pc:sldMk cId="1403970950" sldId="2147471779"/>
        </pc:sldMkLst>
      </pc:sldChg>
      <pc:sldChg chg="add">
        <pc:chgData name="John Paserba" userId="77bd6c8a-d0c1-4fea-8705-0169f65d0c0e" providerId="ADAL" clId="{BF4BD5A9-81CF-496E-BF70-4217756ADADE}" dt="2025-07-25T22:01:48.303" v="217"/>
        <pc:sldMkLst>
          <pc:docMk/>
          <pc:sldMk cId="2646028243" sldId="2147471780"/>
        </pc:sldMkLst>
      </pc:sldChg>
      <pc:sldChg chg="add">
        <pc:chgData name="John Paserba" userId="77bd6c8a-d0c1-4fea-8705-0169f65d0c0e" providerId="ADAL" clId="{BF4BD5A9-81CF-496E-BF70-4217756ADADE}" dt="2025-07-25T22:01:48.303" v="217"/>
        <pc:sldMkLst>
          <pc:docMk/>
          <pc:sldMk cId="2035439506" sldId="2147471781"/>
        </pc:sldMkLst>
      </pc:sldChg>
      <pc:sldChg chg="modSp add mod">
        <pc:chgData name="John Paserba" userId="77bd6c8a-d0c1-4fea-8705-0169f65d0c0e" providerId="ADAL" clId="{BF4BD5A9-81CF-496E-BF70-4217756ADADE}" dt="2025-07-25T22:04:40.025" v="226" actId="166"/>
        <pc:sldMkLst>
          <pc:docMk/>
          <pc:sldMk cId="2655036657" sldId="2147471782"/>
        </pc:sldMkLst>
        <pc:picChg chg="mod">
          <ac:chgData name="John Paserba" userId="77bd6c8a-d0c1-4fea-8705-0169f65d0c0e" providerId="ADAL" clId="{BF4BD5A9-81CF-496E-BF70-4217756ADADE}" dt="2025-07-25T22:04:33.826" v="225" actId="1076"/>
          <ac:picMkLst>
            <pc:docMk/>
            <pc:sldMk cId="2655036657" sldId="2147471782"/>
            <ac:picMk id="3" creationId="{6EF0826A-993F-4848-850C-B680ADCB4226}"/>
          </ac:picMkLst>
        </pc:picChg>
        <pc:picChg chg="ord">
          <ac:chgData name="John Paserba" userId="77bd6c8a-d0c1-4fea-8705-0169f65d0c0e" providerId="ADAL" clId="{BF4BD5A9-81CF-496E-BF70-4217756ADADE}" dt="2025-07-25T22:04:40.025" v="226" actId="166"/>
          <ac:picMkLst>
            <pc:docMk/>
            <pc:sldMk cId="2655036657" sldId="2147471782"/>
            <ac:picMk id="5" creationId="{E2090744-1273-4DE4-9F8B-73E3F5C1813E}"/>
          </ac:picMkLst>
        </pc:picChg>
      </pc:sldChg>
      <pc:sldChg chg="addSp modSp add mod">
        <pc:chgData name="John Paserba" userId="77bd6c8a-d0c1-4fea-8705-0169f65d0c0e" providerId="ADAL" clId="{BF4BD5A9-81CF-496E-BF70-4217756ADADE}" dt="2025-07-25T22:07:13.958" v="244" actId="33524"/>
        <pc:sldMkLst>
          <pc:docMk/>
          <pc:sldMk cId="2714485979" sldId="2147471783"/>
        </pc:sldMkLst>
        <pc:spChg chg="mod">
          <ac:chgData name="John Paserba" userId="77bd6c8a-d0c1-4fea-8705-0169f65d0c0e" providerId="ADAL" clId="{BF4BD5A9-81CF-496E-BF70-4217756ADADE}" dt="2025-07-25T22:07:13.958" v="244" actId="33524"/>
          <ac:spMkLst>
            <pc:docMk/>
            <pc:sldMk cId="2714485979" sldId="2147471783"/>
            <ac:spMk id="7" creationId="{91467251-9C3B-47D9-BADF-0FE36DA42ABE}"/>
          </ac:spMkLst>
        </pc:spChg>
        <pc:picChg chg="add mod">
          <ac:chgData name="John Paserba" userId="77bd6c8a-d0c1-4fea-8705-0169f65d0c0e" providerId="ADAL" clId="{BF4BD5A9-81CF-496E-BF70-4217756ADADE}" dt="2025-07-25T22:07:01.423" v="242"/>
          <ac:picMkLst>
            <pc:docMk/>
            <pc:sldMk cId="2714485979" sldId="2147471783"/>
            <ac:picMk id="6" creationId="{36EEBA72-AE6B-4280-937B-DE85CE58320A}"/>
          </ac:picMkLst>
        </pc:picChg>
        <pc:picChg chg="mod">
          <ac:chgData name="John Paserba" userId="77bd6c8a-d0c1-4fea-8705-0169f65d0c0e" providerId="ADAL" clId="{BF4BD5A9-81CF-496E-BF70-4217756ADADE}" dt="2025-07-25T22:07:06.227" v="243" actId="1076"/>
          <ac:picMkLst>
            <pc:docMk/>
            <pc:sldMk cId="2714485979" sldId="2147471783"/>
            <ac:picMk id="10" creationId="{C3634BD3-1DB0-4444-8C15-42B06B35FBBA}"/>
          </ac:picMkLst>
        </pc:picChg>
      </pc:sldChg>
      <pc:sldChg chg="modSp add mod">
        <pc:chgData name="John Paserba" userId="77bd6c8a-d0c1-4fea-8705-0169f65d0c0e" providerId="ADAL" clId="{BF4BD5A9-81CF-496E-BF70-4217756ADADE}" dt="2025-07-25T22:08:06.207" v="259" actId="1035"/>
        <pc:sldMkLst>
          <pc:docMk/>
          <pc:sldMk cId="516964238" sldId="2147471784"/>
        </pc:sldMkLst>
        <pc:picChg chg="mod">
          <ac:chgData name="John Paserba" userId="77bd6c8a-d0c1-4fea-8705-0169f65d0c0e" providerId="ADAL" clId="{BF4BD5A9-81CF-496E-BF70-4217756ADADE}" dt="2025-07-25T22:08:06.207" v="259" actId="1035"/>
          <ac:picMkLst>
            <pc:docMk/>
            <pc:sldMk cId="516964238" sldId="2147471784"/>
            <ac:picMk id="12" creationId="{699CC928-1EC8-4F78-8F44-4FD9C208F5B3}"/>
          </ac:picMkLst>
        </pc:picChg>
        <pc:picChg chg="mod modCrop">
          <ac:chgData name="John Paserba" userId="77bd6c8a-d0c1-4fea-8705-0169f65d0c0e" providerId="ADAL" clId="{BF4BD5A9-81CF-496E-BF70-4217756ADADE}" dt="2025-07-25T22:07:54.053" v="248" actId="732"/>
          <ac:picMkLst>
            <pc:docMk/>
            <pc:sldMk cId="516964238" sldId="2147471784"/>
            <ac:picMk id="14" creationId="{28680180-DA43-40A9-B717-E635BCA25578}"/>
          </ac:picMkLst>
        </pc:picChg>
      </pc:sldChg>
      <pc:sldChg chg="modSp mod">
        <pc:chgData name="John Paserba" userId="77bd6c8a-d0c1-4fea-8705-0169f65d0c0e" providerId="ADAL" clId="{BF4BD5A9-81CF-496E-BF70-4217756ADADE}" dt="2025-07-25T22:15:22.019" v="280" actId="14100"/>
        <pc:sldMkLst>
          <pc:docMk/>
          <pc:sldMk cId="519710030" sldId="2147471785"/>
        </pc:sldMkLst>
        <pc:spChg chg="mod">
          <ac:chgData name="John Paserba" userId="77bd6c8a-d0c1-4fea-8705-0169f65d0c0e" providerId="ADAL" clId="{BF4BD5A9-81CF-496E-BF70-4217756ADADE}" dt="2025-07-25T22:15:22.019" v="280" actId="14100"/>
          <ac:spMkLst>
            <pc:docMk/>
            <pc:sldMk cId="519710030" sldId="2147471785"/>
            <ac:spMk id="19" creationId="{8CA4F223-C494-4ADE-AC56-135941722AEA}"/>
          </ac:spMkLst>
        </pc:spChg>
      </pc:sldChg>
      <pc:sldChg chg="add">
        <pc:chgData name="John Paserba" userId="77bd6c8a-d0c1-4fea-8705-0169f65d0c0e" providerId="ADAL" clId="{BF4BD5A9-81CF-496E-BF70-4217756ADADE}" dt="2025-07-25T23:04:22.099" v="867"/>
        <pc:sldMkLst>
          <pc:docMk/>
          <pc:sldMk cId="545361035" sldId="2147471786"/>
        </pc:sldMkLst>
      </pc:sldChg>
    </pc:docChg>
  </pc:docChgLst>
  <pc:docChgLst>
    <pc:chgData name="John Paserba" userId="77bd6c8a-d0c1-4fea-8705-0169f65d0c0e" providerId="ADAL" clId="{53CE5237-42FE-427A-BA5D-26B3CE557A8B}"/>
    <pc:docChg chg="undo custSel addSld delSld modSld">
      <pc:chgData name="John Paserba" userId="77bd6c8a-d0c1-4fea-8705-0169f65d0c0e" providerId="ADAL" clId="{53CE5237-42FE-427A-BA5D-26B3CE557A8B}" dt="2025-11-17T04:49:28.069" v="120" actId="20577"/>
      <pc:docMkLst>
        <pc:docMk/>
      </pc:docMkLst>
      <pc:sldChg chg="del">
        <pc:chgData name="John Paserba" userId="77bd6c8a-d0c1-4fea-8705-0169f65d0c0e" providerId="ADAL" clId="{53CE5237-42FE-427A-BA5D-26B3CE557A8B}" dt="2025-11-17T04:34:31.708" v="2" actId="47"/>
        <pc:sldMkLst>
          <pc:docMk/>
          <pc:sldMk cId="4008929667" sldId="691"/>
        </pc:sldMkLst>
      </pc:sldChg>
      <pc:sldChg chg="del">
        <pc:chgData name="John Paserba" userId="77bd6c8a-d0c1-4fea-8705-0169f65d0c0e" providerId="ADAL" clId="{53CE5237-42FE-427A-BA5D-26B3CE557A8B}" dt="2025-11-17T04:34:32.942" v="3" actId="47"/>
        <pc:sldMkLst>
          <pc:docMk/>
          <pc:sldMk cId="216267857" sldId="750"/>
        </pc:sldMkLst>
      </pc:sldChg>
      <pc:sldChg chg="del">
        <pc:chgData name="John Paserba" userId="77bd6c8a-d0c1-4fea-8705-0169f65d0c0e" providerId="ADAL" clId="{53CE5237-42FE-427A-BA5D-26B3CE557A8B}" dt="2025-11-17T04:42:55.323" v="73" actId="47"/>
        <pc:sldMkLst>
          <pc:docMk/>
          <pc:sldMk cId="4256397748" sldId="2147471321"/>
        </pc:sldMkLst>
      </pc:sldChg>
      <pc:sldChg chg="add del">
        <pc:chgData name="John Paserba" userId="77bd6c8a-d0c1-4fea-8705-0169f65d0c0e" providerId="ADAL" clId="{53CE5237-42FE-427A-BA5D-26B3CE557A8B}" dt="2025-11-17T04:36:05.482" v="9"/>
        <pc:sldMkLst>
          <pc:docMk/>
          <pc:sldMk cId="1962783679" sldId="2147471322"/>
        </pc:sldMkLst>
      </pc:sldChg>
      <pc:sldChg chg="modSp del mod">
        <pc:chgData name="John Paserba" userId="77bd6c8a-d0c1-4fea-8705-0169f65d0c0e" providerId="ADAL" clId="{53CE5237-42FE-427A-BA5D-26B3CE557A8B}" dt="2025-11-17T04:47:18.215" v="110" actId="20577"/>
        <pc:sldMkLst>
          <pc:docMk/>
          <pc:sldMk cId="1381740205" sldId="2147471323"/>
        </pc:sldMkLst>
        <pc:spChg chg="mod">
          <ac:chgData name="John Paserba" userId="77bd6c8a-d0c1-4fea-8705-0169f65d0c0e" providerId="ADAL" clId="{53CE5237-42FE-427A-BA5D-26B3CE557A8B}" dt="2025-11-17T04:47:18.215" v="110" actId="20577"/>
          <ac:spMkLst>
            <pc:docMk/>
            <pc:sldMk cId="1381740205" sldId="2147471323"/>
            <ac:spMk id="16" creationId="{D6E8CE56-0CD2-437C-9F9F-5848A19AD2BE}"/>
          </ac:spMkLst>
        </pc:spChg>
      </pc:sldChg>
      <pc:sldChg chg="del">
        <pc:chgData name="John Paserba" userId="77bd6c8a-d0c1-4fea-8705-0169f65d0c0e" providerId="ADAL" clId="{53CE5237-42FE-427A-BA5D-26B3CE557A8B}" dt="2025-11-17T04:34:28.535" v="1" actId="47"/>
        <pc:sldMkLst>
          <pc:docMk/>
          <pc:sldMk cId="2972051370" sldId="2147471329"/>
        </pc:sldMkLst>
      </pc:sldChg>
      <pc:sldChg chg="addSp delSp modSp mod">
        <pc:chgData name="John Paserba" userId="77bd6c8a-d0c1-4fea-8705-0169f65d0c0e" providerId="ADAL" clId="{53CE5237-42FE-427A-BA5D-26B3CE557A8B}" dt="2025-11-17T04:43:35.082" v="82" actId="478"/>
        <pc:sldMkLst>
          <pc:docMk/>
          <pc:sldMk cId="3978472136" sldId="2147471754"/>
        </pc:sldMkLst>
        <pc:spChg chg="mod">
          <ac:chgData name="John Paserba" userId="77bd6c8a-d0c1-4fea-8705-0169f65d0c0e" providerId="ADAL" clId="{53CE5237-42FE-427A-BA5D-26B3CE557A8B}" dt="2025-11-17T04:43:27.206" v="79"/>
          <ac:spMkLst>
            <pc:docMk/>
            <pc:sldMk cId="3978472136" sldId="2147471754"/>
            <ac:spMk id="20" creationId="{B88FAC2D-3C59-4246-AFDC-76EEE0AA1174}"/>
          </ac:spMkLst>
        </pc:spChg>
        <pc:spChg chg="mod">
          <ac:chgData name="John Paserba" userId="77bd6c8a-d0c1-4fea-8705-0169f65d0c0e" providerId="ADAL" clId="{53CE5237-42FE-427A-BA5D-26B3CE557A8B}" dt="2025-11-17T04:43:27.206" v="79"/>
          <ac:spMkLst>
            <pc:docMk/>
            <pc:sldMk cId="3978472136" sldId="2147471754"/>
            <ac:spMk id="29" creationId="{59EE6B23-6E94-420A-9B8D-EB346A90000A}"/>
          </ac:spMkLst>
        </pc:spChg>
        <pc:grpChg chg="add del mod">
          <ac:chgData name="John Paserba" userId="77bd6c8a-d0c1-4fea-8705-0169f65d0c0e" providerId="ADAL" clId="{53CE5237-42FE-427A-BA5D-26B3CE557A8B}" dt="2025-11-17T04:43:31.818" v="81" actId="478"/>
          <ac:grpSpMkLst>
            <pc:docMk/>
            <pc:sldMk cId="3978472136" sldId="2147471754"/>
            <ac:grpSpMk id="18" creationId="{26320F4E-751F-4E23-B332-9354A21A0132}"/>
          </ac:grpSpMkLst>
        </pc:grpChg>
        <pc:grpChg chg="add del mod">
          <ac:chgData name="John Paserba" userId="77bd6c8a-d0c1-4fea-8705-0169f65d0c0e" providerId="ADAL" clId="{53CE5237-42FE-427A-BA5D-26B3CE557A8B}" dt="2025-11-17T04:43:31.818" v="81" actId="478"/>
          <ac:grpSpMkLst>
            <pc:docMk/>
            <pc:sldMk cId="3978472136" sldId="2147471754"/>
            <ac:grpSpMk id="27" creationId="{3F37500C-36DD-4039-969C-93FABF99B9C6}"/>
          </ac:grpSpMkLst>
        </pc:grpChg>
        <pc:picChg chg="add del mod">
          <ac:chgData name="John Paserba" userId="77bd6c8a-d0c1-4fea-8705-0169f65d0c0e" providerId="ADAL" clId="{53CE5237-42FE-427A-BA5D-26B3CE557A8B}" dt="2025-11-17T04:43:35.082" v="82" actId="478"/>
          <ac:picMkLst>
            <pc:docMk/>
            <pc:sldMk cId="3978472136" sldId="2147471754"/>
            <ac:picMk id="17" creationId="{EB5C4C7D-E7F1-4C65-97D7-804E0E29BD4B}"/>
          </ac:picMkLst>
        </pc:picChg>
        <pc:picChg chg="mod">
          <ac:chgData name="John Paserba" userId="77bd6c8a-d0c1-4fea-8705-0169f65d0c0e" providerId="ADAL" clId="{53CE5237-42FE-427A-BA5D-26B3CE557A8B}" dt="2025-11-17T04:43:27.206" v="79"/>
          <ac:picMkLst>
            <pc:docMk/>
            <pc:sldMk cId="3978472136" sldId="2147471754"/>
            <ac:picMk id="25" creationId="{6F7D456B-5EDD-400F-9800-0D6B43CD1403}"/>
          </ac:picMkLst>
        </pc:picChg>
        <pc:picChg chg="mod">
          <ac:chgData name="John Paserba" userId="77bd6c8a-d0c1-4fea-8705-0169f65d0c0e" providerId="ADAL" clId="{53CE5237-42FE-427A-BA5D-26B3CE557A8B}" dt="2025-11-17T04:43:27.206" v="79"/>
          <ac:picMkLst>
            <pc:docMk/>
            <pc:sldMk cId="3978472136" sldId="2147471754"/>
            <ac:picMk id="34" creationId="{2E331A27-62BD-4844-BF43-37082D87D183}"/>
          </ac:picMkLst>
        </pc:picChg>
      </pc:sldChg>
      <pc:sldChg chg="del">
        <pc:chgData name="John Paserba" userId="77bd6c8a-d0c1-4fea-8705-0169f65d0c0e" providerId="ADAL" clId="{53CE5237-42FE-427A-BA5D-26B3CE557A8B}" dt="2025-11-17T04:34:27.252" v="0" actId="47"/>
        <pc:sldMkLst>
          <pc:docMk/>
          <pc:sldMk cId="1858141502" sldId="2147471781"/>
        </pc:sldMkLst>
      </pc:sldChg>
      <pc:sldChg chg="del">
        <pc:chgData name="John Paserba" userId="77bd6c8a-d0c1-4fea-8705-0169f65d0c0e" providerId="ADAL" clId="{53CE5237-42FE-427A-BA5D-26B3CE557A8B}" dt="2025-11-17T04:34:34.299" v="4" actId="47"/>
        <pc:sldMkLst>
          <pc:docMk/>
          <pc:sldMk cId="2418141605" sldId="2147471784"/>
        </pc:sldMkLst>
      </pc:sldChg>
      <pc:sldChg chg="del">
        <pc:chgData name="John Paserba" userId="77bd6c8a-d0c1-4fea-8705-0169f65d0c0e" providerId="ADAL" clId="{53CE5237-42FE-427A-BA5D-26B3CE557A8B}" dt="2025-11-17T04:34:39.513" v="6" actId="47"/>
        <pc:sldMkLst>
          <pc:docMk/>
          <pc:sldMk cId="1723101996" sldId="2147471797"/>
        </pc:sldMkLst>
      </pc:sldChg>
      <pc:sldChg chg="del">
        <pc:chgData name="John Paserba" userId="77bd6c8a-d0c1-4fea-8705-0169f65d0c0e" providerId="ADAL" clId="{53CE5237-42FE-427A-BA5D-26B3CE557A8B}" dt="2025-11-17T04:34:40.882" v="7" actId="47"/>
        <pc:sldMkLst>
          <pc:docMk/>
          <pc:sldMk cId="1583859310" sldId="2147471798"/>
        </pc:sldMkLst>
      </pc:sldChg>
      <pc:sldChg chg="del">
        <pc:chgData name="John Paserba" userId="77bd6c8a-d0c1-4fea-8705-0169f65d0c0e" providerId="ADAL" clId="{53CE5237-42FE-427A-BA5D-26B3CE557A8B}" dt="2025-11-17T04:34:36.092" v="5" actId="47"/>
        <pc:sldMkLst>
          <pc:docMk/>
          <pc:sldMk cId="486876569" sldId="2147471913"/>
        </pc:sldMkLst>
      </pc:sldChg>
      <pc:sldChg chg="modSp add del mod">
        <pc:chgData name="John Paserba" userId="77bd6c8a-d0c1-4fea-8705-0169f65d0c0e" providerId="ADAL" clId="{53CE5237-42FE-427A-BA5D-26B3CE557A8B}" dt="2025-11-17T04:41:58.551" v="72" actId="20577"/>
        <pc:sldMkLst>
          <pc:docMk/>
          <pc:sldMk cId="614062798" sldId="2147471921"/>
        </pc:sldMkLst>
        <pc:spChg chg="mod">
          <ac:chgData name="John Paserba" userId="77bd6c8a-d0c1-4fea-8705-0169f65d0c0e" providerId="ADAL" clId="{53CE5237-42FE-427A-BA5D-26B3CE557A8B}" dt="2025-11-17T04:41:58.551" v="72" actId="20577"/>
          <ac:spMkLst>
            <pc:docMk/>
            <pc:sldMk cId="614062798" sldId="2147471921"/>
            <ac:spMk id="13" creationId="{BB890393-D40A-40C5-A6E3-4F98E2C9D47D}"/>
          </ac:spMkLst>
        </pc:spChg>
      </pc:sldChg>
      <pc:sldChg chg="modSp add del mod">
        <pc:chgData name="John Paserba" userId="77bd6c8a-d0c1-4fea-8705-0169f65d0c0e" providerId="ADAL" clId="{53CE5237-42FE-427A-BA5D-26B3CE557A8B}" dt="2025-11-17T04:41:45.141" v="68" actId="20577"/>
        <pc:sldMkLst>
          <pc:docMk/>
          <pc:sldMk cId="2123891597" sldId="2147471922"/>
        </pc:sldMkLst>
        <pc:spChg chg="mod">
          <ac:chgData name="John Paserba" userId="77bd6c8a-d0c1-4fea-8705-0169f65d0c0e" providerId="ADAL" clId="{53CE5237-42FE-427A-BA5D-26B3CE557A8B}" dt="2025-11-17T04:41:45.141" v="68" actId="20577"/>
          <ac:spMkLst>
            <pc:docMk/>
            <pc:sldMk cId="2123891597" sldId="2147471922"/>
            <ac:spMk id="3" creationId="{E6993746-A424-4F09-867F-B919F4E18ECB}"/>
          </ac:spMkLst>
        </pc:spChg>
      </pc:sldChg>
      <pc:sldChg chg="modSp add del mod">
        <pc:chgData name="John Paserba" userId="77bd6c8a-d0c1-4fea-8705-0169f65d0c0e" providerId="ADAL" clId="{53CE5237-42FE-427A-BA5D-26B3CE557A8B}" dt="2025-11-17T04:38:05.103" v="19" actId="20577"/>
        <pc:sldMkLst>
          <pc:docMk/>
          <pc:sldMk cId="129383753" sldId="2147471924"/>
        </pc:sldMkLst>
        <pc:spChg chg="mod">
          <ac:chgData name="John Paserba" userId="77bd6c8a-d0c1-4fea-8705-0169f65d0c0e" providerId="ADAL" clId="{53CE5237-42FE-427A-BA5D-26B3CE557A8B}" dt="2025-11-17T04:38:05.103" v="19" actId="20577"/>
          <ac:spMkLst>
            <pc:docMk/>
            <pc:sldMk cId="129383753" sldId="2147471924"/>
            <ac:spMk id="12" creationId="{756F00F7-8FFE-43DC-90F3-A78C3BD3490B}"/>
          </ac:spMkLst>
        </pc:spChg>
      </pc:sldChg>
      <pc:sldChg chg="add del">
        <pc:chgData name="John Paserba" userId="77bd6c8a-d0c1-4fea-8705-0169f65d0c0e" providerId="ADAL" clId="{53CE5237-42FE-427A-BA5D-26B3CE557A8B}" dt="2025-11-17T04:36:05.482" v="9"/>
        <pc:sldMkLst>
          <pc:docMk/>
          <pc:sldMk cId="3074711567" sldId="2147471925"/>
        </pc:sldMkLst>
      </pc:sldChg>
      <pc:sldChg chg="add del">
        <pc:chgData name="John Paserba" userId="77bd6c8a-d0c1-4fea-8705-0169f65d0c0e" providerId="ADAL" clId="{53CE5237-42FE-427A-BA5D-26B3CE557A8B}" dt="2025-11-17T04:41:33.853" v="65" actId="47"/>
        <pc:sldMkLst>
          <pc:docMk/>
          <pc:sldMk cId="67150594" sldId="2147471926"/>
        </pc:sldMkLst>
      </pc:sldChg>
      <pc:sldChg chg="modSp del mod">
        <pc:chgData name="John Paserba" userId="77bd6c8a-d0c1-4fea-8705-0169f65d0c0e" providerId="ADAL" clId="{53CE5237-42FE-427A-BA5D-26B3CE557A8B}" dt="2025-11-17T04:44:37.526" v="93" actId="12"/>
        <pc:sldMkLst>
          <pc:docMk/>
          <pc:sldMk cId="1868943474" sldId="2147471939"/>
        </pc:sldMkLst>
        <pc:spChg chg="mod">
          <ac:chgData name="John Paserba" userId="77bd6c8a-d0c1-4fea-8705-0169f65d0c0e" providerId="ADAL" clId="{53CE5237-42FE-427A-BA5D-26B3CE557A8B}" dt="2025-11-17T04:44:37.526" v="93" actId="12"/>
          <ac:spMkLst>
            <pc:docMk/>
            <pc:sldMk cId="1868943474" sldId="2147471939"/>
            <ac:spMk id="3" creationId="{E6993746-A424-4F09-867F-B919F4E18ECB}"/>
          </ac:spMkLst>
        </pc:spChg>
      </pc:sldChg>
      <pc:sldChg chg="del">
        <pc:chgData name="John Paserba" userId="77bd6c8a-d0c1-4fea-8705-0169f65d0c0e" providerId="ADAL" clId="{53CE5237-42FE-427A-BA5D-26B3CE557A8B}" dt="2025-11-17T04:42:55.323" v="73" actId="47"/>
        <pc:sldMkLst>
          <pc:docMk/>
          <pc:sldMk cId="2098502483" sldId="2147471940"/>
        </pc:sldMkLst>
      </pc:sldChg>
      <pc:sldChg chg="modSp del mod">
        <pc:chgData name="John Paserba" userId="77bd6c8a-d0c1-4fea-8705-0169f65d0c0e" providerId="ADAL" clId="{53CE5237-42FE-427A-BA5D-26B3CE557A8B}" dt="2025-11-17T04:44:12.556" v="89" actId="114"/>
        <pc:sldMkLst>
          <pc:docMk/>
          <pc:sldMk cId="3944055538" sldId="2147471942"/>
        </pc:sldMkLst>
        <pc:spChg chg="mod">
          <ac:chgData name="John Paserba" userId="77bd6c8a-d0c1-4fea-8705-0169f65d0c0e" providerId="ADAL" clId="{53CE5237-42FE-427A-BA5D-26B3CE557A8B}" dt="2025-11-17T04:44:12.556" v="89" actId="114"/>
          <ac:spMkLst>
            <pc:docMk/>
            <pc:sldMk cId="3944055538" sldId="2147471942"/>
            <ac:spMk id="3" creationId="{E6993746-A424-4F09-867F-B919F4E18ECB}"/>
          </ac:spMkLst>
        </pc:spChg>
      </pc:sldChg>
      <pc:sldChg chg="modSp del mod">
        <pc:chgData name="John Paserba" userId="77bd6c8a-d0c1-4fea-8705-0169f65d0c0e" providerId="ADAL" clId="{53CE5237-42FE-427A-BA5D-26B3CE557A8B}" dt="2025-11-17T04:43:54.556" v="88" actId="20577"/>
        <pc:sldMkLst>
          <pc:docMk/>
          <pc:sldMk cId="3232273073" sldId="2147471943"/>
        </pc:sldMkLst>
        <pc:spChg chg="mod">
          <ac:chgData name="John Paserba" userId="77bd6c8a-d0c1-4fea-8705-0169f65d0c0e" providerId="ADAL" clId="{53CE5237-42FE-427A-BA5D-26B3CE557A8B}" dt="2025-11-17T04:43:54.556" v="88" actId="20577"/>
          <ac:spMkLst>
            <pc:docMk/>
            <pc:sldMk cId="3232273073" sldId="2147471943"/>
            <ac:spMk id="3" creationId="{E6993746-A424-4F09-867F-B919F4E18ECB}"/>
          </ac:spMkLst>
        </pc:spChg>
      </pc:sldChg>
      <pc:sldChg chg="modSp del mod">
        <pc:chgData name="John Paserba" userId="77bd6c8a-d0c1-4fea-8705-0169f65d0c0e" providerId="ADAL" clId="{53CE5237-42FE-427A-BA5D-26B3CE557A8B}" dt="2025-11-17T04:49:28.069" v="120" actId="20577"/>
        <pc:sldMkLst>
          <pc:docMk/>
          <pc:sldMk cId="518951601" sldId="2147471944"/>
        </pc:sldMkLst>
        <pc:spChg chg="mod">
          <ac:chgData name="John Paserba" userId="77bd6c8a-d0c1-4fea-8705-0169f65d0c0e" providerId="ADAL" clId="{53CE5237-42FE-427A-BA5D-26B3CE557A8B}" dt="2025-11-17T04:49:28.069" v="120" actId="20577"/>
          <ac:spMkLst>
            <pc:docMk/>
            <pc:sldMk cId="518951601" sldId="2147471944"/>
            <ac:spMk id="3" creationId="{E6993746-A424-4F09-867F-B919F4E18ECB}"/>
          </ac:spMkLst>
        </pc:spChg>
      </pc:sldChg>
      <pc:sldChg chg="modSp del mod">
        <pc:chgData name="John Paserba" userId="77bd6c8a-d0c1-4fea-8705-0169f65d0c0e" providerId="ADAL" clId="{53CE5237-42FE-427A-BA5D-26B3CE557A8B}" dt="2025-11-17T04:48:17.521" v="118" actId="207"/>
        <pc:sldMkLst>
          <pc:docMk/>
          <pc:sldMk cId="100192432" sldId="2147471945"/>
        </pc:sldMkLst>
        <pc:spChg chg="mod">
          <ac:chgData name="John Paserba" userId="77bd6c8a-d0c1-4fea-8705-0169f65d0c0e" providerId="ADAL" clId="{53CE5237-42FE-427A-BA5D-26B3CE557A8B}" dt="2025-11-17T04:48:17.521" v="118" actId="207"/>
          <ac:spMkLst>
            <pc:docMk/>
            <pc:sldMk cId="100192432" sldId="2147471945"/>
            <ac:spMk id="3" creationId="{E6993746-A424-4F09-867F-B919F4E18ECB}"/>
          </ac:spMkLst>
        </pc:spChg>
      </pc:sldChg>
      <pc:sldChg chg="modSp del mod">
        <pc:chgData name="John Paserba" userId="77bd6c8a-d0c1-4fea-8705-0169f65d0c0e" providerId="ADAL" clId="{53CE5237-42FE-427A-BA5D-26B3CE557A8B}" dt="2025-11-17T04:47:24.153" v="111" actId="20577"/>
        <pc:sldMkLst>
          <pc:docMk/>
          <pc:sldMk cId="2662749527" sldId="2147471946"/>
        </pc:sldMkLst>
        <pc:spChg chg="mod">
          <ac:chgData name="John Paserba" userId="77bd6c8a-d0c1-4fea-8705-0169f65d0c0e" providerId="ADAL" clId="{53CE5237-42FE-427A-BA5D-26B3CE557A8B}" dt="2025-11-17T04:47:24.153" v="111" actId="20577"/>
          <ac:spMkLst>
            <pc:docMk/>
            <pc:sldMk cId="2662749527" sldId="2147471946"/>
            <ac:spMk id="3" creationId="{E6993746-A424-4F09-867F-B919F4E18ECB}"/>
          </ac:spMkLst>
        </pc:spChg>
      </pc:sldChg>
      <pc:sldChg chg="modSp del mod">
        <pc:chgData name="John Paserba" userId="77bd6c8a-d0c1-4fea-8705-0169f65d0c0e" providerId="ADAL" clId="{53CE5237-42FE-427A-BA5D-26B3CE557A8B}" dt="2025-11-17T04:46:59.058" v="99" actId="12"/>
        <pc:sldMkLst>
          <pc:docMk/>
          <pc:sldMk cId="3123541414" sldId="2147471948"/>
        </pc:sldMkLst>
        <pc:spChg chg="mod">
          <ac:chgData name="John Paserba" userId="77bd6c8a-d0c1-4fea-8705-0169f65d0c0e" providerId="ADAL" clId="{53CE5237-42FE-427A-BA5D-26B3CE557A8B}" dt="2025-11-17T04:46:59.058" v="99" actId="12"/>
          <ac:spMkLst>
            <pc:docMk/>
            <pc:sldMk cId="3123541414" sldId="2147471948"/>
            <ac:spMk id="3" creationId="{E6993746-A424-4F09-867F-B919F4E18ECB}"/>
          </ac:spMkLst>
        </pc:spChg>
      </pc:sldChg>
      <pc:sldChg chg="del">
        <pc:chgData name="John Paserba" userId="77bd6c8a-d0c1-4fea-8705-0169f65d0c0e" providerId="ADAL" clId="{53CE5237-42FE-427A-BA5D-26B3CE557A8B}" dt="2025-11-17T04:45:39.473" v="94" actId="47"/>
        <pc:sldMkLst>
          <pc:docMk/>
          <pc:sldMk cId="2359544575" sldId="2147471949"/>
        </pc:sldMkLst>
      </pc:sldChg>
      <pc:sldChg chg="del">
        <pc:chgData name="John Paserba" userId="77bd6c8a-d0c1-4fea-8705-0169f65d0c0e" providerId="ADAL" clId="{53CE5237-42FE-427A-BA5D-26B3CE557A8B}" dt="2025-11-17T04:45:39.473" v="94" actId="47"/>
        <pc:sldMkLst>
          <pc:docMk/>
          <pc:sldMk cId="515857153" sldId="2147471950"/>
        </pc:sldMkLst>
      </pc:sldChg>
      <pc:sldChg chg="modSp add mod">
        <pc:chgData name="John Paserba" userId="77bd6c8a-d0c1-4fea-8705-0169f65d0c0e" providerId="ADAL" clId="{53CE5237-42FE-427A-BA5D-26B3CE557A8B}" dt="2025-11-17T04:37:26.777" v="16" actId="12"/>
        <pc:sldMkLst>
          <pc:docMk/>
          <pc:sldMk cId="1179040267" sldId="2147471951"/>
        </pc:sldMkLst>
        <pc:spChg chg="mod">
          <ac:chgData name="John Paserba" userId="77bd6c8a-d0c1-4fea-8705-0169f65d0c0e" providerId="ADAL" clId="{53CE5237-42FE-427A-BA5D-26B3CE557A8B}" dt="2025-11-17T04:37:26.777" v="16" actId="12"/>
          <ac:spMkLst>
            <pc:docMk/>
            <pc:sldMk cId="1179040267" sldId="2147471951"/>
            <ac:spMk id="3" creationId="{E6993746-A424-4F09-867F-B919F4E18ECB}"/>
          </ac:spMkLst>
        </pc:spChg>
      </pc:sldChg>
      <pc:sldChg chg="add">
        <pc:chgData name="John Paserba" userId="77bd6c8a-d0c1-4fea-8705-0169f65d0c0e" providerId="ADAL" clId="{53CE5237-42FE-427A-BA5D-26B3CE557A8B}" dt="2025-11-17T04:36:05.482" v="9"/>
        <pc:sldMkLst>
          <pc:docMk/>
          <pc:sldMk cId="1217208925" sldId="2147471953"/>
        </pc:sldMkLst>
      </pc:sldChg>
      <pc:sldChg chg="modSp mod">
        <pc:chgData name="John Paserba" userId="77bd6c8a-d0c1-4fea-8705-0169f65d0c0e" providerId="ADAL" clId="{53CE5237-42FE-427A-BA5D-26B3CE557A8B}" dt="2025-11-17T04:41:19.474" v="64" actId="207"/>
        <pc:sldMkLst>
          <pc:docMk/>
          <pc:sldMk cId="104470527" sldId="2147471954"/>
        </pc:sldMkLst>
        <pc:spChg chg="mod">
          <ac:chgData name="John Paserba" userId="77bd6c8a-d0c1-4fea-8705-0169f65d0c0e" providerId="ADAL" clId="{53CE5237-42FE-427A-BA5D-26B3CE557A8B}" dt="2025-11-17T04:41:19.474" v="64" actId="207"/>
          <ac:spMkLst>
            <pc:docMk/>
            <pc:sldMk cId="104470527" sldId="2147471954"/>
            <ac:spMk id="3" creationId="{E6993746-A424-4F09-867F-B919F4E18ECB}"/>
          </ac:spMkLst>
        </pc:spChg>
      </pc:sldChg>
    </pc:docChg>
  </pc:docChgLst>
  <pc:docChgLst>
    <pc:chgData name="John Paserba" userId="77bd6c8a-d0c1-4fea-8705-0169f65d0c0e" providerId="ADAL" clId="{AAD21C1A-B60A-45A7-B910-2A57ADCFD1EA}"/>
    <pc:docChg chg="undo custSel addSld delSld modSld sldOrd delMainMaster">
      <pc:chgData name="John Paserba" userId="77bd6c8a-d0c1-4fea-8705-0169f65d0c0e" providerId="ADAL" clId="{AAD21C1A-B60A-45A7-B910-2A57ADCFD1EA}" dt="2025-10-15T16:59:16.083" v="804" actId="948"/>
      <pc:docMkLst>
        <pc:docMk/>
      </pc:docMkLst>
      <pc:sldChg chg="modSp mod">
        <pc:chgData name="John Paserba" userId="77bd6c8a-d0c1-4fea-8705-0169f65d0c0e" providerId="ADAL" clId="{AAD21C1A-B60A-45A7-B910-2A57ADCFD1EA}" dt="2025-10-15T14:53:21.263" v="266" actId="20577"/>
        <pc:sldMkLst>
          <pc:docMk/>
          <pc:sldMk cId="107756887" sldId="2147471201"/>
        </pc:sldMkLst>
        <pc:spChg chg="mod">
          <ac:chgData name="John Paserba" userId="77bd6c8a-d0c1-4fea-8705-0169f65d0c0e" providerId="ADAL" clId="{AAD21C1A-B60A-45A7-B910-2A57ADCFD1EA}" dt="2025-10-15T14:53:21.263" v="266" actId="20577"/>
          <ac:spMkLst>
            <pc:docMk/>
            <pc:sldMk cId="107756887" sldId="2147471201"/>
            <ac:spMk id="3" creationId="{C7E63D57-1DFE-34B1-3170-34F96412855C}"/>
          </ac:spMkLst>
        </pc:spChg>
      </pc:sldChg>
      <pc:sldChg chg="del">
        <pc:chgData name="John Paserba" userId="77bd6c8a-d0c1-4fea-8705-0169f65d0c0e" providerId="ADAL" clId="{AAD21C1A-B60A-45A7-B910-2A57ADCFD1EA}" dt="2025-10-15T13:49:09.824" v="37" actId="2696"/>
        <pc:sldMkLst>
          <pc:docMk/>
          <pc:sldMk cId="4140064540" sldId="2147471320"/>
        </pc:sldMkLst>
      </pc:sldChg>
      <pc:sldChg chg="modSp mod">
        <pc:chgData name="John Paserba" userId="77bd6c8a-d0c1-4fea-8705-0169f65d0c0e" providerId="ADAL" clId="{AAD21C1A-B60A-45A7-B910-2A57ADCFD1EA}" dt="2025-10-15T15:32:42.817" v="561" actId="20577"/>
        <pc:sldMkLst>
          <pc:docMk/>
          <pc:sldMk cId="195241491" sldId="2147471370"/>
        </pc:sldMkLst>
        <pc:spChg chg="mod">
          <ac:chgData name="John Paserba" userId="77bd6c8a-d0c1-4fea-8705-0169f65d0c0e" providerId="ADAL" clId="{AAD21C1A-B60A-45A7-B910-2A57ADCFD1EA}" dt="2025-10-15T15:32:42.817" v="561" actId="20577"/>
          <ac:spMkLst>
            <pc:docMk/>
            <pc:sldMk cId="195241491" sldId="2147471370"/>
            <ac:spMk id="3" creationId="{E6993746-A424-4F09-867F-B919F4E18ECB}"/>
          </ac:spMkLst>
        </pc:spChg>
      </pc:sldChg>
      <pc:sldChg chg="modSp mod">
        <pc:chgData name="John Paserba" userId="77bd6c8a-d0c1-4fea-8705-0169f65d0c0e" providerId="ADAL" clId="{AAD21C1A-B60A-45A7-B910-2A57ADCFD1EA}" dt="2025-10-15T15:05:49.151" v="392" actId="20577"/>
        <pc:sldMkLst>
          <pc:docMk/>
          <pc:sldMk cId="37534917" sldId="2147471383"/>
        </pc:sldMkLst>
        <pc:spChg chg="mod">
          <ac:chgData name="John Paserba" userId="77bd6c8a-d0c1-4fea-8705-0169f65d0c0e" providerId="ADAL" clId="{AAD21C1A-B60A-45A7-B910-2A57ADCFD1EA}" dt="2025-10-15T15:05:49.151" v="392" actId="20577"/>
          <ac:spMkLst>
            <pc:docMk/>
            <pc:sldMk cId="37534917" sldId="2147471383"/>
            <ac:spMk id="8" creationId="{237249FE-3C94-F063-0EDC-F718C885375A}"/>
          </ac:spMkLst>
        </pc:spChg>
      </pc:sldChg>
      <pc:sldChg chg="modSp mod">
        <pc:chgData name="John Paserba" userId="77bd6c8a-d0c1-4fea-8705-0169f65d0c0e" providerId="ADAL" clId="{AAD21C1A-B60A-45A7-B910-2A57ADCFD1EA}" dt="2025-10-15T15:15:20.321" v="509" actId="20577"/>
        <pc:sldMkLst>
          <pc:docMk/>
          <pc:sldMk cId="2607991234" sldId="2147471394"/>
        </pc:sldMkLst>
        <pc:spChg chg="mod">
          <ac:chgData name="John Paserba" userId="77bd6c8a-d0c1-4fea-8705-0169f65d0c0e" providerId="ADAL" clId="{AAD21C1A-B60A-45A7-B910-2A57ADCFD1EA}" dt="2025-10-15T15:15:20.321" v="509" actId="20577"/>
          <ac:spMkLst>
            <pc:docMk/>
            <pc:sldMk cId="2607991234" sldId="2147471394"/>
            <ac:spMk id="3" creationId="{E6993746-A424-4F09-867F-B919F4E18ECB}"/>
          </ac:spMkLst>
        </pc:spChg>
      </pc:sldChg>
      <pc:sldChg chg="del">
        <pc:chgData name="John Paserba" userId="77bd6c8a-d0c1-4fea-8705-0169f65d0c0e" providerId="ADAL" clId="{AAD21C1A-B60A-45A7-B910-2A57ADCFD1EA}" dt="2025-10-15T14:07:19.199" v="58" actId="47"/>
        <pc:sldMkLst>
          <pc:docMk/>
          <pc:sldMk cId="1509309180" sldId="2147471499"/>
        </pc:sldMkLst>
      </pc:sldChg>
      <pc:sldChg chg="del">
        <pc:chgData name="John Paserba" userId="77bd6c8a-d0c1-4fea-8705-0169f65d0c0e" providerId="ADAL" clId="{AAD21C1A-B60A-45A7-B910-2A57ADCFD1EA}" dt="2025-10-15T14:07:13.158" v="55" actId="47"/>
        <pc:sldMkLst>
          <pc:docMk/>
          <pc:sldMk cId="2193624052" sldId="2147471501"/>
        </pc:sldMkLst>
      </pc:sldChg>
      <pc:sldChg chg="modSp mod">
        <pc:chgData name="John Paserba" userId="77bd6c8a-d0c1-4fea-8705-0169f65d0c0e" providerId="ADAL" clId="{AAD21C1A-B60A-45A7-B910-2A57ADCFD1EA}" dt="2025-10-15T16:59:16.083" v="804" actId="948"/>
        <pc:sldMkLst>
          <pc:docMk/>
          <pc:sldMk cId="599989515" sldId="2147471562"/>
        </pc:sldMkLst>
        <pc:spChg chg="mod">
          <ac:chgData name="John Paserba" userId="77bd6c8a-d0c1-4fea-8705-0169f65d0c0e" providerId="ADAL" clId="{AAD21C1A-B60A-45A7-B910-2A57ADCFD1EA}" dt="2025-10-15T16:59:16.083" v="804" actId="948"/>
          <ac:spMkLst>
            <pc:docMk/>
            <pc:sldMk cId="599989515" sldId="2147471562"/>
            <ac:spMk id="3" creationId="{E6993746-A424-4F09-867F-B919F4E18ECB}"/>
          </ac:spMkLst>
        </pc:spChg>
      </pc:sldChg>
      <pc:sldChg chg="modSp mod">
        <pc:chgData name="John Paserba" userId="77bd6c8a-d0c1-4fea-8705-0169f65d0c0e" providerId="ADAL" clId="{AAD21C1A-B60A-45A7-B910-2A57ADCFD1EA}" dt="2025-10-15T16:53:16.838" v="776" actId="948"/>
        <pc:sldMkLst>
          <pc:docMk/>
          <pc:sldMk cId="3848360745" sldId="2147471564"/>
        </pc:sldMkLst>
        <pc:spChg chg="mod">
          <ac:chgData name="John Paserba" userId="77bd6c8a-d0c1-4fea-8705-0169f65d0c0e" providerId="ADAL" clId="{AAD21C1A-B60A-45A7-B910-2A57ADCFD1EA}" dt="2025-10-15T16:53:16.838" v="776" actId="948"/>
          <ac:spMkLst>
            <pc:docMk/>
            <pc:sldMk cId="3848360745" sldId="2147471564"/>
            <ac:spMk id="3" creationId="{E6993746-A424-4F09-867F-B919F4E18ECB}"/>
          </ac:spMkLst>
        </pc:spChg>
      </pc:sldChg>
      <pc:sldChg chg="modSp mod">
        <pc:chgData name="John Paserba" userId="77bd6c8a-d0c1-4fea-8705-0169f65d0c0e" providerId="ADAL" clId="{AAD21C1A-B60A-45A7-B910-2A57ADCFD1EA}" dt="2025-10-15T16:52:42" v="770" actId="207"/>
        <pc:sldMkLst>
          <pc:docMk/>
          <pc:sldMk cId="2068436623" sldId="2147471665"/>
        </pc:sldMkLst>
        <pc:spChg chg="mod">
          <ac:chgData name="John Paserba" userId="77bd6c8a-d0c1-4fea-8705-0169f65d0c0e" providerId="ADAL" clId="{AAD21C1A-B60A-45A7-B910-2A57ADCFD1EA}" dt="2025-10-15T16:52:42" v="770" actId="207"/>
          <ac:spMkLst>
            <pc:docMk/>
            <pc:sldMk cId="2068436623" sldId="2147471665"/>
            <ac:spMk id="3" creationId="{E6993746-A424-4F09-867F-B919F4E18ECB}"/>
          </ac:spMkLst>
        </pc:spChg>
      </pc:sldChg>
      <pc:sldChg chg="modSp mod">
        <pc:chgData name="John Paserba" userId="77bd6c8a-d0c1-4fea-8705-0169f65d0c0e" providerId="ADAL" clId="{AAD21C1A-B60A-45A7-B910-2A57ADCFD1EA}" dt="2025-10-15T16:58:04.944" v="801" actId="255"/>
        <pc:sldMkLst>
          <pc:docMk/>
          <pc:sldMk cId="4015560649" sldId="2147471707"/>
        </pc:sldMkLst>
        <pc:spChg chg="mod">
          <ac:chgData name="John Paserba" userId="77bd6c8a-d0c1-4fea-8705-0169f65d0c0e" providerId="ADAL" clId="{AAD21C1A-B60A-45A7-B910-2A57ADCFD1EA}" dt="2025-10-15T16:58:04.944" v="801" actId="255"/>
          <ac:spMkLst>
            <pc:docMk/>
            <pc:sldMk cId="4015560649" sldId="2147471707"/>
            <ac:spMk id="3328002" creationId="{00000000-0000-0000-0000-000000000000}"/>
          </ac:spMkLst>
        </pc:spChg>
      </pc:sldChg>
      <pc:sldChg chg="modSp mod">
        <pc:chgData name="John Paserba" userId="77bd6c8a-d0c1-4fea-8705-0169f65d0c0e" providerId="ADAL" clId="{AAD21C1A-B60A-45A7-B910-2A57ADCFD1EA}" dt="2025-10-15T16:14:22.630" v="589" actId="1036"/>
        <pc:sldMkLst>
          <pc:docMk/>
          <pc:sldMk cId="3558142149" sldId="2147471710"/>
        </pc:sldMkLst>
        <pc:spChg chg="mod">
          <ac:chgData name="John Paserba" userId="77bd6c8a-d0c1-4fea-8705-0169f65d0c0e" providerId="ADAL" clId="{AAD21C1A-B60A-45A7-B910-2A57ADCFD1EA}" dt="2025-10-15T16:14:22.630" v="589" actId="1036"/>
          <ac:spMkLst>
            <pc:docMk/>
            <pc:sldMk cId="3558142149" sldId="2147471710"/>
            <ac:spMk id="9" creationId="{BAAF9788-3882-7FD4-A043-13E164D06B60}"/>
          </ac:spMkLst>
        </pc:spChg>
      </pc:sldChg>
      <pc:sldChg chg="addSp modSp mod">
        <pc:chgData name="John Paserba" userId="77bd6c8a-d0c1-4fea-8705-0169f65d0c0e" providerId="ADAL" clId="{AAD21C1A-B60A-45A7-B910-2A57ADCFD1EA}" dt="2025-10-15T16:56:58.355" v="794" actId="14100"/>
        <pc:sldMkLst>
          <pc:docMk/>
          <pc:sldMk cId="2502723964" sldId="2147471719"/>
        </pc:sldMkLst>
        <pc:spChg chg="add mod">
          <ac:chgData name="John Paserba" userId="77bd6c8a-d0c1-4fea-8705-0169f65d0c0e" providerId="ADAL" clId="{AAD21C1A-B60A-45A7-B910-2A57ADCFD1EA}" dt="2025-10-15T16:56:58.355" v="794" actId="14100"/>
          <ac:spMkLst>
            <pc:docMk/>
            <pc:sldMk cId="2502723964" sldId="2147471719"/>
            <ac:spMk id="2" creationId="{F29AB80D-2077-48C5-AE6D-9FF7824BEB57}"/>
          </ac:spMkLst>
        </pc:spChg>
      </pc:sldChg>
      <pc:sldChg chg="modSp mod">
        <pc:chgData name="John Paserba" userId="77bd6c8a-d0c1-4fea-8705-0169f65d0c0e" providerId="ADAL" clId="{AAD21C1A-B60A-45A7-B910-2A57ADCFD1EA}" dt="2025-10-15T16:18:19.311" v="678" actId="20577"/>
        <pc:sldMkLst>
          <pc:docMk/>
          <pc:sldMk cId="2339610385" sldId="2147471725"/>
        </pc:sldMkLst>
        <pc:spChg chg="mod">
          <ac:chgData name="John Paserba" userId="77bd6c8a-d0c1-4fea-8705-0169f65d0c0e" providerId="ADAL" clId="{AAD21C1A-B60A-45A7-B910-2A57ADCFD1EA}" dt="2025-10-15T16:18:19.311" v="678" actId="20577"/>
          <ac:spMkLst>
            <pc:docMk/>
            <pc:sldMk cId="2339610385" sldId="2147471725"/>
            <ac:spMk id="12" creationId="{7637F54C-2D4B-44A5-B3F7-1642BB564316}"/>
          </ac:spMkLst>
        </pc:spChg>
      </pc:sldChg>
      <pc:sldChg chg="modSp">
        <pc:chgData name="John Paserba" userId="77bd6c8a-d0c1-4fea-8705-0169f65d0c0e" providerId="ADAL" clId="{AAD21C1A-B60A-45A7-B910-2A57ADCFD1EA}" dt="2025-10-15T13:46:39.412" v="36" actId="339"/>
        <pc:sldMkLst>
          <pc:docMk/>
          <pc:sldMk cId="717567624" sldId="2147471726"/>
        </pc:sldMkLst>
        <pc:graphicFrameChg chg="mod">
          <ac:chgData name="John Paserba" userId="77bd6c8a-d0c1-4fea-8705-0169f65d0c0e" providerId="ADAL" clId="{AAD21C1A-B60A-45A7-B910-2A57ADCFD1EA}" dt="2025-10-15T13:46:39.412" v="36" actId="339"/>
          <ac:graphicFrameMkLst>
            <pc:docMk/>
            <pc:sldMk cId="717567624" sldId="2147471726"/>
            <ac:graphicFrameMk id="2" creationId="{00000000-0000-0000-0000-000000000000}"/>
          </ac:graphicFrameMkLst>
        </pc:graphicFrameChg>
      </pc:sldChg>
      <pc:sldChg chg="modSp mod">
        <pc:chgData name="John Paserba" userId="77bd6c8a-d0c1-4fea-8705-0169f65d0c0e" providerId="ADAL" clId="{AAD21C1A-B60A-45A7-B910-2A57ADCFD1EA}" dt="2025-10-15T16:14:59.831" v="592" actId="1076"/>
        <pc:sldMkLst>
          <pc:docMk/>
          <pc:sldMk cId="1154339187" sldId="2147471728"/>
        </pc:sldMkLst>
        <pc:picChg chg="mod modCrop">
          <ac:chgData name="John Paserba" userId="77bd6c8a-d0c1-4fea-8705-0169f65d0c0e" providerId="ADAL" clId="{AAD21C1A-B60A-45A7-B910-2A57ADCFD1EA}" dt="2025-10-15T16:14:59.831" v="592" actId="1076"/>
          <ac:picMkLst>
            <pc:docMk/>
            <pc:sldMk cId="1154339187" sldId="2147471728"/>
            <ac:picMk id="6" creationId="{860CB65A-AE72-49F4-9D04-E057BFADF006}"/>
          </ac:picMkLst>
        </pc:picChg>
      </pc:sldChg>
      <pc:sldChg chg="modSp del mod">
        <pc:chgData name="John Paserba" userId="77bd6c8a-d0c1-4fea-8705-0169f65d0c0e" providerId="ADAL" clId="{AAD21C1A-B60A-45A7-B910-2A57ADCFD1EA}" dt="2025-10-15T16:05:17.461" v="563" actId="47"/>
        <pc:sldMkLst>
          <pc:docMk/>
          <pc:sldMk cId="3241020159" sldId="2147471733"/>
        </pc:sldMkLst>
        <pc:spChg chg="mod">
          <ac:chgData name="John Paserba" userId="77bd6c8a-d0c1-4fea-8705-0169f65d0c0e" providerId="ADAL" clId="{AAD21C1A-B60A-45A7-B910-2A57ADCFD1EA}" dt="2025-10-15T14:39:28.675" v="226" actId="207"/>
          <ac:spMkLst>
            <pc:docMk/>
            <pc:sldMk cId="3241020159" sldId="2147471733"/>
            <ac:spMk id="3" creationId="{D30A53C3-FA98-2C68-7926-30EE45974960}"/>
          </ac:spMkLst>
        </pc:spChg>
      </pc:sldChg>
      <pc:sldChg chg="del">
        <pc:chgData name="John Paserba" userId="77bd6c8a-d0c1-4fea-8705-0169f65d0c0e" providerId="ADAL" clId="{AAD21C1A-B60A-45A7-B910-2A57ADCFD1EA}" dt="2025-10-15T16:05:28.746" v="564" actId="47"/>
        <pc:sldMkLst>
          <pc:docMk/>
          <pc:sldMk cId="1076467741" sldId="2147471763"/>
        </pc:sldMkLst>
      </pc:sldChg>
      <pc:sldChg chg="modSp mod">
        <pc:chgData name="John Paserba" userId="77bd6c8a-d0c1-4fea-8705-0169f65d0c0e" providerId="ADAL" clId="{AAD21C1A-B60A-45A7-B910-2A57ADCFD1EA}" dt="2025-10-15T14:37:29.114" v="211" actId="948"/>
        <pc:sldMkLst>
          <pc:docMk/>
          <pc:sldMk cId="4230604041" sldId="2147471778"/>
        </pc:sldMkLst>
        <pc:spChg chg="mod">
          <ac:chgData name="John Paserba" userId="77bd6c8a-d0c1-4fea-8705-0169f65d0c0e" providerId="ADAL" clId="{AAD21C1A-B60A-45A7-B910-2A57ADCFD1EA}" dt="2025-10-15T14:37:29.114" v="211" actId="948"/>
          <ac:spMkLst>
            <pc:docMk/>
            <pc:sldMk cId="4230604041" sldId="2147471778"/>
            <ac:spMk id="9" creationId="{E026AFFD-2F30-6D3F-5111-EF920183E4FE}"/>
          </ac:spMkLst>
        </pc:spChg>
      </pc:sldChg>
      <pc:sldChg chg="addSp delSp modSp mod">
        <pc:chgData name="John Paserba" userId="77bd6c8a-d0c1-4fea-8705-0169f65d0c0e" providerId="ADAL" clId="{AAD21C1A-B60A-45A7-B910-2A57ADCFD1EA}" dt="2025-10-15T16:06:03.930" v="572" actId="14100"/>
        <pc:sldMkLst>
          <pc:docMk/>
          <pc:sldMk cId="1858141502" sldId="2147471781"/>
        </pc:sldMkLst>
        <pc:picChg chg="add mod">
          <ac:chgData name="John Paserba" userId="77bd6c8a-d0c1-4fea-8705-0169f65d0c0e" providerId="ADAL" clId="{AAD21C1A-B60A-45A7-B910-2A57ADCFD1EA}" dt="2025-10-15T16:06:03.930" v="572" actId="14100"/>
          <ac:picMkLst>
            <pc:docMk/>
            <pc:sldMk cId="1858141502" sldId="2147471781"/>
            <ac:picMk id="2" creationId="{D068D3EE-D6C8-43E3-AEE3-F28E1018CA36}"/>
          </ac:picMkLst>
        </pc:picChg>
        <pc:picChg chg="del">
          <ac:chgData name="John Paserba" userId="77bd6c8a-d0c1-4fea-8705-0169f65d0c0e" providerId="ADAL" clId="{AAD21C1A-B60A-45A7-B910-2A57ADCFD1EA}" dt="2025-10-15T13:31:57.703" v="0" actId="478"/>
          <ac:picMkLst>
            <pc:docMk/>
            <pc:sldMk cId="1858141502" sldId="2147471781"/>
            <ac:picMk id="3" creationId="{A8BB1AA7-D8BB-42D4-AE1B-2E1915A206DC}"/>
          </ac:picMkLst>
        </pc:picChg>
      </pc:sldChg>
      <pc:sldChg chg="modSp mod">
        <pc:chgData name="John Paserba" userId="77bd6c8a-d0c1-4fea-8705-0169f65d0c0e" providerId="ADAL" clId="{AAD21C1A-B60A-45A7-B910-2A57ADCFD1EA}" dt="2025-10-15T16:13:38.501" v="575" actId="948"/>
        <pc:sldMkLst>
          <pc:docMk/>
          <pc:sldMk cId="2920915659" sldId="2147471786"/>
        </pc:sldMkLst>
        <pc:spChg chg="mod">
          <ac:chgData name="John Paserba" userId="77bd6c8a-d0c1-4fea-8705-0169f65d0c0e" providerId="ADAL" clId="{AAD21C1A-B60A-45A7-B910-2A57ADCFD1EA}" dt="2025-10-15T16:13:38.501" v="575" actId="948"/>
          <ac:spMkLst>
            <pc:docMk/>
            <pc:sldMk cId="2920915659" sldId="2147471786"/>
            <ac:spMk id="3" creationId="{E6993746-A424-4F09-867F-B919F4E18ECB}"/>
          </ac:spMkLst>
        </pc:spChg>
      </pc:sldChg>
      <pc:sldChg chg="modSp mod">
        <pc:chgData name="John Paserba" userId="77bd6c8a-d0c1-4fea-8705-0169f65d0c0e" providerId="ADAL" clId="{AAD21C1A-B60A-45A7-B910-2A57ADCFD1EA}" dt="2025-10-15T16:12:50.441" v="573" actId="948"/>
        <pc:sldMkLst>
          <pc:docMk/>
          <pc:sldMk cId="813813943" sldId="2147471798"/>
        </pc:sldMkLst>
        <pc:spChg chg="mod">
          <ac:chgData name="John Paserba" userId="77bd6c8a-d0c1-4fea-8705-0169f65d0c0e" providerId="ADAL" clId="{AAD21C1A-B60A-45A7-B910-2A57ADCFD1EA}" dt="2025-10-15T16:12:50.441" v="573" actId="948"/>
          <ac:spMkLst>
            <pc:docMk/>
            <pc:sldMk cId="813813943" sldId="2147471798"/>
            <ac:spMk id="3" creationId="{E6993746-A424-4F09-867F-B919F4E18ECB}"/>
          </ac:spMkLst>
        </pc:spChg>
      </pc:sldChg>
      <pc:sldChg chg="del">
        <pc:chgData name="John Paserba" userId="77bd6c8a-d0c1-4fea-8705-0169f65d0c0e" providerId="ADAL" clId="{AAD21C1A-B60A-45A7-B910-2A57ADCFD1EA}" dt="2025-10-15T16:05:29.415" v="565" actId="47"/>
        <pc:sldMkLst>
          <pc:docMk/>
          <pc:sldMk cId="935460224" sldId="2147471801"/>
        </pc:sldMkLst>
      </pc:sldChg>
      <pc:sldChg chg="modSp mod">
        <pc:chgData name="John Paserba" userId="77bd6c8a-d0c1-4fea-8705-0169f65d0c0e" providerId="ADAL" clId="{AAD21C1A-B60A-45A7-B910-2A57ADCFD1EA}" dt="2025-10-15T16:13:27.257" v="574" actId="948"/>
        <pc:sldMkLst>
          <pc:docMk/>
          <pc:sldMk cId="2611446155" sldId="2147471816"/>
        </pc:sldMkLst>
        <pc:spChg chg="mod">
          <ac:chgData name="John Paserba" userId="77bd6c8a-d0c1-4fea-8705-0169f65d0c0e" providerId="ADAL" clId="{AAD21C1A-B60A-45A7-B910-2A57ADCFD1EA}" dt="2025-10-15T16:13:27.257" v="574" actId="948"/>
          <ac:spMkLst>
            <pc:docMk/>
            <pc:sldMk cId="2611446155" sldId="2147471816"/>
            <ac:spMk id="3" creationId="{E6993746-A424-4F09-867F-B919F4E18ECB}"/>
          </ac:spMkLst>
        </pc:spChg>
      </pc:sldChg>
      <pc:sldChg chg="addSp modSp mod">
        <pc:chgData name="John Paserba" userId="77bd6c8a-d0c1-4fea-8705-0169f65d0c0e" providerId="ADAL" clId="{AAD21C1A-B60A-45A7-B910-2A57ADCFD1EA}" dt="2025-10-15T13:44:19.774" v="22" actId="20577"/>
        <pc:sldMkLst>
          <pc:docMk/>
          <pc:sldMk cId="4015630486" sldId="2147471840"/>
        </pc:sldMkLst>
        <pc:spChg chg="add mod">
          <ac:chgData name="John Paserba" userId="77bd6c8a-d0c1-4fea-8705-0169f65d0c0e" providerId="ADAL" clId="{AAD21C1A-B60A-45A7-B910-2A57ADCFD1EA}" dt="2025-10-15T13:44:19.774" v="22" actId="20577"/>
          <ac:spMkLst>
            <pc:docMk/>
            <pc:sldMk cId="4015630486" sldId="2147471840"/>
            <ac:spMk id="27" creationId="{1ECDD52E-95CD-4AA5-8760-D89F6D8B016B}"/>
          </ac:spMkLst>
        </pc:spChg>
        <pc:spChg chg="mod">
          <ac:chgData name="John Paserba" userId="77bd6c8a-d0c1-4fea-8705-0169f65d0c0e" providerId="ADAL" clId="{AAD21C1A-B60A-45A7-B910-2A57ADCFD1EA}" dt="2025-10-15T13:40:12.621" v="12" actId="20577"/>
          <ac:spMkLst>
            <pc:docMk/>
            <pc:sldMk cId="4015630486" sldId="2147471840"/>
            <ac:spMk id="28" creationId="{A7F2B84C-531A-4A84-87EA-D1D6C5F74EC8}"/>
          </ac:spMkLst>
        </pc:spChg>
      </pc:sldChg>
      <pc:sldChg chg="modSp mod">
        <pc:chgData name="John Paserba" userId="77bd6c8a-d0c1-4fea-8705-0169f65d0c0e" providerId="ADAL" clId="{AAD21C1A-B60A-45A7-B910-2A57ADCFD1EA}" dt="2025-10-15T16:20:13.123" v="681" actId="20577"/>
        <pc:sldMkLst>
          <pc:docMk/>
          <pc:sldMk cId="3887683762" sldId="2147471842"/>
        </pc:sldMkLst>
        <pc:spChg chg="mod">
          <ac:chgData name="John Paserba" userId="77bd6c8a-d0c1-4fea-8705-0169f65d0c0e" providerId="ADAL" clId="{AAD21C1A-B60A-45A7-B910-2A57ADCFD1EA}" dt="2025-10-15T16:20:13.123" v="681" actId="20577"/>
          <ac:spMkLst>
            <pc:docMk/>
            <pc:sldMk cId="3887683762" sldId="2147471842"/>
            <ac:spMk id="13" creationId="{E04F9E07-578D-4AFB-873E-82B17B555C1E}"/>
          </ac:spMkLst>
        </pc:spChg>
      </pc:sldChg>
      <pc:sldChg chg="modSp mod">
        <pc:chgData name="John Paserba" userId="77bd6c8a-d0c1-4fea-8705-0169f65d0c0e" providerId="ADAL" clId="{AAD21C1A-B60A-45A7-B910-2A57ADCFD1EA}" dt="2025-10-15T15:23:05.246" v="559" actId="6549"/>
        <pc:sldMkLst>
          <pc:docMk/>
          <pc:sldMk cId="1797580026" sldId="2147471846"/>
        </pc:sldMkLst>
        <pc:spChg chg="mod">
          <ac:chgData name="John Paserba" userId="77bd6c8a-d0c1-4fea-8705-0169f65d0c0e" providerId="ADAL" clId="{AAD21C1A-B60A-45A7-B910-2A57ADCFD1EA}" dt="2025-10-15T15:23:05.246" v="559" actId="6549"/>
          <ac:spMkLst>
            <pc:docMk/>
            <pc:sldMk cId="1797580026" sldId="2147471846"/>
            <ac:spMk id="21" creationId="{AE762D9E-9375-48FB-9027-C352FEDE0E4C}"/>
          </ac:spMkLst>
        </pc:spChg>
      </pc:sldChg>
      <pc:sldChg chg="del">
        <pc:chgData name="John Paserba" userId="77bd6c8a-d0c1-4fea-8705-0169f65d0c0e" providerId="ADAL" clId="{AAD21C1A-B60A-45A7-B910-2A57ADCFD1EA}" dt="2025-10-15T16:05:32.051" v="567" actId="47"/>
        <pc:sldMkLst>
          <pc:docMk/>
          <pc:sldMk cId="3548863867" sldId="2147471847"/>
        </pc:sldMkLst>
      </pc:sldChg>
      <pc:sldChg chg="addSp modSp mod">
        <pc:chgData name="John Paserba" userId="77bd6c8a-d0c1-4fea-8705-0169f65d0c0e" providerId="ADAL" clId="{AAD21C1A-B60A-45A7-B910-2A57ADCFD1EA}" dt="2025-10-15T16:22:53.770" v="761" actId="20577"/>
        <pc:sldMkLst>
          <pc:docMk/>
          <pc:sldMk cId="89947543" sldId="2147471860"/>
        </pc:sldMkLst>
        <pc:graphicFrameChg chg="add mod modGraphic">
          <ac:chgData name="John Paserba" userId="77bd6c8a-d0c1-4fea-8705-0169f65d0c0e" providerId="ADAL" clId="{AAD21C1A-B60A-45A7-B910-2A57ADCFD1EA}" dt="2025-10-15T16:22:53.770" v="761" actId="20577"/>
          <ac:graphicFrameMkLst>
            <pc:docMk/>
            <pc:sldMk cId="89947543" sldId="2147471860"/>
            <ac:graphicFrameMk id="23" creationId="{14438648-FE77-42C3-ABE1-D8827044014A}"/>
          </ac:graphicFrameMkLst>
        </pc:graphicFrameChg>
        <pc:graphicFrameChg chg="mod">
          <ac:chgData name="John Paserba" userId="77bd6c8a-d0c1-4fea-8705-0169f65d0c0e" providerId="ADAL" clId="{AAD21C1A-B60A-45A7-B910-2A57ADCFD1EA}" dt="2025-10-15T16:21:22.107" v="710" actId="1035"/>
          <ac:graphicFrameMkLst>
            <pc:docMk/>
            <pc:sldMk cId="89947543" sldId="2147471860"/>
            <ac:graphicFrameMk id="35" creationId="{21090FF1-6B5A-410A-8157-96AD9D88C915}"/>
          </ac:graphicFrameMkLst>
        </pc:graphicFrameChg>
        <pc:graphicFrameChg chg="mod">
          <ac:chgData name="John Paserba" userId="77bd6c8a-d0c1-4fea-8705-0169f65d0c0e" providerId="ADAL" clId="{AAD21C1A-B60A-45A7-B910-2A57ADCFD1EA}" dt="2025-10-15T14:19:05.080" v="63" actId="1076"/>
          <ac:graphicFrameMkLst>
            <pc:docMk/>
            <pc:sldMk cId="89947543" sldId="2147471860"/>
            <ac:graphicFrameMk id="36" creationId="{63247408-00BE-4E18-BDB6-218B40C2D031}"/>
          </ac:graphicFrameMkLst>
        </pc:graphicFrameChg>
        <pc:picChg chg="mod">
          <ac:chgData name="John Paserba" userId="77bd6c8a-d0c1-4fea-8705-0169f65d0c0e" providerId="ADAL" clId="{AAD21C1A-B60A-45A7-B910-2A57ADCFD1EA}" dt="2025-10-15T16:21:32.925" v="739" actId="1036"/>
          <ac:picMkLst>
            <pc:docMk/>
            <pc:sldMk cId="89947543" sldId="2147471860"/>
            <ac:picMk id="19" creationId="{08431DEA-F45E-9099-7EF1-B13CBCF1FC08}"/>
          </ac:picMkLst>
        </pc:picChg>
        <pc:picChg chg="mod">
          <ac:chgData name="John Paserba" userId="77bd6c8a-d0c1-4fea-8705-0169f65d0c0e" providerId="ADAL" clId="{AAD21C1A-B60A-45A7-B910-2A57ADCFD1EA}" dt="2025-10-15T14:19:17.698" v="66" actId="1076"/>
          <ac:picMkLst>
            <pc:docMk/>
            <pc:sldMk cId="89947543" sldId="2147471860"/>
            <ac:picMk id="21" creationId="{E6A4BCFB-A4C3-B6D3-4E6B-25A6AC959379}"/>
          </ac:picMkLst>
        </pc:picChg>
        <pc:picChg chg="mod">
          <ac:chgData name="John Paserba" userId="77bd6c8a-d0c1-4fea-8705-0169f65d0c0e" providerId="ADAL" clId="{AAD21C1A-B60A-45A7-B910-2A57ADCFD1EA}" dt="2025-10-15T16:21:32.925" v="739" actId="1036"/>
          <ac:picMkLst>
            <pc:docMk/>
            <pc:sldMk cId="89947543" sldId="2147471860"/>
            <ac:picMk id="63" creationId="{83347080-90B6-15DB-00C6-6A61EE7B5208}"/>
          </ac:picMkLst>
        </pc:picChg>
        <pc:picChg chg="mod">
          <ac:chgData name="John Paserba" userId="77bd6c8a-d0c1-4fea-8705-0169f65d0c0e" providerId="ADAL" clId="{AAD21C1A-B60A-45A7-B910-2A57ADCFD1EA}" dt="2025-10-15T16:21:32.925" v="739" actId="1036"/>
          <ac:picMkLst>
            <pc:docMk/>
            <pc:sldMk cId="89947543" sldId="2147471860"/>
            <ac:picMk id="65" creationId="{07774434-4445-E1D6-C5E5-7FF388FEA574}"/>
          </ac:picMkLst>
        </pc:picChg>
      </pc:sldChg>
      <pc:sldChg chg="modSp mod">
        <pc:chgData name="John Paserba" userId="77bd6c8a-d0c1-4fea-8705-0169f65d0c0e" providerId="ADAL" clId="{AAD21C1A-B60A-45A7-B910-2A57ADCFD1EA}" dt="2025-10-15T14:32:31.812" v="151" actId="20577"/>
        <pc:sldMkLst>
          <pc:docMk/>
          <pc:sldMk cId="358134025" sldId="2147471862"/>
        </pc:sldMkLst>
        <pc:spChg chg="mod">
          <ac:chgData name="John Paserba" userId="77bd6c8a-d0c1-4fea-8705-0169f65d0c0e" providerId="ADAL" clId="{AAD21C1A-B60A-45A7-B910-2A57ADCFD1EA}" dt="2025-10-15T14:32:31.812" v="151" actId="20577"/>
          <ac:spMkLst>
            <pc:docMk/>
            <pc:sldMk cId="358134025" sldId="2147471862"/>
            <ac:spMk id="9" creationId="{A1E709B9-3A7F-E4CF-9688-774FE809C069}"/>
          </ac:spMkLst>
        </pc:spChg>
      </pc:sldChg>
      <pc:sldChg chg="del">
        <pc:chgData name="John Paserba" userId="77bd6c8a-d0c1-4fea-8705-0169f65d0c0e" providerId="ADAL" clId="{AAD21C1A-B60A-45A7-B910-2A57ADCFD1EA}" dt="2025-10-15T16:05:30.510" v="566" actId="47"/>
        <pc:sldMkLst>
          <pc:docMk/>
          <pc:sldMk cId="2263700866" sldId="2147471866"/>
        </pc:sldMkLst>
      </pc:sldChg>
      <pc:sldChg chg="modSp mod">
        <pc:chgData name="John Paserba" userId="77bd6c8a-d0c1-4fea-8705-0169f65d0c0e" providerId="ADAL" clId="{AAD21C1A-B60A-45A7-B910-2A57ADCFD1EA}" dt="2025-10-15T16:13:44.104" v="576" actId="948"/>
        <pc:sldMkLst>
          <pc:docMk/>
          <pc:sldMk cId="3592873902" sldId="2147471872"/>
        </pc:sldMkLst>
        <pc:spChg chg="mod">
          <ac:chgData name="John Paserba" userId="77bd6c8a-d0c1-4fea-8705-0169f65d0c0e" providerId="ADAL" clId="{AAD21C1A-B60A-45A7-B910-2A57ADCFD1EA}" dt="2025-10-15T16:13:44.104" v="576" actId="948"/>
          <ac:spMkLst>
            <pc:docMk/>
            <pc:sldMk cId="3592873902" sldId="2147471872"/>
            <ac:spMk id="3" creationId="{E6993746-A424-4F09-867F-B919F4E18ECB}"/>
          </ac:spMkLst>
        </pc:spChg>
      </pc:sldChg>
      <pc:sldChg chg="modSp mod">
        <pc:chgData name="John Paserba" userId="77bd6c8a-d0c1-4fea-8705-0169f65d0c0e" providerId="ADAL" clId="{AAD21C1A-B60A-45A7-B910-2A57ADCFD1EA}" dt="2025-10-15T15:19:06.981" v="546" actId="6549"/>
        <pc:sldMkLst>
          <pc:docMk/>
          <pc:sldMk cId="1629667996" sldId="2147471885"/>
        </pc:sldMkLst>
        <pc:spChg chg="mod">
          <ac:chgData name="John Paserba" userId="77bd6c8a-d0c1-4fea-8705-0169f65d0c0e" providerId="ADAL" clId="{AAD21C1A-B60A-45A7-B910-2A57ADCFD1EA}" dt="2025-10-15T15:19:06.981" v="546" actId="6549"/>
          <ac:spMkLst>
            <pc:docMk/>
            <pc:sldMk cId="1629667996" sldId="2147471885"/>
            <ac:spMk id="23" creationId="{A50ED7DC-BB8D-4DF5-B0DB-B4962591C9D4}"/>
          </ac:spMkLst>
        </pc:spChg>
      </pc:sldChg>
      <pc:sldChg chg="modSp mod ord">
        <pc:chgData name="John Paserba" userId="77bd6c8a-d0c1-4fea-8705-0169f65d0c0e" providerId="ADAL" clId="{AAD21C1A-B60A-45A7-B910-2A57ADCFD1EA}" dt="2025-10-15T16:15:20.033" v="593" actId="255"/>
        <pc:sldMkLst>
          <pc:docMk/>
          <pc:sldMk cId="309881359" sldId="2147471889"/>
        </pc:sldMkLst>
        <pc:spChg chg="mod">
          <ac:chgData name="John Paserba" userId="77bd6c8a-d0c1-4fea-8705-0169f65d0c0e" providerId="ADAL" clId="{AAD21C1A-B60A-45A7-B910-2A57ADCFD1EA}" dt="2025-10-15T16:15:20.033" v="593" actId="255"/>
          <ac:spMkLst>
            <pc:docMk/>
            <pc:sldMk cId="309881359" sldId="2147471889"/>
            <ac:spMk id="3" creationId="{E6993746-A424-4F09-867F-B919F4E18ECB}"/>
          </ac:spMkLst>
        </pc:spChg>
      </pc:sldChg>
      <pc:sldChg chg="modSp mod">
        <pc:chgData name="John Paserba" userId="77bd6c8a-d0c1-4fea-8705-0169f65d0c0e" providerId="ADAL" clId="{AAD21C1A-B60A-45A7-B910-2A57ADCFD1EA}" dt="2025-10-15T16:16:02.304" v="620" actId="1037"/>
        <pc:sldMkLst>
          <pc:docMk/>
          <pc:sldMk cId="3638231405" sldId="2147471890"/>
        </pc:sldMkLst>
        <pc:spChg chg="mod">
          <ac:chgData name="John Paserba" userId="77bd6c8a-d0c1-4fea-8705-0169f65d0c0e" providerId="ADAL" clId="{AAD21C1A-B60A-45A7-B910-2A57ADCFD1EA}" dt="2025-10-15T16:16:02.304" v="620" actId="1037"/>
          <ac:spMkLst>
            <pc:docMk/>
            <pc:sldMk cId="3638231405" sldId="2147471890"/>
            <ac:spMk id="2" creationId="{C3EBFEE7-85C0-1766-2514-225A25D053AC}"/>
          </ac:spMkLst>
        </pc:spChg>
      </pc:sldChg>
      <pc:sldChg chg="modSp mod">
        <pc:chgData name="John Paserba" userId="77bd6c8a-d0c1-4fea-8705-0169f65d0c0e" providerId="ADAL" clId="{AAD21C1A-B60A-45A7-B910-2A57ADCFD1EA}" dt="2025-10-15T16:16:11.277" v="629" actId="1036"/>
        <pc:sldMkLst>
          <pc:docMk/>
          <pc:sldMk cId="1892916691" sldId="2147471891"/>
        </pc:sldMkLst>
        <pc:spChg chg="mod">
          <ac:chgData name="John Paserba" userId="77bd6c8a-d0c1-4fea-8705-0169f65d0c0e" providerId="ADAL" clId="{AAD21C1A-B60A-45A7-B910-2A57ADCFD1EA}" dt="2025-10-15T16:16:11.277" v="629" actId="1036"/>
          <ac:spMkLst>
            <pc:docMk/>
            <pc:sldMk cId="1892916691" sldId="2147471891"/>
            <ac:spMk id="2" creationId="{AC67653F-923F-66DA-1F1B-01D0FC291E79}"/>
          </ac:spMkLst>
        </pc:spChg>
      </pc:sldChg>
      <pc:sldChg chg="add">
        <pc:chgData name="John Paserba" userId="77bd6c8a-d0c1-4fea-8705-0169f65d0c0e" providerId="ADAL" clId="{AAD21C1A-B60A-45A7-B910-2A57ADCFD1EA}" dt="2025-10-15T16:05:09.765" v="562"/>
        <pc:sldMkLst>
          <pc:docMk/>
          <pc:sldMk cId="2597960199" sldId="2147471892"/>
        </pc:sldMkLst>
      </pc:sldChg>
      <pc:sldChg chg="modSp del mod">
        <pc:chgData name="John Paserba" userId="77bd6c8a-d0c1-4fea-8705-0169f65d0c0e" providerId="ADAL" clId="{AAD21C1A-B60A-45A7-B910-2A57ADCFD1EA}" dt="2025-10-15T16:24:03.395" v="762" actId="47"/>
        <pc:sldMkLst>
          <pc:docMk/>
          <pc:sldMk cId="3230231146" sldId="2147471893"/>
        </pc:sldMkLst>
        <pc:spChg chg="mod">
          <ac:chgData name="John Paserba" userId="77bd6c8a-d0c1-4fea-8705-0169f65d0c0e" providerId="ADAL" clId="{AAD21C1A-B60A-45A7-B910-2A57ADCFD1EA}" dt="2025-10-15T16:17:08.332" v="677" actId="20577"/>
          <ac:spMkLst>
            <pc:docMk/>
            <pc:sldMk cId="3230231146" sldId="2147471893"/>
            <ac:spMk id="9" creationId="{A403911F-E33B-4F6F-933A-99D0A2535E13}"/>
          </ac:spMkLst>
        </pc:spChg>
        <pc:spChg chg="mod">
          <ac:chgData name="John Paserba" userId="77bd6c8a-d0c1-4fea-8705-0169f65d0c0e" providerId="ADAL" clId="{AAD21C1A-B60A-45A7-B910-2A57ADCFD1EA}" dt="2025-10-15T16:16:46.940" v="632" actId="20577"/>
          <ac:spMkLst>
            <pc:docMk/>
            <pc:sldMk cId="3230231146" sldId="2147471893"/>
            <ac:spMk id="3328002" creationId="{00000000-0000-0000-0000-000000000000}"/>
          </ac:spMkLst>
        </pc:spChg>
      </pc:sldChg>
      <pc:sldChg chg="modSp mod">
        <pc:chgData name="John Paserba" userId="77bd6c8a-d0c1-4fea-8705-0169f65d0c0e" providerId="ADAL" clId="{AAD21C1A-B60A-45A7-B910-2A57ADCFD1EA}" dt="2025-10-15T16:53:50.660" v="779" actId="1076"/>
        <pc:sldMkLst>
          <pc:docMk/>
          <pc:sldMk cId="1560344356" sldId="2147471895"/>
        </pc:sldMkLst>
        <pc:spChg chg="mod">
          <ac:chgData name="John Paserba" userId="77bd6c8a-d0c1-4fea-8705-0169f65d0c0e" providerId="ADAL" clId="{AAD21C1A-B60A-45A7-B910-2A57ADCFD1EA}" dt="2025-10-15T16:53:50.660" v="779" actId="1076"/>
          <ac:spMkLst>
            <pc:docMk/>
            <pc:sldMk cId="1560344356" sldId="2147471895"/>
            <ac:spMk id="13" creationId="{B6D29F8F-2A2D-4646-9AD1-832B28EDE402}"/>
          </ac:spMkLst>
        </pc:spChg>
      </pc:sldChg>
      <pc:sldChg chg="modSp mod">
        <pc:chgData name="John Paserba" userId="77bd6c8a-d0c1-4fea-8705-0169f65d0c0e" providerId="ADAL" clId="{AAD21C1A-B60A-45A7-B910-2A57ADCFD1EA}" dt="2025-10-15T16:54:08.981" v="782" actId="207"/>
        <pc:sldMkLst>
          <pc:docMk/>
          <pc:sldMk cId="301925639" sldId="2147471896"/>
        </pc:sldMkLst>
        <pc:spChg chg="mod">
          <ac:chgData name="John Paserba" userId="77bd6c8a-d0c1-4fea-8705-0169f65d0c0e" providerId="ADAL" clId="{AAD21C1A-B60A-45A7-B910-2A57ADCFD1EA}" dt="2025-10-15T16:54:08.981" v="782" actId="207"/>
          <ac:spMkLst>
            <pc:docMk/>
            <pc:sldMk cId="301925639" sldId="2147471896"/>
            <ac:spMk id="3" creationId="{E6993746-A424-4F09-867F-B919F4E18ECB}"/>
          </ac:spMkLst>
        </pc:spChg>
      </pc:sldChg>
      <pc:sldChg chg="modSp mod">
        <pc:chgData name="John Paserba" userId="77bd6c8a-d0c1-4fea-8705-0169f65d0c0e" providerId="ADAL" clId="{AAD21C1A-B60A-45A7-B910-2A57ADCFD1EA}" dt="2025-10-15T16:58:25.113" v="802" actId="207"/>
        <pc:sldMkLst>
          <pc:docMk/>
          <pc:sldMk cId="2751759747" sldId="2147471905"/>
        </pc:sldMkLst>
        <pc:spChg chg="mod">
          <ac:chgData name="John Paserba" userId="77bd6c8a-d0c1-4fea-8705-0169f65d0c0e" providerId="ADAL" clId="{AAD21C1A-B60A-45A7-B910-2A57ADCFD1EA}" dt="2025-10-15T16:58:25.113" v="802" actId="207"/>
          <ac:spMkLst>
            <pc:docMk/>
            <pc:sldMk cId="2751759747" sldId="2147471905"/>
            <ac:spMk id="8" creationId="{7CEFAEA8-4B7B-42D1-B1C5-741E9A980190}"/>
          </ac:spMkLst>
        </pc:spChg>
      </pc:sldChg>
      <pc:sldMasterChg chg="del delSldLayout">
        <pc:chgData name="John Paserba" userId="77bd6c8a-d0c1-4fea-8705-0169f65d0c0e" providerId="ADAL" clId="{AAD21C1A-B60A-45A7-B910-2A57ADCFD1EA}" dt="2025-10-15T16:05:32.051" v="567" actId="47"/>
        <pc:sldMasterMkLst>
          <pc:docMk/>
          <pc:sldMasterMk cId="250447788" sldId="2147483796"/>
        </pc:sldMasterMkLst>
        <pc:sldLayoutChg chg="del">
          <pc:chgData name="John Paserba" userId="77bd6c8a-d0c1-4fea-8705-0169f65d0c0e" providerId="ADAL" clId="{AAD21C1A-B60A-45A7-B910-2A57ADCFD1EA}" dt="2025-10-15T16:05:32.051" v="567" actId="47"/>
          <pc:sldLayoutMkLst>
            <pc:docMk/>
            <pc:sldMasterMk cId="250447788" sldId="2147483796"/>
            <pc:sldLayoutMk cId="1885773421" sldId="2147483797"/>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659100156" sldId="2147483798"/>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909605111" sldId="2147483799"/>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1588043177" sldId="2147483800"/>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3195114452" sldId="2147483801"/>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2334941933" sldId="2147483802"/>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1591305" sldId="2147483803"/>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1956492731" sldId="2147483804"/>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2109817808" sldId="2147483805"/>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577285040" sldId="2147483806"/>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251710247" sldId="2147483807"/>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2289106510" sldId="2147483808"/>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2229960655" sldId="2147483809"/>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2556476704" sldId="2147483810"/>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56187750" sldId="2147483811"/>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1858461804" sldId="2147483812"/>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2386753526" sldId="2147483813"/>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1122997468" sldId="2147483814"/>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1882327454" sldId="2147483815"/>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2868248823" sldId="2147483816"/>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892321350" sldId="2147483817"/>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2551373785" sldId="2147483818"/>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3995163590" sldId="2147483819"/>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3239061292" sldId="2147483820"/>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3366494774" sldId="2147483821"/>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3651608320" sldId="2147483822"/>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2329352004" sldId="2147483823"/>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2195038305" sldId="2147483824"/>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1064981354" sldId="2147483825"/>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1633698571" sldId="2147483826"/>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1230156630" sldId="2147483827"/>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1583855037" sldId="2147483828"/>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3725296805" sldId="2147483829"/>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3202578049" sldId="2147483830"/>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55784744" sldId="2147483831"/>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257971611" sldId="2147483832"/>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4179107074" sldId="2147483833"/>
          </pc:sldLayoutMkLst>
        </pc:sldLayoutChg>
        <pc:sldLayoutChg chg="del">
          <pc:chgData name="John Paserba" userId="77bd6c8a-d0c1-4fea-8705-0169f65d0c0e" providerId="ADAL" clId="{AAD21C1A-B60A-45A7-B910-2A57ADCFD1EA}" dt="2025-10-15T16:05:32.051" v="567" actId="47"/>
          <pc:sldLayoutMkLst>
            <pc:docMk/>
            <pc:sldMasterMk cId="250447788" sldId="2147483796"/>
            <pc:sldLayoutMk cId="2110534859" sldId="2147483834"/>
          </pc:sldLayoutMkLst>
        </pc:sldLayoutChg>
      </pc:sldMasterChg>
    </pc:docChg>
  </pc:docChgLst>
  <pc:docChgLst>
    <pc:chgData name="John Paserba" userId="77bd6c8a-d0c1-4fea-8705-0169f65d0c0e" providerId="ADAL" clId="{BAE7351E-56DE-4880-9E2C-13F93354ED58}"/>
    <pc:docChg chg="modSld">
      <pc:chgData name="John Paserba" userId="77bd6c8a-d0c1-4fea-8705-0169f65d0c0e" providerId="ADAL" clId="{BAE7351E-56DE-4880-9E2C-13F93354ED58}" dt="2025-07-22T18:24:54.232" v="51" actId="20577"/>
      <pc:docMkLst>
        <pc:docMk/>
      </pc:docMkLst>
      <pc:sldChg chg="addSp modSp mod">
        <pc:chgData name="John Paserba" userId="77bd6c8a-d0c1-4fea-8705-0169f65d0c0e" providerId="ADAL" clId="{BAE7351E-56DE-4880-9E2C-13F93354ED58}" dt="2025-07-22T18:24:54.232" v="51" actId="20577"/>
        <pc:sldMkLst>
          <pc:docMk/>
          <pc:sldMk cId="1394849283" sldId="2147471580"/>
        </pc:sldMkLst>
        <pc:spChg chg="add mod">
          <ac:chgData name="John Paserba" userId="77bd6c8a-d0c1-4fea-8705-0169f65d0c0e" providerId="ADAL" clId="{BAE7351E-56DE-4880-9E2C-13F93354ED58}" dt="2025-07-22T18:24:54.232" v="51" actId="20577"/>
          <ac:spMkLst>
            <pc:docMk/>
            <pc:sldMk cId="1394849283" sldId="2147471580"/>
            <ac:spMk id="6" creationId="{4593777E-CE37-4177-8822-533AA3C8C519}"/>
          </ac:spMkLst>
        </pc:spChg>
      </pc:sldChg>
    </pc:docChg>
  </pc:docChgLst>
  <pc:docChgLst>
    <pc:chgData name="John Paserba" userId="77bd6c8a-d0c1-4fea-8705-0169f65d0c0e" providerId="ADAL" clId="{D93C05D9-2A5E-41E1-B223-45D233C5AA32}"/>
    <pc:docChg chg="undo custSel addSld delSld modSld delMainMaster">
      <pc:chgData name="John Paserba" userId="77bd6c8a-d0c1-4fea-8705-0169f65d0c0e" providerId="ADAL" clId="{D93C05D9-2A5E-41E1-B223-45D233C5AA32}" dt="2025-12-01T05:45:31.275" v="454" actId="20577"/>
      <pc:docMkLst>
        <pc:docMk/>
      </pc:docMkLst>
      <pc:sldChg chg="del">
        <pc:chgData name="John Paserba" userId="77bd6c8a-d0c1-4fea-8705-0169f65d0c0e" providerId="ADAL" clId="{D93C05D9-2A5E-41E1-B223-45D233C5AA32}" dt="2025-11-21T05:07:23.499" v="56" actId="47"/>
        <pc:sldMkLst>
          <pc:docMk/>
          <pc:sldMk cId="4008929667" sldId="691"/>
        </pc:sldMkLst>
      </pc:sldChg>
      <pc:sldChg chg="del">
        <pc:chgData name="John Paserba" userId="77bd6c8a-d0c1-4fea-8705-0169f65d0c0e" providerId="ADAL" clId="{D93C05D9-2A5E-41E1-B223-45D233C5AA32}" dt="2025-11-21T05:07:23.981" v="57" actId="47"/>
        <pc:sldMkLst>
          <pc:docMk/>
          <pc:sldMk cId="216267857" sldId="750"/>
        </pc:sldMkLst>
      </pc:sldChg>
      <pc:sldChg chg="modSp mod">
        <pc:chgData name="John Paserba" userId="77bd6c8a-d0c1-4fea-8705-0169f65d0c0e" providerId="ADAL" clId="{D93C05D9-2A5E-41E1-B223-45D233C5AA32}" dt="2025-12-01T05:25:32.743" v="147" actId="14100"/>
        <pc:sldMkLst>
          <pc:docMk/>
          <pc:sldMk cId="3260108025" sldId="2147471143"/>
        </pc:sldMkLst>
        <pc:spChg chg="mod">
          <ac:chgData name="John Paserba" userId="77bd6c8a-d0c1-4fea-8705-0169f65d0c0e" providerId="ADAL" clId="{D93C05D9-2A5E-41E1-B223-45D233C5AA32}" dt="2025-12-01T05:25:32.743" v="147" actId="14100"/>
          <ac:spMkLst>
            <pc:docMk/>
            <pc:sldMk cId="3260108025" sldId="2147471143"/>
            <ac:spMk id="12" creationId="{F45E667D-D9ED-4BE1-999E-2A4766484A8F}"/>
          </ac:spMkLst>
        </pc:spChg>
      </pc:sldChg>
      <pc:sldChg chg="del">
        <pc:chgData name="John Paserba" userId="77bd6c8a-d0c1-4fea-8705-0169f65d0c0e" providerId="ADAL" clId="{D93C05D9-2A5E-41E1-B223-45D233C5AA32}" dt="2025-11-21T05:07:24.454" v="58" actId="47"/>
        <pc:sldMkLst>
          <pc:docMk/>
          <pc:sldMk cId="1509309180" sldId="2147471499"/>
        </pc:sldMkLst>
      </pc:sldChg>
      <pc:sldChg chg="del">
        <pc:chgData name="John Paserba" userId="77bd6c8a-d0c1-4fea-8705-0169f65d0c0e" providerId="ADAL" clId="{D93C05D9-2A5E-41E1-B223-45D233C5AA32}" dt="2025-11-21T05:07:24.993" v="59" actId="47"/>
        <pc:sldMkLst>
          <pc:docMk/>
          <pc:sldMk cId="3911101945" sldId="2147471500"/>
        </pc:sldMkLst>
      </pc:sldChg>
      <pc:sldChg chg="del">
        <pc:chgData name="John Paserba" userId="77bd6c8a-d0c1-4fea-8705-0169f65d0c0e" providerId="ADAL" clId="{D93C05D9-2A5E-41E1-B223-45D233C5AA32}" dt="2025-11-21T05:07:25.498" v="60" actId="47"/>
        <pc:sldMkLst>
          <pc:docMk/>
          <pc:sldMk cId="3293842999" sldId="2147471502"/>
        </pc:sldMkLst>
      </pc:sldChg>
      <pc:sldChg chg="modSp mod">
        <pc:chgData name="John Paserba" userId="77bd6c8a-d0c1-4fea-8705-0169f65d0c0e" providerId="ADAL" clId="{D93C05D9-2A5E-41E1-B223-45D233C5AA32}" dt="2025-12-01T05:27:35.652" v="156" actId="2711"/>
        <pc:sldMkLst>
          <pc:docMk/>
          <pc:sldMk cId="1401808193" sldId="2147471766"/>
        </pc:sldMkLst>
        <pc:spChg chg="mod">
          <ac:chgData name="John Paserba" userId="77bd6c8a-d0c1-4fea-8705-0169f65d0c0e" providerId="ADAL" clId="{D93C05D9-2A5E-41E1-B223-45D233C5AA32}" dt="2025-12-01T05:27:35.652" v="156" actId="2711"/>
          <ac:spMkLst>
            <pc:docMk/>
            <pc:sldMk cId="1401808193" sldId="2147471766"/>
            <ac:spMk id="2" creationId="{77588B58-6153-F1B8-4DB0-D1ACF93A24C7}"/>
          </ac:spMkLst>
        </pc:spChg>
        <pc:spChg chg="mod">
          <ac:chgData name="John Paserba" userId="77bd6c8a-d0c1-4fea-8705-0169f65d0c0e" providerId="ADAL" clId="{D93C05D9-2A5E-41E1-B223-45D233C5AA32}" dt="2025-12-01T05:27:22.170" v="155" actId="1076"/>
          <ac:spMkLst>
            <pc:docMk/>
            <pc:sldMk cId="1401808193" sldId="2147471766"/>
            <ac:spMk id="5" creationId="{0ACC1B36-85B1-E8C6-A874-3663C6C3EA4A}"/>
          </ac:spMkLst>
        </pc:spChg>
        <pc:graphicFrameChg chg="modGraphic">
          <ac:chgData name="John Paserba" userId="77bd6c8a-d0c1-4fea-8705-0169f65d0c0e" providerId="ADAL" clId="{D93C05D9-2A5E-41E1-B223-45D233C5AA32}" dt="2025-12-01T05:27:16.253" v="154" actId="2711"/>
          <ac:graphicFrameMkLst>
            <pc:docMk/>
            <pc:sldMk cId="1401808193" sldId="2147471766"/>
            <ac:graphicFrameMk id="3" creationId="{23B054F1-D60E-4D09-B541-4C1042DDA274}"/>
          </ac:graphicFrameMkLst>
        </pc:graphicFrameChg>
      </pc:sldChg>
      <pc:sldChg chg="modSp mod">
        <pc:chgData name="John Paserba" userId="77bd6c8a-d0c1-4fea-8705-0169f65d0c0e" providerId="ADAL" clId="{D93C05D9-2A5E-41E1-B223-45D233C5AA32}" dt="2025-11-21T05:04:00.288" v="29" actId="20577"/>
        <pc:sldMkLst>
          <pc:docMk/>
          <pc:sldMk cId="1003790712" sldId="2147471796"/>
        </pc:sldMkLst>
        <pc:spChg chg="mod">
          <ac:chgData name="John Paserba" userId="77bd6c8a-d0c1-4fea-8705-0169f65d0c0e" providerId="ADAL" clId="{D93C05D9-2A5E-41E1-B223-45D233C5AA32}" dt="2025-11-21T05:04:00.288" v="29" actId="20577"/>
          <ac:spMkLst>
            <pc:docMk/>
            <pc:sldMk cId="1003790712" sldId="2147471796"/>
            <ac:spMk id="3" creationId="{E6993746-A424-4F09-867F-B919F4E18ECB}"/>
          </ac:spMkLst>
        </pc:spChg>
      </pc:sldChg>
      <pc:sldChg chg="modSp mod">
        <pc:chgData name="John Paserba" userId="77bd6c8a-d0c1-4fea-8705-0169f65d0c0e" providerId="ADAL" clId="{D93C05D9-2A5E-41E1-B223-45D233C5AA32}" dt="2025-12-01T05:44:58.316" v="404" actId="14100"/>
        <pc:sldMkLst>
          <pc:docMk/>
          <pc:sldMk cId="1004241266" sldId="2147471918"/>
        </pc:sldMkLst>
        <pc:spChg chg="mod">
          <ac:chgData name="John Paserba" userId="77bd6c8a-d0c1-4fea-8705-0169f65d0c0e" providerId="ADAL" clId="{D93C05D9-2A5E-41E1-B223-45D233C5AA32}" dt="2025-12-01T05:44:58.316" v="404" actId="14100"/>
          <ac:spMkLst>
            <pc:docMk/>
            <pc:sldMk cId="1004241266" sldId="2147471918"/>
            <ac:spMk id="3" creationId="{E6993746-A424-4F09-867F-B919F4E18ECB}"/>
          </ac:spMkLst>
        </pc:spChg>
        <pc:spChg chg="mod">
          <ac:chgData name="John Paserba" userId="77bd6c8a-d0c1-4fea-8705-0169f65d0c0e" providerId="ADAL" clId="{D93C05D9-2A5E-41E1-B223-45D233C5AA32}" dt="2025-12-01T05:39:18.345" v="333" actId="1076"/>
          <ac:spMkLst>
            <pc:docMk/>
            <pc:sldMk cId="1004241266" sldId="2147471918"/>
            <ac:spMk id="7" creationId="{97359CEC-5F3F-4C5E-AC6A-BD37EBE9D65D}"/>
          </ac:spMkLst>
        </pc:spChg>
        <pc:grpChg chg="mod">
          <ac:chgData name="John Paserba" userId="77bd6c8a-d0c1-4fea-8705-0169f65d0c0e" providerId="ADAL" clId="{D93C05D9-2A5E-41E1-B223-45D233C5AA32}" dt="2025-12-01T05:39:18.345" v="333" actId="1076"/>
          <ac:grpSpMkLst>
            <pc:docMk/>
            <pc:sldMk cId="1004241266" sldId="2147471918"/>
            <ac:grpSpMk id="6" creationId="{E76402A8-38B8-4FCE-8F15-0DB21044F695}"/>
          </ac:grpSpMkLst>
        </pc:grpChg>
        <pc:picChg chg="mod">
          <ac:chgData name="John Paserba" userId="77bd6c8a-d0c1-4fea-8705-0169f65d0c0e" providerId="ADAL" clId="{D93C05D9-2A5E-41E1-B223-45D233C5AA32}" dt="2025-12-01T05:39:18.345" v="333" actId="1076"/>
          <ac:picMkLst>
            <pc:docMk/>
            <pc:sldMk cId="1004241266" sldId="2147471918"/>
            <ac:picMk id="8" creationId="{1723BFE1-CABB-4B94-8303-63555811FA38}"/>
          </ac:picMkLst>
        </pc:picChg>
      </pc:sldChg>
      <pc:sldChg chg="add del">
        <pc:chgData name="John Paserba" userId="77bd6c8a-d0c1-4fea-8705-0169f65d0c0e" providerId="ADAL" clId="{D93C05D9-2A5E-41E1-B223-45D233C5AA32}" dt="2025-11-21T05:07:40.562" v="61"/>
        <pc:sldMkLst>
          <pc:docMk/>
          <pc:sldMk cId="973862553" sldId="2147471920"/>
        </pc:sldMkLst>
      </pc:sldChg>
      <pc:sldChg chg="modSp mod">
        <pc:chgData name="John Paserba" userId="77bd6c8a-d0c1-4fea-8705-0169f65d0c0e" providerId="ADAL" clId="{D93C05D9-2A5E-41E1-B223-45D233C5AA32}" dt="2025-12-01T05:45:31.275" v="454" actId="20577"/>
        <pc:sldMkLst>
          <pc:docMk/>
          <pc:sldMk cId="3074711567" sldId="2147471925"/>
        </pc:sldMkLst>
        <pc:spChg chg="mod">
          <ac:chgData name="John Paserba" userId="77bd6c8a-d0c1-4fea-8705-0169f65d0c0e" providerId="ADAL" clId="{D93C05D9-2A5E-41E1-B223-45D233C5AA32}" dt="2025-12-01T05:45:31.275" v="454" actId="20577"/>
          <ac:spMkLst>
            <pc:docMk/>
            <pc:sldMk cId="3074711567" sldId="2147471925"/>
            <ac:spMk id="3" creationId="{E6993746-A424-4F09-867F-B919F4E18ECB}"/>
          </ac:spMkLst>
        </pc:spChg>
      </pc:sldChg>
      <pc:sldChg chg="modSp add mod">
        <pc:chgData name="John Paserba" userId="77bd6c8a-d0c1-4fea-8705-0169f65d0c0e" providerId="ADAL" clId="{D93C05D9-2A5E-41E1-B223-45D233C5AA32}" dt="2025-12-01T05:29:18.379" v="158" actId="2711"/>
        <pc:sldMkLst>
          <pc:docMk/>
          <pc:sldMk cId="3236663502" sldId="2147471927"/>
        </pc:sldMkLst>
        <pc:spChg chg="mod">
          <ac:chgData name="John Paserba" userId="77bd6c8a-d0c1-4fea-8705-0169f65d0c0e" providerId="ADAL" clId="{D93C05D9-2A5E-41E1-B223-45D233C5AA32}" dt="2025-12-01T05:29:18.379" v="158" actId="2711"/>
          <ac:spMkLst>
            <pc:docMk/>
            <pc:sldMk cId="3236663502" sldId="2147471927"/>
            <ac:spMk id="3" creationId="{E6993746-A424-4F09-867F-B919F4E18ECB}"/>
          </ac:spMkLst>
        </pc:spChg>
      </pc:sldChg>
      <pc:sldChg chg="add">
        <pc:chgData name="John Paserba" userId="77bd6c8a-d0c1-4fea-8705-0169f65d0c0e" providerId="ADAL" clId="{D93C05D9-2A5E-41E1-B223-45D233C5AA32}" dt="2025-11-21T05:07:40.562" v="61"/>
        <pc:sldMkLst>
          <pc:docMk/>
          <pc:sldMk cId="3238731818" sldId="2147471930"/>
        </pc:sldMkLst>
      </pc:sldChg>
      <pc:sldChg chg="add">
        <pc:chgData name="John Paserba" userId="77bd6c8a-d0c1-4fea-8705-0169f65d0c0e" providerId="ADAL" clId="{D93C05D9-2A5E-41E1-B223-45D233C5AA32}" dt="2025-11-21T05:07:40.562" v="61"/>
        <pc:sldMkLst>
          <pc:docMk/>
          <pc:sldMk cId="2084949023" sldId="2147471931"/>
        </pc:sldMkLst>
      </pc:sldChg>
      <pc:sldChg chg="modSp add mod">
        <pc:chgData name="John Paserba" userId="77bd6c8a-d0c1-4fea-8705-0169f65d0c0e" providerId="ADAL" clId="{D93C05D9-2A5E-41E1-B223-45D233C5AA32}" dt="2025-12-01T05:24:31.506" v="145" actId="14100"/>
        <pc:sldMkLst>
          <pc:docMk/>
          <pc:sldMk cId="1417382633" sldId="2147471932"/>
        </pc:sldMkLst>
        <pc:spChg chg="mod">
          <ac:chgData name="John Paserba" userId="77bd6c8a-d0c1-4fea-8705-0169f65d0c0e" providerId="ADAL" clId="{D93C05D9-2A5E-41E1-B223-45D233C5AA32}" dt="2025-12-01T05:24:31.506" v="145" actId="14100"/>
          <ac:spMkLst>
            <pc:docMk/>
            <pc:sldMk cId="1417382633" sldId="2147471932"/>
            <ac:spMk id="24" creationId="{2B8CC32F-83F6-FECD-0501-C1860BEDF9BB}"/>
          </ac:spMkLst>
        </pc:spChg>
        <pc:graphicFrameChg chg="mod">
          <ac:chgData name="John Paserba" userId="77bd6c8a-d0c1-4fea-8705-0169f65d0c0e" providerId="ADAL" clId="{D93C05D9-2A5E-41E1-B223-45D233C5AA32}" dt="2025-12-01T05:24:12.669" v="143"/>
          <ac:graphicFrameMkLst>
            <pc:docMk/>
            <pc:sldMk cId="1417382633" sldId="2147471932"/>
            <ac:graphicFrameMk id="13" creationId="{7B20051B-7869-4D52-69F8-02B422E80442}"/>
          </ac:graphicFrameMkLst>
        </pc:graphicFrameChg>
      </pc:sldChg>
      <pc:sldChg chg="modSp mod">
        <pc:chgData name="John Paserba" userId="77bd6c8a-d0c1-4fea-8705-0169f65d0c0e" providerId="ADAL" clId="{D93C05D9-2A5E-41E1-B223-45D233C5AA32}" dt="2025-12-01T05:27:57.584" v="157" actId="3064"/>
        <pc:sldMkLst>
          <pc:docMk/>
          <pc:sldMk cId="1868943474" sldId="2147471939"/>
        </pc:sldMkLst>
        <pc:spChg chg="mod">
          <ac:chgData name="John Paserba" userId="77bd6c8a-d0c1-4fea-8705-0169f65d0c0e" providerId="ADAL" clId="{D93C05D9-2A5E-41E1-B223-45D233C5AA32}" dt="2025-12-01T05:27:57.584" v="157" actId="3064"/>
          <ac:spMkLst>
            <pc:docMk/>
            <pc:sldMk cId="1868943474" sldId="2147471939"/>
            <ac:spMk id="3328002" creationId="{00000000-0000-0000-0000-000000000000}"/>
          </ac:spMkLst>
        </pc:spChg>
      </pc:sldChg>
      <pc:sldChg chg="modSp mod">
        <pc:chgData name="John Paserba" userId="77bd6c8a-d0c1-4fea-8705-0169f65d0c0e" providerId="ADAL" clId="{D93C05D9-2A5E-41E1-B223-45D233C5AA32}" dt="2025-12-01T05:26:33.881" v="151" actId="20577"/>
        <pc:sldMkLst>
          <pc:docMk/>
          <pc:sldMk cId="100192432" sldId="2147471945"/>
        </pc:sldMkLst>
        <pc:spChg chg="mod">
          <ac:chgData name="John Paserba" userId="77bd6c8a-d0c1-4fea-8705-0169f65d0c0e" providerId="ADAL" clId="{D93C05D9-2A5E-41E1-B223-45D233C5AA32}" dt="2025-12-01T05:26:33.881" v="151" actId="20577"/>
          <ac:spMkLst>
            <pc:docMk/>
            <pc:sldMk cId="100192432" sldId="2147471945"/>
            <ac:spMk id="3" creationId="{E6993746-A424-4F09-867F-B919F4E18ECB}"/>
          </ac:spMkLst>
        </pc:spChg>
      </pc:sldChg>
      <pc:sldChg chg="modAnim">
        <pc:chgData name="John Paserba" userId="77bd6c8a-d0c1-4fea-8705-0169f65d0c0e" providerId="ADAL" clId="{D93C05D9-2A5E-41E1-B223-45D233C5AA32}" dt="2025-12-01T05:25:18.915" v="146"/>
        <pc:sldMkLst>
          <pc:docMk/>
          <pc:sldMk cId="2662749527" sldId="2147471946"/>
        </pc:sldMkLst>
      </pc:sldChg>
      <pc:sldChg chg="del">
        <pc:chgData name="John Paserba" userId="77bd6c8a-d0c1-4fea-8705-0169f65d0c0e" providerId="ADAL" clId="{D93C05D9-2A5E-41E1-B223-45D233C5AA32}" dt="2025-11-21T05:03:22.774" v="0" actId="2696"/>
        <pc:sldMkLst>
          <pc:docMk/>
          <pc:sldMk cId="2019257221" sldId="2147471955"/>
        </pc:sldMkLst>
      </pc:sldChg>
      <pc:sldChg chg="add">
        <pc:chgData name="John Paserba" userId="77bd6c8a-d0c1-4fea-8705-0169f65d0c0e" providerId="ADAL" clId="{D93C05D9-2A5E-41E1-B223-45D233C5AA32}" dt="2025-11-21T05:03:44.043" v="1"/>
        <pc:sldMkLst>
          <pc:docMk/>
          <pc:sldMk cId="2654355985" sldId="2147471955"/>
        </pc:sldMkLst>
      </pc:sldChg>
      <pc:sldChg chg="del">
        <pc:chgData name="John Paserba" userId="77bd6c8a-d0c1-4fea-8705-0169f65d0c0e" providerId="ADAL" clId="{D93C05D9-2A5E-41E1-B223-45D233C5AA32}" dt="2025-11-21T05:03:22.774" v="0" actId="2696"/>
        <pc:sldMkLst>
          <pc:docMk/>
          <pc:sldMk cId="761865941" sldId="2147471956"/>
        </pc:sldMkLst>
      </pc:sldChg>
      <pc:sldChg chg="add">
        <pc:chgData name="John Paserba" userId="77bd6c8a-d0c1-4fea-8705-0169f65d0c0e" providerId="ADAL" clId="{D93C05D9-2A5E-41E1-B223-45D233C5AA32}" dt="2025-11-21T05:03:44.043" v="1"/>
        <pc:sldMkLst>
          <pc:docMk/>
          <pc:sldMk cId="2184559020" sldId="2147471956"/>
        </pc:sldMkLst>
      </pc:sldChg>
      <pc:sldChg chg="del">
        <pc:chgData name="John Paserba" userId="77bd6c8a-d0c1-4fea-8705-0169f65d0c0e" providerId="ADAL" clId="{D93C05D9-2A5E-41E1-B223-45D233C5AA32}" dt="2025-11-21T05:03:22.774" v="0" actId="2696"/>
        <pc:sldMkLst>
          <pc:docMk/>
          <pc:sldMk cId="2885069898" sldId="2147471957"/>
        </pc:sldMkLst>
      </pc:sldChg>
      <pc:sldChg chg="add">
        <pc:chgData name="John Paserba" userId="77bd6c8a-d0c1-4fea-8705-0169f65d0c0e" providerId="ADAL" clId="{D93C05D9-2A5E-41E1-B223-45D233C5AA32}" dt="2025-11-21T05:03:44.043" v="1"/>
        <pc:sldMkLst>
          <pc:docMk/>
          <pc:sldMk cId="3700549826" sldId="2147471957"/>
        </pc:sldMkLst>
      </pc:sldChg>
      <pc:sldChg chg="add">
        <pc:chgData name="John Paserba" userId="77bd6c8a-d0c1-4fea-8705-0169f65d0c0e" providerId="ADAL" clId="{D93C05D9-2A5E-41E1-B223-45D233C5AA32}" dt="2025-11-21T05:03:44.043" v="1"/>
        <pc:sldMkLst>
          <pc:docMk/>
          <pc:sldMk cId="272207583" sldId="2147471958"/>
        </pc:sldMkLst>
      </pc:sldChg>
      <pc:sldChg chg="del">
        <pc:chgData name="John Paserba" userId="77bd6c8a-d0c1-4fea-8705-0169f65d0c0e" providerId="ADAL" clId="{D93C05D9-2A5E-41E1-B223-45D233C5AA32}" dt="2025-11-21T05:03:22.774" v="0" actId="2696"/>
        <pc:sldMkLst>
          <pc:docMk/>
          <pc:sldMk cId="4091416605" sldId="2147471958"/>
        </pc:sldMkLst>
      </pc:sldChg>
      <pc:sldChg chg="del">
        <pc:chgData name="John Paserba" userId="77bd6c8a-d0c1-4fea-8705-0169f65d0c0e" providerId="ADAL" clId="{D93C05D9-2A5E-41E1-B223-45D233C5AA32}" dt="2025-11-21T05:03:22.774" v="0" actId="2696"/>
        <pc:sldMkLst>
          <pc:docMk/>
          <pc:sldMk cId="2411573952" sldId="2147471959"/>
        </pc:sldMkLst>
      </pc:sldChg>
      <pc:sldChg chg="add">
        <pc:chgData name="John Paserba" userId="77bd6c8a-d0c1-4fea-8705-0169f65d0c0e" providerId="ADAL" clId="{D93C05D9-2A5E-41E1-B223-45D233C5AA32}" dt="2025-11-21T05:03:44.043" v="1"/>
        <pc:sldMkLst>
          <pc:docMk/>
          <pc:sldMk cId="2790272723" sldId="2147471959"/>
        </pc:sldMkLst>
      </pc:sldChg>
      <pc:sldChg chg="del">
        <pc:chgData name="John Paserba" userId="77bd6c8a-d0c1-4fea-8705-0169f65d0c0e" providerId="ADAL" clId="{D93C05D9-2A5E-41E1-B223-45D233C5AA32}" dt="2025-11-21T05:03:22.774" v="0" actId="2696"/>
        <pc:sldMkLst>
          <pc:docMk/>
          <pc:sldMk cId="1312532955" sldId="2147471960"/>
        </pc:sldMkLst>
      </pc:sldChg>
      <pc:sldChg chg="add">
        <pc:chgData name="John Paserba" userId="77bd6c8a-d0c1-4fea-8705-0169f65d0c0e" providerId="ADAL" clId="{D93C05D9-2A5E-41E1-B223-45D233C5AA32}" dt="2025-11-21T05:03:44.043" v="1"/>
        <pc:sldMkLst>
          <pc:docMk/>
          <pc:sldMk cId="2654520118" sldId="2147471960"/>
        </pc:sldMkLst>
      </pc:sldChg>
      <pc:sldChg chg="modSp mod">
        <pc:chgData name="John Paserba" userId="77bd6c8a-d0c1-4fea-8705-0169f65d0c0e" providerId="ADAL" clId="{D93C05D9-2A5E-41E1-B223-45D233C5AA32}" dt="2025-11-21T05:06:00.838" v="54" actId="14100"/>
        <pc:sldMkLst>
          <pc:docMk/>
          <pc:sldMk cId="2746193755" sldId="2147471961"/>
        </pc:sldMkLst>
        <pc:spChg chg="mod">
          <ac:chgData name="John Paserba" userId="77bd6c8a-d0c1-4fea-8705-0169f65d0c0e" providerId="ADAL" clId="{D93C05D9-2A5E-41E1-B223-45D233C5AA32}" dt="2025-11-21T05:05:39.070" v="47" actId="113"/>
          <ac:spMkLst>
            <pc:docMk/>
            <pc:sldMk cId="2746193755" sldId="2147471961"/>
            <ac:spMk id="3" creationId="{E6993746-A424-4F09-867F-B919F4E18ECB}"/>
          </ac:spMkLst>
        </pc:spChg>
        <pc:spChg chg="mod">
          <ac:chgData name="John Paserba" userId="77bd6c8a-d0c1-4fea-8705-0169f65d0c0e" providerId="ADAL" clId="{D93C05D9-2A5E-41E1-B223-45D233C5AA32}" dt="2025-11-21T05:05:42.529" v="48" actId="113"/>
          <ac:spMkLst>
            <pc:docMk/>
            <pc:sldMk cId="2746193755" sldId="2147471961"/>
            <ac:spMk id="12" creationId="{280DE3C7-5244-4437-B868-DFD4765312FD}"/>
          </ac:spMkLst>
        </pc:spChg>
        <pc:picChg chg="mod">
          <ac:chgData name="John Paserba" userId="77bd6c8a-d0c1-4fea-8705-0169f65d0c0e" providerId="ADAL" clId="{D93C05D9-2A5E-41E1-B223-45D233C5AA32}" dt="2025-11-21T05:05:30.628" v="46" actId="1036"/>
          <ac:picMkLst>
            <pc:docMk/>
            <pc:sldMk cId="2746193755" sldId="2147471961"/>
            <ac:picMk id="23" creationId="{99C2F857-D91D-4BB8-BE1E-F55EEC2E0FEE}"/>
          </ac:picMkLst>
        </pc:picChg>
        <pc:picChg chg="mod">
          <ac:chgData name="John Paserba" userId="77bd6c8a-d0c1-4fea-8705-0169f65d0c0e" providerId="ADAL" clId="{D93C05D9-2A5E-41E1-B223-45D233C5AA32}" dt="2025-11-21T05:05:22.569" v="45" actId="1036"/>
          <ac:picMkLst>
            <pc:docMk/>
            <pc:sldMk cId="2746193755" sldId="2147471961"/>
            <ac:picMk id="25" creationId="{BC179A78-736F-4960-B3AE-6B5DCEE6D924}"/>
          </ac:picMkLst>
        </pc:picChg>
        <pc:picChg chg="mod">
          <ac:chgData name="John Paserba" userId="77bd6c8a-d0c1-4fea-8705-0169f65d0c0e" providerId="ADAL" clId="{D93C05D9-2A5E-41E1-B223-45D233C5AA32}" dt="2025-11-21T05:06:00.838" v="54" actId="14100"/>
          <ac:picMkLst>
            <pc:docMk/>
            <pc:sldMk cId="2746193755" sldId="2147471961"/>
            <ac:picMk id="31" creationId="{6243AE2C-0AE1-45E1-ABB6-2F0C052A159C}"/>
          </ac:picMkLst>
        </pc:picChg>
        <pc:picChg chg="mod">
          <ac:chgData name="John Paserba" userId="77bd6c8a-d0c1-4fea-8705-0169f65d0c0e" providerId="ADAL" clId="{D93C05D9-2A5E-41E1-B223-45D233C5AA32}" dt="2025-11-21T05:05:01.236" v="40" actId="1036"/>
          <ac:picMkLst>
            <pc:docMk/>
            <pc:sldMk cId="2746193755" sldId="2147471961"/>
            <ac:picMk id="3328008" creationId="{F63ACF91-000A-4597-B6A9-3D1B14F15905}"/>
          </ac:picMkLst>
        </pc:picChg>
      </pc:sldChg>
      <pc:sldMasterChg chg="del delSldLayout">
        <pc:chgData name="John Paserba" userId="77bd6c8a-d0c1-4fea-8705-0169f65d0c0e" providerId="ADAL" clId="{D93C05D9-2A5E-41E1-B223-45D233C5AA32}" dt="2025-11-21T05:07:23.981" v="57" actId="47"/>
        <pc:sldMasterMkLst>
          <pc:docMk/>
          <pc:sldMasterMk cId="596794601" sldId="2147483998"/>
        </pc:sldMasterMkLst>
        <pc:sldLayoutChg chg="del">
          <pc:chgData name="John Paserba" userId="77bd6c8a-d0c1-4fea-8705-0169f65d0c0e" providerId="ADAL" clId="{D93C05D9-2A5E-41E1-B223-45D233C5AA32}" dt="2025-11-21T05:07:23.981" v="57" actId="47"/>
          <pc:sldLayoutMkLst>
            <pc:docMk/>
            <pc:sldMasterMk cId="596794601" sldId="2147483998"/>
            <pc:sldLayoutMk cId="1403972876" sldId="2147483999"/>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3161075867" sldId="2147484000"/>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802760793" sldId="2147484001"/>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2955571294" sldId="2147484002"/>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3797957390" sldId="2147484003"/>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3855201649" sldId="2147484004"/>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1734950630" sldId="2147484005"/>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644906489" sldId="2147484006"/>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536428216" sldId="2147484007"/>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1016349250" sldId="2147484008"/>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1293156648" sldId="2147484009"/>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1966143662" sldId="2147484010"/>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1860697349" sldId="2147484011"/>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220746154" sldId="2147484012"/>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405161120" sldId="2147484013"/>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3388518012" sldId="2147484014"/>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1930170759" sldId="2147484015"/>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3304333545" sldId="2147484016"/>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1482829384" sldId="2147484017"/>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3405279174" sldId="2147484018"/>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1151354784" sldId="2147484019"/>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2523931557" sldId="2147484020"/>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758182070" sldId="2147484021"/>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98361826" sldId="2147484022"/>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3605689914" sldId="2147484023"/>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985877147" sldId="2147484024"/>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1491620357" sldId="2147484025"/>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3531136503" sldId="2147484026"/>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2302195412" sldId="2147484027"/>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4094183445" sldId="2147484028"/>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437018824" sldId="2147484029"/>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3808513969" sldId="2147484030"/>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1223805609" sldId="2147484031"/>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3341270252" sldId="2147484032"/>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285874115" sldId="2147484033"/>
          </pc:sldLayoutMkLst>
        </pc:sldLayoutChg>
        <pc:sldLayoutChg chg="del">
          <pc:chgData name="John Paserba" userId="77bd6c8a-d0c1-4fea-8705-0169f65d0c0e" providerId="ADAL" clId="{D93C05D9-2A5E-41E1-B223-45D233C5AA32}" dt="2025-11-21T05:07:23.981" v="57" actId="47"/>
          <pc:sldLayoutMkLst>
            <pc:docMk/>
            <pc:sldMasterMk cId="596794601" sldId="2147483998"/>
            <pc:sldLayoutMk cId="1598255716" sldId="2147484034"/>
          </pc:sldLayoutMkLst>
        </pc:sldLayoutChg>
      </pc:sldMasterChg>
    </pc:docChg>
  </pc:docChgLst>
  <pc:docChgLst>
    <pc:chgData name="John Paserba" userId="77bd6c8a-d0c1-4fea-8705-0169f65d0c0e" providerId="ADAL" clId="{EB9969EA-F4DF-4E5F-BC0E-DC65F9D6E1D0}"/>
    <pc:docChg chg="undo redo custSel addSld delSld modSld sldOrd">
      <pc:chgData name="John Paserba" userId="77bd6c8a-d0c1-4fea-8705-0169f65d0c0e" providerId="ADAL" clId="{EB9969EA-F4DF-4E5F-BC0E-DC65F9D6E1D0}" dt="2025-11-17T23:49:23.297" v="1623" actId="20577"/>
      <pc:docMkLst>
        <pc:docMk/>
      </pc:docMkLst>
      <pc:sldChg chg="delSp mod">
        <pc:chgData name="John Paserba" userId="77bd6c8a-d0c1-4fea-8705-0169f65d0c0e" providerId="ADAL" clId="{EB9969EA-F4DF-4E5F-BC0E-DC65F9D6E1D0}" dt="2025-11-17T22:15:19.167" v="702" actId="478"/>
        <pc:sldMkLst>
          <pc:docMk/>
          <pc:sldMk cId="216267857" sldId="750"/>
        </pc:sldMkLst>
        <pc:spChg chg="del">
          <ac:chgData name="John Paserba" userId="77bd6c8a-d0c1-4fea-8705-0169f65d0c0e" providerId="ADAL" clId="{EB9969EA-F4DF-4E5F-BC0E-DC65F9D6E1D0}" dt="2025-11-17T22:15:19.167" v="702" actId="478"/>
          <ac:spMkLst>
            <pc:docMk/>
            <pc:sldMk cId="216267857" sldId="750"/>
            <ac:spMk id="279" creationId="{53605EEE-BE55-2430-8D07-A80D87F51352}"/>
          </ac:spMkLst>
        </pc:spChg>
      </pc:sldChg>
      <pc:sldChg chg="modSp add del mod ord">
        <pc:chgData name="John Paserba" userId="77bd6c8a-d0c1-4fea-8705-0169f65d0c0e" providerId="ADAL" clId="{EB9969EA-F4DF-4E5F-BC0E-DC65F9D6E1D0}" dt="2025-11-17T21:54:28.318" v="332" actId="1038"/>
        <pc:sldMkLst>
          <pc:docMk/>
          <pc:sldMk cId="1297502678" sldId="2147471320"/>
        </pc:sldMkLst>
        <pc:spChg chg="mod">
          <ac:chgData name="John Paserba" userId="77bd6c8a-d0c1-4fea-8705-0169f65d0c0e" providerId="ADAL" clId="{EB9969EA-F4DF-4E5F-BC0E-DC65F9D6E1D0}" dt="2025-11-17T21:54:28.318" v="332" actId="1038"/>
          <ac:spMkLst>
            <pc:docMk/>
            <pc:sldMk cId="1297502678" sldId="2147471320"/>
            <ac:spMk id="8" creationId="{D9195898-5299-4EF8-BA1B-10F685FBCF58}"/>
          </ac:spMkLst>
        </pc:spChg>
        <pc:spChg chg="mod">
          <ac:chgData name="John Paserba" userId="77bd6c8a-d0c1-4fea-8705-0169f65d0c0e" providerId="ADAL" clId="{EB9969EA-F4DF-4E5F-BC0E-DC65F9D6E1D0}" dt="2025-11-17T21:54:28.318" v="332" actId="1038"/>
          <ac:spMkLst>
            <pc:docMk/>
            <pc:sldMk cId="1297502678" sldId="2147471320"/>
            <ac:spMk id="28" creationId="{35B328F9-AEF7-4338-8D3C-80DE4A21296D}"/>
          </ac:spMkLst>
        </pc:spChg>
        <pc:spChg chg="mod">
          <ac:chgData name="John Paserba" userId="77bd6c8a-d0c1-4fea-8705-0169f65d0c0e" providerId="ADAL" clId="{EB9969EA-F4DF-4E5F-BC0E-DC65F9D6E1D0}" dt="2025-11-17T21:54:28.318" v="332" actId="1038"/>
          <ac:spMkLst>
            <pc:docMk/>
            <pc:sldMk cId="1297502678" sldId="2147471320"/>
            <ac:spMk id="29" creationId="{B8F07880-E0B1-4552-9A92-3C2C26BD146D}"/>
          </ac:spMkLst>
        </pc:spChg>
        <pc:spChg chg="mod">
          <ac:chgData name="John Paserba" userId="77bd6c8a-d0c1-4fea-8705-0169f65d0c0e" providerId="ADAL" clId="{EB9969EA-F4DF-4E5F-BC0E-DC65F9D6E1D0}" dt="2025-11-17T21:54:28.318" v="332" actId="1038"/>
          <ac:spMkLst>
            <pc:docMk/>
            <pc:sldMk cId="1297502678" sldId="2147471320"/>
            <ac:spMk id="31" creationId="{7CE2E0D4-A484-4EEE-A3CD-40EBAA93FB39}"/>
          </ac:spMkLst>
        </pc:spChg>
        <pc:spChg chg="mod">
          <ac:chgData name="John Paserba" userId="77bd6c8a-d0c1-4fea-8705-0169f65d0c0e" providerId="ADAL" clId="{EB9969EA-F4DF-4E5F-BC0E-DC65F9D6E1D0}" dt="2025-11-17T21:54:28.318" v="332" actId="1038"/>
          <ac:spMkLst>
            <pc:docMk/>
            <pc:sldMk cId="1297502678" sldId="2147471320"/>
            <ac:spMk id="40" creationId="{2F88A5DB-E0FB-40C8-A517-AC8B70680B4E}"/>
          </ac:spMkLst>
        </pc:spChg>
        <pc:spChg chg="mod">
          <ac:chgData name="John Paserba" userId="77bd6c8a-d0c1-4fea-8705-0169f65d0c0e" providerId="ADAL" clId="{EB9969EA-F4DF-4E5F-BC0E-DC65F9D6E1D0}" dt="2025-11-17T21:54:28.318" v="332" actId="1038"/>
          <ac:spMkLst>
            <pc:docMk/>
            <pc:sldMk cId="1297502678" sldId="2147471320"/>
            <ac:spMk id="41" creationId="{6C75478C-D9D3-4D25-A6B1-FD03FB37F31E}"/>
          </ac:spMkLst>
        </pc:spChg>
        <pc:spChg chg="mod">
          <ac:chgData name="John Paserba" userId="77bd6c8a-d0c1-4fea-8705-0169f65d0c0e" providerId="ADAL" clId="{EB9969EA-F4DF-4E5F-BC0E-DC65F9D6E1D0}" dt="2025-11-17T21:54:28.318" v="332" actId="1038"/>
          <ac:spMkLst>
            <pc:docMk/>
            <pc:sldMk cId="1297502678" sldId="2147471320"/>
            <ac:spMk id="42" creationId="{DEC395BF-A0C6-44F3-94AB-79ED335A43E3}"/>
          </ac:spMkLst>
        </pc:spChg>
        <pc:spChg chg="mod">
          <ac:chgData name="John Paserba" userId="77bd6c8a-d0c1-4fea-8705-0169f65d0c0e" providerId="ADAL" clId="{EB9969EA-F4DF-4E5F-BC0E-DC65F9D6E1D0}" dt="2025-11-17T21:54:28.318" v="332" actId="1038"/>
          <ac:spMkLst>
            <pc:docMk/>
            <pc:sldMk cId="1297502678" sldId="2147471320"/>
            <ac:spMk id="43" creationId="{DD9C4A26-4920-487B-A991-CF74A450BB43}"/>
          </ac:spMkLst>
        </pc:spChg>
        <pc:spChg chg="mod">
          <ac:chgData name="John Paserba" userId="77bd6c8a-d0c1-4fea-8705-0169f65d0c0e" providerId="ADAL" clId="{EB9969EA-F4DF-4E5F-BC0E-DC65F9D6E1D0}" dt="2025-11-17T21:54:28.318" v="332" actId="1038"/>
          <ac:spMkLst>
            <pc:docMk/>
            <pc:sldMk cId="1297502678" sldId="2147471320"/>
            <ac:spMk id="45" creationId="{73560E85-B396-46C2-ADCB-CCBDAB096E5D}"/>
          </ac:spMkLst>
        </pc:spChg>
        <pc:spChg chg="mod">
          <ac:chgData name="John Paserba" userId="77bd6c8a-d0c1-4fea-8705-0169f65d0c0e" providerId="ADAL" clId="{EB9969EA-F4DF-4E5F-BC0E-DC65F9D6E1D0}" dt="2025-11-17T21:54:28.318" v="332" actId="1038"/>
          <ac:spMkLst>
            <pc:docMk/>
            <pc:sldMk cId="1297502678" sldId="2147471320"/>
            <ac:spMk id="47" creationId="{3D227966-625F-4623-871A-4E2D7BB475AD}"/>
          </ac:spMkLst>
        </pc:spChg>
        <pc:spChg chg="mod">
          <ac:chgData name="John Paserba" userId="77bd6c8a-d0c1-4fea-8705-0169f65d0c0e" providerId="ADAL" clId="{EB9969EA-F4DF-4E5F-BC0E-DC65F9D6E1D0}" dt="2025-11-17T21:54:28.318" v="332" actId="1038"/>
          <ac:spMkLst>
            <pc:docMk/>
            <pc:sldMk cId="1297502678" sldId="2147471320"/>
            <ac:spMk id="48" creationId="{F18EE90A-B5A6-4B8C-8228-97F0E7C5AFBE}"/>
          </ac:spMkLst>
        </pc:spChg>
        <pc:spChg chg="mod">
          <ac:chgData name="John Paserba" userId="77bd6c8a-d0c1-4fea-8705-0169f65d0c0e" providerId="ADAL" clId="{EB9969EA-F4DF-4E5F-BC0E-DC65F9D6E1D0}" dt="2025-11-17T21:54:28.318" v="332" actId="1038"/>
          <ac:spMkLst>
            <pc:docMk/>
            <pc:sldMk cId="1297502678" sldId="2147471320"/>
            <ac:spMk id="49" creationId="{BB8769DD-93B6-44B5-9A80-F865040EC6A3}"/>
          </ac:spMkLst>
        </pc:spChg>
        <pc:spChg chg="mod">
          <ac:chgData name="John Paserba" userId="77bd6c8a-d0c1-4fea-8705-0169f65d0c0e" providerId="ADAL" clId="{EB9969EA-F4DF-4E5F-BC0E-DC65F9D6E1D0}" dt="2025-11-17T21:54:28.318" v="332" actId="1038"/>
          <ac:spMkLst>
            <pc:docMk/>
            <pc:sldMk cId="1297502678" sldId="2147471320"/>
            <ac:spMk id="50" creationId="{E83EDA5F-33DD-4B05-81DA-EAB538ABE8F8}"/>
          </ac:spMkLst>
        </pc:spChg>
        <pc:spChg chg="mod">
          <ac:chgData name="John Paserba" userId="77bd6c8a-d0c1-4fea-8705-0169f65d0c0e" providerId="ADAL" clId="{EB9969EA-F4DF-4E5F-BC0E-DC65F9D6E1D0}" dt="2025-11-17T21:54:28.318" v="332" actId="1038"/>
          <ac:spMkLst>
            <pc:docMk/>
            <pc:sldMk cId="1297502678" sldId="2147471320"/>
            <ac:spMk id="58" creationId="{162E5A9C-BA05-4323-9417-E2E475F94729}"/>
          </ac:spMkLst>
        </pc:spChg>
        <pc:spChg chg="mod">
          <ac:chgData name="John Paserba" userId="77bd6c8a-d0c1-4fea-8705-0169f65d0c0e" providerId="ADAL" clId="{EB9969EA-F4DF-4E5F-BC0E-DC65F9D6E1D0}" dt="2025-11-17T21:54:28.318" v="332" actId="1038"/>
          <ac:spMkLst>
            <pc:docMk/>
            <pc:sldMk cId="1297502678" sldId="2147471320"/>
            <ac:spMk id="59" creationId="{9F9089D6-56E3-4740-AA88-6BACF7915464}"/>
          </ac:spMkLst>
        </pc:spChg>
        <pc:spChg chg="mod">
          <ac:chgData name="John Paserba" userId="77bd6c8a-d0c1-4fea-8705-0169f65d0c0e" providerId="ADAL" clId="{EB9969EA-F4DF-4E5F-BC0E-DC65F9D6E1D0}" dt="2025-11-17T21:54:28.318" v="332" actId="1038"/>
          <ac:spMkLst>
            <pc:docMk/>
            <pc:sldMk cId="1297502678" sldId="2147471320"/>
            <ac:spMk id="69" creationId="{CE551D54-DB69-4EFD-B116-EB589A2B0007}"/>
          </ac:spMkLst>
        </pc:spChg>
        <pc:spChg chg="mod">
          <ac:chgData name="John Paserba" userId="77bd6c8a-d0c1-4fea-8705-0169f65d0c0e" providerId="ADAL" clId="{EB9969EA-F4DF-4E5F-BC0E-DC65F9D6E1D0}" dt="2025-11-17T21:54:28.318" v="332" actId="1038"/>
          <ac:spMkLst>
            <pc:docMk/>
            <pc:sldMk cId="1297502678" sldId="2147471320"/>
            <ac:spMk id="71" creationId="{996B0B4C-BAA1-4BD7-A2B3-2838EA5DFE70}"/>
          </ac:spMkLst>
        </pc:spChg>
        <pc:spChg chg="mod">
          <ac:chgData name="John Paserba" userId="77bd6c8a-d0c1-4fea-8705-0169f65d0c0e" providerId="ADAL" clId="{EB9969EA-F4DF-4E5F-BC0E-DC65F9D6E1D0}" dt="2025-11-17T21:54:28.318" v="332" actId="1038"/>
          <ac:spMkLst>
            <pc:docMk/>
            <pc:sldMk cId="1297502678" sldId="2147471320"/>
            <ac:spMk id="91" creationId="{53869C38-3546-435A-A687-E631CF67B67B}"/>
          </ac:spMkLst>
        </pc:spChg>
        <pc:spChg chg="mod">
          <ac:chgData name="John Paserba" userId="77bd6c8a-d0c1-4fea-8705-0169f65d0c0e" providerId="ADAL" clId="{EB9969EA-F4DF-4E5F-BC0E-DC65F9D6E1D0}" dt="2025-11-17T21:54:28.318" v="332" actId="1038"/>
          <ac:spMkLst>
            <pc:docMk/>
            <pc:sldMk cId="1297502678" sldId="2147471320"/>
            <ac:spMk id="93" creationId="{9BC9A4A1-F231-409B-B512-BBF1C05D9C1C}"/>
          </ac:spMkLst>
        </pc:spChg>
        <pc:spChg chg="mod">
          <ac:chgData name="John Paserba" userId="77bd6c8a-d0c1-4fea-8705-0169f65d0c0e" providerId="ADAL" clId="{EB9969EA-F4DF-4E5F-BC0E-DC65F9D6E1D0}" dt="2025-11-17T21:54:28.318" v="332" actId="1038"/>
          <ac:spMkLst>
            <pc:docMk/>
            <pc:sldMk cId="1297502678" sldId="2147471320"/>
            <ac:spMk id="94" creationId="{54224432-240B-4710-BA94-219610CB8D7B}"/>
          </ac:spMkLst>
        </pc:spChg>
        <pc:spChg chg="mod">
          <ac:chgData name="John Paserba" userId="77bd6c8a-d0c1-4fea-8705-0169f65d0c0e" providerId="ADAL" clId="{EB9969EA-F4DF-4E5F-BC0E-DC65F9D6E1D0}" dt="2025-11-17T21:54:28.318" v="332" actId="1038"/>
          <ac:spMkLst>
            <pc:docMk/>
            <pc:sldMk cId="1297502678" sldId="2147471320"/>
            <ac:spMk id="105" creationId="{6B17BC65-D072-4F4E-B5A9-C7990898CE8C}"/>
          </ac:spMkLst>
        </pc:spChg>
        <pc:spChg chg="mod">
          <ac:chgData name="John Paserba" userId="77bd6c8a-d0c1-4fea-8705-0169f65d0c0e" providerId="ADAL" clId="{EB9969EA-F4DF-4E5F-BC0E-DC65F9D6E1D0}" dt="2025-11-17T21:54:28.318" v="332" actId="1038"/>
          <ac:spMkLst>
            <pc:docMk/>
            <pc:sldMk cId="1297502678" sldId="2147471320"/>
            <ac:spMk id="106" creationId="{AEE50A3F-3EDA-4123-BB2D-0BE4AE19C726}"/>
          </ac:spMkLst>
        </pc:spChg>
        <pc:spChg chg="mod">
          <ac:chgData name="John Paserba" userId="77bd6c8a-d0c1-4fea-8705-0169f65d0c0e" providerId="ADAL" clId="{EB9969EA-F4DF-4E5F-BC0E-DC65F9D6E1D0}" dt="2025-11-17T21:54:28.318" v="332" actId="1038"/>
          <ac:spMkLst>
            <pc:docMk/>
            <pc:sldMk cId="1297502678" sldId="2147471320"/>
            <ac:spMk id="107" creationId="{9F21B88A-4BDE-4D92-A30B-AF4011939896}"/>
          </ac:spMkLst>
        </pc:spChg>
        <pc:spChg chg="mod">
          <ac:chgData name="John Paserba" userId="77bd6c8a-d0c1-4fea-8705-0169f65d0c0e" providerId="ADAL" clId="{EB9969EA-F4DF-4E5F-BC0E-DC65F9D6E1D0}" dt="2025-11-17T21:54:28.318" v="332" actId="1038"/>
          <ac:spMkLst>
            <pc:docMk/>
            <pc:sldMk cId="1297502678" sldId="2147471320"/>
            <ac:spMk id="108" creationId="{BB4394CC-A72E-4A3C-AF82-9F695F0EBF87}"/>
          </ac:spMkLst>
        </pc:spChg>
        <pc:spChg chg="mod">
          <ac:chgData name="John Paserba" userId="77bd6c8a-d0c1-4fea-8705-0169f65d0c0e" providerId="ADAL" clId="{EB9969EA-F4DF-4E5F-BC0E-DC65F9D6E1D0}" dt="2025-11-17T21:54:28.318" v="332" actId="1038"/>
          <ac:spMkLst>
            <pc:docMk/>
            <pc:sldMk cId="1297502678" sldId="2147471320"/>
            <ac:spMk id="109" creationId="{D5CA59AA-0785-4E0A-BEF6-F94C27899317}"/>
          </ac:spMkLst>
        </pc:spChg>
        <pc:spChg chg="mod">
          <ac:chgData name="John Paserba" userId="77bd6c8a-d0c1-4fea-8705-0169f65d0c0e" providerId="ADAL" clId="{EB9969EA-F4DF-4E5F-BC0E-DC65F9D6E1D0}" dt="2025-11-17T21:54:28.318" v="332" actId="1038"/>
          <ac:spMkLst>
            <pc:docMk/>
            <pc:sldMk cId="1297502678" sldId="2147471320"/>
            <ac:spMk id="110" creationId="{46510637-615E-40E6-AF9D-555257DD4837}"/>
          </ac:spMkLst>
        </pc:spChg>
        <pc:cxnChg chg="mod">
          <ac:chgData name="John Paserba" userId="77bd6c8a-d0c1-4fea-8705-0169f65d0c0e" providerId="ADAL" clId="{EB9969EA-F4DF-4E5F-BC0E-DC65F9D6E1D0}" dt="2025-11-17T21:54:28.318" v="332" actId="1038"/>
          <ac:cxnSpMkLst>
            <pc:docMk/>
            <pc:sldMk cId="1297502678" sldId="2147471320"/>
            <ac:cxnSpMk id="25" creationId="{A8D7D701-0665-40E5-899F-F2E392362F6F}"/>
          </ac:cxnSpMkLst>
        </pc:cxnChg>
        <pc:cxnChg chg="mod">
          <ac:chgData name="John Paserba" userId="77bd6c8a-d0c1-4fea-8705-0169f65d0c0e" providerId="ADAL" clId="{EB9969EA-F4DF-4E5F-BC0E-DC65F9D6E1D0}" dt="2025-11-17T21:54:28.318" v="332" actId="1038"/>
          <ac:cxnSpMkLst>
            <pc:docMk/>
            <pc:sldMk cId="1297502678" sldId="2147471320"/>
            <ac:cxnSpMk id="44" creationId="{FF108B81-672D-42CE-9990-7C36F75A821F}"/>
          </ac:cxnSpMkLst>
        </pc:cxnChg>
        <pc:cxnChg chg="mod">
          <ac:chgData name="John Paserba" userId="77bd6c8a-d0c1-4fea-8705-0169f65d0c0e" providerId="ADAL" clId="{EB9969EA-F4DF-4E5F-BC0E-DC65F9D6E1D0}" dt="2025-11-17T21:54:28.318" v="332" actId="1038"/>
          <ac:cxnSpMkLst>
            <pc:docMk/>
            <pc:sldMk cId="1297502678" sldId="2147471320"/>
            <ac:cxnSpMk id="52" creationId="{A55D149B-1295-4190-A67B-2E011160E901}"/>
          </ac:cxnSpMkLst>
        </pc:cxnChg>
        <pc:cxnChg chg="mod">
          <ac:chgData name="John Paserba" userId="77bd6c8a-d0c1-4fea-8705-0169f65d0c0e" providerId="ADAL" clId="{EB9969EA-F4DF-4E5F-BC0E-DC65F9D6E1D0}" dt="2025-11-17T21:54:28.318" v="332" actId="1038"/>
          <ac:cxnSpMkLst>
            <pc:docMk/>
            <pc:sldMk cId="1297502678" sldId="2147471320"/>
            <ac:cxnSpMk id="53" creationId="{88D70D55-443C-42F0-92A1-8E02AF31D9FB}"/>
          </ac:cxnSpMkLst>
        </pc:cxnChg>
        <pc:cxnChg chg="mod">
          <ac:chgData name="John Paserba" userId="77bd6c8a-d0c1-4fea-8705-0169f65d0c0e" providerId="ADAL" clId="{EB9969EA-F4DF-4E5F-BC0E-DC65F9D6E1D0}" dt="2025-11-17T21:54:28.318" v="332" actId="1038"/>
          <ac:cxnSpMkLst>
            <pc:docMk/>
            <pc:sldMk cId="1297502678" sldId="2147471320"/>
            <ac:cxnSpMk id="57" creationId="{397A9F39-DAD3-4888-A3F3-047DD2E711A6}"/>
          </ac:cxnSpMkLst>
        </pc:cxnChg>
        <pc:cxnChg chg="mod">
          <ac:chgData name="John Paserba" userId="77bd6c8a-d0c1-4fea-8705-0169f65d0c0e" providerId="ADAL" clId="{EB9969EA-F4DF-4E5F-BC0E-DC65F9D6E1D0}" dt="2025-11-17T21:54:28.318" v="332" actId="1038"/>
          <ac:cxnSpMkLst>
            <pc:docMk/>
            <pc:sldMk cId="1297502678" sldId="2147471320"/>
            <ac:cxnSpMk id="62" creationId="{3D7B8659-1712-4873-AD0F-33C2AF3CCCF9}"/>
          </ac:cxnSpMkLst>
        </pc:cxnChg>
        <pc:cxnChg chg="mod">
          <ac:chgData name="John Paserba" userId="77bd6c8a-d0c1-4fea-8705-0169f65d0c0e" providerId="ADAL" clId="{EB9969EA-F4DF-4E5F-BC0E-DC65F9D6E1D0}" dt="2025-11-17T21:54:28.318" v="332" actId="1038"/>
          <ac:cxnSpMkLst>
            <pc:docMk/>
            <pc:sldMk cId="1297502678" sldId="2147471320"/>
            <ac:cxnSpMk id="64" creationId="{BD1BAECD-02D1-4B3B-80C3-057ED79C37B5}"/>
          </ac:cxnSpMkLst>
        </pc:cxnChg>
        <pc:cxnChg chg="mod">
          <ac:chgData name="John Paserba" userId="77bd6c8a-d0c1-4fea-8705-0169f65d0c0e" providerId="ADAL" clId="{EB9969EA-F4DF-4E5F-BC0E-DC65F9D6E1D0}" dt="2025-11-17T21:54:28.318" v="332" actId="1038"/>
          <ac:cxnSpMkLst>
            <pc:docMk/>
            <pc:sldMk cId="1297502678" sldId="2147471320"/>
            <ac:cxnSpMk id="65" creationId="{E161679D-39A8-4502-B379-414278B5DC83}"/>
          </ac:cxnSpMkLst>
        </pc:cxnChg>
        <pc:cxnChg chg="mod">
          <ac:chgData name="John Paserba" userId="77bd6c8a-d0c1-4fea-8705-0169f65d0c0e" providerId="ADAL" clId="{EB9969EA-F4DF-4E5F-BC0E-DC65F9D6E1D0}" dt="2025-11-17T21:54:28.318" v="332" actId="1038"/>
          <ac:cxnSpMkLst>
            <pc:docMk/>
            <pc:sldMk cId="1297502678" sldId="2147471320"/>
            <ac:cxnSpMk id="66" creationId="{7E704AE7-AE42-4A65-8E51-BC6E509DA5B2}"/>
          </ac:cxnSpMkLst>
        </pc:cxnChg>
        <pc:cxnChg chg="mod">
          <ac:chgData name="John Paserba" userId="77bd6c8a-d0c1-4fea-8705-0169f65d0c0e" providerId="ADAL" clId="{EB9969EA-F4DF-4E5F-BC0E-DC65F9D6E1D0}" dt="2025-11-17T21:54:28.318" v="332" actId="1038"/>
          <ac:cxnSpMkLst>
            <pc:docMk/>
            <pc:sldMk cId="1297502678" sldId="2147471320"/>
            <ac:cxnSpMk id="67" creationId="{DF65E835-CD20-441F-AF52-0D8C0B3B52AE}"/>
          </ac:cxnSpMkLst>
        </pc:cxnChg>
        <pc:cxnChg chg="mod">
          <ac:chgData name="John Paserba" userId="77bd6c8a-d0c1-4fea-8705-0169f65d0c0e" providerId="ADAL" clId="{EB9969EA-F4DF-4E5F-BC0E-DC65F9D6E1D0}" dt="2025-11-17T21:54:28.318" v="332" actId="1038"/>
          <ac:cxnSpMkLst>
            <pc:docMk/>
            <pc:sldMk cId="1297502678" sldId="2147471320"/>
            <ac:cxnSpMk id="68" creationId="{B310F225-1C1C-43EB-817D-19FEA860EAAA}"/>
          </ac:cxnSpMkLst>
        </pc:cxnChg>
        <pc:cxnChg chg="mod">
          <ac:chgData name="John Paserba" userId="77bd6c8a-d0c1-4fea-8705-0169f65d0c0e" providerId="ADAL" clId="{EB9969EA-F4DF-4E5F-BC0E-DC65F9D6E1D0}" dt="2025-11-17T21:54:28.318" v="332" actId="1038"/>
          <ac:cxnSpMkLst>
            <pc:docMk/>
            <pc:sldMk cId="1297502678" sldId="2147471320"/>
            <ac:cxnSpMk id="70" creationId="{7247F8BE-1F74-4EDA-8AF6-E55A011DE4D2}"/>
          </ac:cxnSpMkLst>
        </pc:cxnChg>
        <pc:cxnChg chg="mod">
          <ac:chgData name="John Paserba" userId="77bd6c8a-d0c1-4fea-8705-0169f65d0c0e" providerId="ADAL" clId="{EB9969EA-F4DF-4E5F-BC0E-DC65F9D6E1D0}" dt="2025-11-17T21:54:28.318" v="332" actId="1038"/>
          <ac:cxnSpMkLst>
            <pc:docMk/>
            <pc:sldMk cId="1297502678" sldId="2147471320"/>
            <ac:cxnSpMk id="72" creationId="{05FC5DBC-903E-40A4-A343-AFD37AE1B5D0}"/>
          </ac:cxnSpMkLst>
        </pc:cxnChg>
        <pc:cxnChg chg="mod">
          <ac:chgData name="John Paserba" userId="77bd6c8a-d0c1-4fea-8705-0169f65d0c0e" providerId="ADAL" clId="{EB9969EA-F4DF-4E5F-BC0E-DC65F9D6E1D0}" dt="2025-11-17T21:54:28.318" v="332" actId="1038"/>
          <ac:cxnSpMkLst>
            <pc:docMk/>
            <pc:sldMk cId="1297502678" sldId="2147471320"/>
            <ac:cxnSpMk id="73" creationId="{97BFA0E8-283D-4C6C-885D-D6582061FACB}"/>
          </ac:cxnSpMkLst>
        </pc:cxnChg>
        <pc:cxnChg chg="mod">
          <ac:chgData name="John Paserba" userId="77bd6c8a-d0c1-4fea-8705-0169f65d0c0e" providerId="ADAL" clId="{EB9969EA-F4DF-4E5F-BC0E-DC65F9D6E1D0}" dt="2025-11-17T21:54:28.318" v="332" actId="1038"/>
          <ac:cxnSpMkLst>
            <pc:docMk/>
            <pc:sldMk cId="1297502678" sldId="2147471320"/>
            <ac:cxnSpMk id="74" creationId="{426B89AC-AB0C-43B0-8C6D-7001C1A27BBE}"/>
          </ac:cxnSpMkLst>
        </pc:cxnChg>
        <pc:cxnChg chg="mod">
          <ac:chgData name="John Paserba" userId="77bd6c8a-d0c1-4fea-8705-0169f65d0c0e" providerId="ADAL" clId="{EB9969EA-F4DF-4E5F-BC0E-DC65F9D6E1D0}" dt="2025-11-17T21:54:28.318" v="332" actId="1038"/>
          <ac:cxnSpMkLst>
            <pc:docMk/>
            <pc:sldMk cId="1297502678" sldId="2147471320"/>
            <ac:cxnSpMk id="75" creationId="{EC085015-F839-4E67-8158-1DF004A8408F}"/>
          </ac:cxnSpMkLst>
        </pc:cxnChg>
        <pc:cxnChg chg="mod">
          <ac:chgData name="John Paserba" userId="77bd6c8a-d0c1-4fea-8705-0169f65d0c0e" providerId="ADAL" clId="{EB9969EA-F4DF-4E5F-BC0E-DC65F9D6E1D0}" dt="2025-11-17T21:54:28.318" v="332" actId="1038"/>
          <ac:cxnSpMkLst>
            <pc:docMk/>
            <pc:sldMk cId="1297502678" sldId="2147471320"/>
            <ac:cxnSpMk id="76" creationId="{35FC008B-C6BE-4DA5-959D-4916DA6B521D}"/>
          </ac:cxnSpMkLst>
        </pc:cxnChg>
        <pc:cxnChg chg="mod">
          <ac:chgData name="John Paserba" userId="77bd6c8a-d0c1-4fea-8705-0169f65d0c0e" providerId="ADAL" clId="{EB9969EA-F4DF-4E5F-BC0E-DC65F9D6E1D0}" dt="2025-11-17T21:54:28.318" v="332" actId="1038"/>
          <ac:cxnSpMkLst>
            <pc:docMk/>
            <pc:sldMk cId="1297502678" sldId="2147471320"/>
            <ac:cxnSpMk id="77" creationId="{1D25E83D-4095-4794-8E6F-4CD9A647C4EB}"/>
          </ac:cxnSpMkLst>
        </pc:cxnChg>
        <pc:cxnChg chg="mod">
          <ac:chgData name="John Paserba" userId="77bd6c8a-d0c1-4fea-8705-0169f65d0c0e" providerId="ADAL" clId="{EB9969EA-F4DF-4E5F-BC0E-DC65F9D6E1D0}" dt="2025-11-17T21:54:28.318" v="332" actId="1038"/>
          <ac:cxnSpMkLst>
            <pc:docMk/>
            <pc:sldMk cId="1297502678" sldId="2147471320"/>
            <ac:cxnSpMk id="78" creationId="{A2BE79F7-FDCB-485F-B40F-2EB053A7FCDE}"/>
          </ac:cxnSpMkLst>
        </pc:cxnChg>
        <pc:cxnChg chg="mod">
          <ac:chgData name="John Paserba" userId="77bd6c8a-d0c1-4fea-8705-0169f65d0c0e" providerId="ADAL" clId="{EB9969EA-F4DF-4E5F-BC0E-DC65F9D6E1D0}" dt="2025-11-17T21:54:28.318" v="332" actId="1038"/>
          <ac:cxnSpMkLst>
            <pc:docMk/>
            <pc:sldMk cId="1297502678" sldId="2147471320"/>
            <ac:cxnSpMk id="79" creationId="{5E060B01-38BD-403C-90CA-9E3E43BEEE0E}"/>
          </ac:cxnSpMkLst>
        </pc:cxnChg>
        <pc:cxnChg chg="mod">
          <ac:chgData name="John Paserba" userId="77bd6c8a-d0c1-4fea-8705-0169f65d0c0e" providerId="ADAL" clId="{EB9969EA-F4DF-4E5F-BC0E-DC65F9D6E1D0}" dt="2025-11-17T21:54:28.318" v="332" actId="1038"/>
          <ac:cxnSpMkLst>
            <pc:docMk/>
            <pc:sldMk cId="1297502678" sldId="2147471320"/>
            <ac:cxnSpMk id="80" creationId="{BEF02BFB-A55F-4AC1-A492-74FD99FE7069}"/>
          </ac:cxnSpMkLst>
        </pc:cxnChg>
        <pc:cxnChg chg="mod">
          <ac:chgData name="John Paserba" userId="77bd6c8a-d0c1-4fea-8705-0169f65d0c0e" providerId="ADAL" clId="{EB9969EA-F4DF-4E5F-BC0E-DC65F9D6E1D0}" dt="2025-11-17T21:54:28.318" v="332" actId="1038"/>
          <ac:cxnSpMkLst>
            <pc:docMk/>
            <pc:sldMk cId="1297502678" sldId="2147471320"/>
            <ac:cxnSpMk id="82" creationId="{57E08843-ABD1-46CC-B301-1BC91FE80DC3}"/>
          </ac:cxnSpMkLst>
        </pc:cxnChg>
        <pc:cxnChg chg="mod">
          <ac:chgData name="John Paserba" userId="77bd6c8a-d0c1-4fea-8705-0169f65d0c0e" providerId="ADAL" clId="{EB9969EA-F4DF-4E5F-BC0E-DC65F9D6E1D0}" dt="2025-11-17T21:54:28.318" v="332" actId="1038"/>
          <ac:cxnSpMkLst>
            <pc:docMk/>
            <pc:sldMk cId="1297502678" sldId="2147471320"/>
            <ac:cxnSpMk id="83" creationId="{8FE478B2-3463-4899-9923-F958044E1673}"/>
          </ac:cxnSpMkLst>
        </pc:cxnChg>
        <pc:cxnChg chg="mod">
          <ac:chgData name="John Paserba" userId="77bd6c8a-d0c1-4fea-8705-0169f65d0c0e" providerId="ADAL" clId="{EB9969EA-F4DF-4E5F-BC0E-DC65F9D6E1D0}" dt="2025-11-17T21:54:28.318" v="332" actId="1038"/>
          <ac:cxnSpMkLst>
            <pc:docMk/>
            <pc:sldMk cId="1297502678" sldId="2147471320"/>
            <ac:cxnSpMk id="84" creationId="{D7EF2677-F938-4668-9ABC-DDB61721AE46}"/>
          </ac:cxnSpMkLst>
        </pc:cxnChg>
        <pc:cxnChg chg="mod">
          <ac:chgData name="John Paserba" userId="77bd6c8a-d0c1-4fea-8705-0169f65d0c0e" providerId="ADAL" clId="{EB9969EA-F4DF-4E5F-BC0E-DC65F9D6E1D0}" dt="2025-11-17T21:54:28.318" v="332" actId="1038"/>
          <ac:cxnSpMkLst>
            <pc:docMk/>
            <pc:sldMk cId="1297502678" sldId="2147471320"/>
            <ac:cxnSpMk id="85" creationId="{E8303E39-BB53-4E15-B594-D442979EB7A9}"/>
          </ac:cxnSpMkLst>
        </pc:cxnChg>
        <pc:cxnChg chg="mod">
          <ac:chgData name="John Paserba" userId="77bd6c8a-d0c1-4fea-8705-0169f65d0c0e" providerId="ADAL" clId="{EB9969EA-F4DF-4E5F-BC0E-DC65F9D6E1D0}" dt="2025-11-17T21:54:28.318" v="332" actId="1038"/>
          <ac:cxnSpMkLst>
            <pc:docMk/>
            <pc:sldMk cId="1297502678" sldId="2147471320"/>
            <ac:cxnSpMk id="86" creationId="{F0958FC6-5556-4A81-972E-1441B41B8A17}"/>
          </ac:cxnSpMkLst>
        </pc:cxnChg>
        <pc:cxnChg chg="mod">
          <ac:chgData name="John Paserba" userId="77bd6c8a-d0c1-4fea-8705-0169f65d0c0e" providerId="ADAL" clId="{EB9969EA-F4DF-4E5F-BC0E-DC65F9D6E1D0}" dt="2025-11-17T21:54:28.318" v="332" actId="1038"/>
          <ac:cxnSpMkLst>
            <pc:docMk/>
            <pc:sldMk cId="1297502678" sldId="2147471320"/>
            <ac:cxnSpMk id="87" creationId="{E36D9E71-110D-4A6B-96CA-1BF2495AB4BD}"/>
          </ac:cxnSpMkLst>
        </pc:cxnChg>
        <pc:cxnChg chg="mod">
          <ac:chgData name="John Paserba" userId="77bd6c8a-d0c1-4fea-8705-0169f65d0c0e" providerId="ADAL" clId="{EB9969EA-F4DF-4E5F-BC0E-DC65F9D6E1D0}" dt="2025-11-17T21:54:28.318" v="332" actId="1038"/>
          <ac:cxnSpMkLst>
            <pc:docMk/>
            <pc:sldMk cId="1297502678" sldId="2147471320"/>
            <ac:cxnSpMk id="88" creationId="{FA8E5286-6C7B-4333-9B8C-8DDAC2A4A77E}"/>
          </ac:cxnSpMkLst>
        </pc:cxnChg>
        <pc:cxnChg chg="mod">
          <ac:chgData name="John Paserba" userId="77bd6c8a-d0c1-4fea-8705-0169f65d0c0e" providerId="ADAL" clId="{EB9969EA-F4DF-4E5F-BC0E-DC65F9D6E1D0}" dt="2025-11-17T21:54:28.318" v="332" actId="1038"/>
          <ac:cxnSpMkLst>
            <pc:docMk/>
            <pc:sldMk cId="1297502678" sldId="2147471320"/>
            <ac:cxnSpMk id="89" creationId="{780A79AC-DC0C-4CB7-AE91-CA773A34DD09}"/>
          </ac:cxnSpMkLst>
        </pc:cxnChg>
        <pc:cxnChg chg="mod">
          <ac:chgData name="John Paserba" userId="77bd6c8a-d0c1-4fea-8705-0169f65d0c0e" providerId="ADAL" clId="{EB9969EA-F4DF-4E5F-BC0E-DC65F9D6E1D0}" dt="2025-11-17T21:54:28.318" v="332" actId="1038"/>
          <ac:cxnSpMkLst>
            <pc:docMk/>
            <pc:sldMk cId="1297502678" sldId="2147471320"/>
            <ac:cxnSpMk id="90" creationId="{828F7FE7-AA47-4002-871C-A470B1CD2185}"/>
          </ac:cxnSpMkLst>
        </pc:cxnChg>
        <pc:cxnChg chg="mod">
          <ac:chgData name="John Paserba" userId="77bd6c8a-d0c1-4fea-8705-0169f65d0c0e" providerId="ADAL" clId="{EB9969EA-F4DF-4E5F-BC0E-DC65F9D6E1D0}" dt="2025-11-17T21:54:28.318" v="332" actId="1038"/>
          <ac:cxnSpMkLst>
            <pc:docMk/>
            <pc:sldMk cId="1297502678" sldId="2147471320"/>
            <ac:cxnSpMk id="98" creationId="{7ED5AD02-D698-477B-9105-57F9B2D51E78}"/>
          </ac:cxnSpMkLst>
        </pc:cxnChg>
        <pc:cxnChg chg="mod">
          <ac:chgData name="John Paserba" userId="77bd6c8a-d0c1-4fea-8705-0169f65d0c0e" providerId="ADAL" clId="{EB9969EA-F4DF-4E5F-BC0E-DC65F9D6E1D0}" dt="2025-11-17T21:54:28.318" v="332" actId="1038"/>
          <ac:cxnSpMkLst>
            <pc:docMk/>
            <pc:sldMk cId="1297502678" sldId="2147471320"/>
            <ac:cxnSpMk id="99" creationId="{C0C81E53-B096-49B5-AF68-C676CEDF5BE0}"/>
          </ac:cxnSpMkLst>
        </pc:cxnChg>
        <pc:cxnChg chg="mod">
          <ac:chgData name="John Paserba" userId="77bd6c8a-d0c1-4fea-8705-0169f65d0c0e" providerId="ADAL" clId="{EB9969EA-F4DF-4E5F-BC0E-DC65F9D6E1D0}" dt="2025-11-17T21:54:28.318" v="332" actId="1038"/>
          <ac:cxnSpMkLst>
            <pc:docMk/>
            <pc:sldMk cId="1297502678" sldId="2147471320"/>
            <ac:cxnSpMk id="100" creationId="{0A422005-AAAD-401C-8A16-0254B389D8CC}"/>
          </ac:cxnSpMkLst>
        </pc:cxnChg>
        <pc:cxnChg chg="mod">
          <ac:chgData name="John Paserba" userId="77bd6c8a-d0c1-4fea-8705-0169f65d0c0e" providerId="ADAL" clId="{EB9969EA-F4DF-4E5F-BC0E-DC65F9D6E1D0}" dt="2025-11-17T21:54:28.318" v="332" actId="1038"/>
          <ac:cxnSpMkLst>
            <pc:docMk/>
            <pc:sldMk cId="1297502678" sldId="2147471320"/>
            <ac:cxnSpMk id="114" creationId="{8DE27CC4-FF14-4F47-9DFD-93DBE1C9FE6C}"/>
          </ac:cxnSpMkLst>
        </pc:cxnChg>
        <pc:cxnChg chg="mod">
          <ac:chgData name="John Paserba" userId="77bd6c8a-d0c1-4fea-8705-0169f65d0c0e" providerId="ADAL" clId="{EB9969EA-F4DF-4E5F-BC0E-DC65F9D6E1D0}" dt="2025-11-17T21:54:28.318" v="332" actId="1038"/>
          <ac:cxnSpMkLst>
            <pc:docMk/>
            <pc:sldMk cId="1297502678" sldId="2147471320"/>
            <ac:cxnSpMk id="115" creationId="{CCBEF7C4-30A6-40D1-B81C-C3E9A3C1A525}"/>
          </ac:cxnSpMkLst>
        </pc:cxnChg>
        <pc:cxnChg chg="mod">
          <ac:chgData name="John Paserba" userId="77bd6c8a-d0c1-4fea-8705-0169f65d0c0e" providerId="ADAL" clId="{EB9969EA-F4DF-4E5F-BC0E-DC65F9D6E1D0}" dt="2025-11-17T21:54:28.318" v="332" actId="1038"/>
          <ac:cxnSpMkLst>
            <pc:docMk/>
            <pc:sldMk cId="1297502678" sldId="2147471320"/>
            <ac:cxnSpMk id="116" creationId="{1B9993A0-0C2D-40BE-8E2F-DE65B24F6E0D}"/>
          </ac:cxnSpMkLst>
        </pc:cxnChg>
        <pc:cxnChg chg="mod">
          <ac:chgData name="John Paserba" userId="77bd6c8a-d0c1-4fea-8705-0169f65d0c0e" providerId="ADAL" clId="{EB9969EA-F4DF-4E5F-BC0E-DC65F9D6E1D0}" dt="2025-11-17T21:54:28.318" v="332" actId="1038"/>
          <ac:cxnSpMkLst>
            <pc:docMk/>
            <pc:sldMk cId="1297502678" sldId="2147471320"/>
            <ac:cxnSpMk id="126" creationId="{EE2A6E98-80BD-4DED-831A-89692B091598}"/>
          </ac:cxnSpMkLst>
        </pc:cxnChg>
        <pc:cxnChg chg="mod">
          <ac:chgData name="John Paserba" userId="77bd6c8a-d0c1-4fea-8705-0169f65d0c0e" providerId="ADAL" clId="{EB9969EA-F4DF-4E5F-BC0E-DC65F9D6E1D0}" dt="2025-11-17T21:54:28.318" v="332" actId="1038"/>
          <ac:cxnSpMkLst>
            <pc:docMk/>
            <pc:sldMk cId="1297502678" sldId="2147471320"/>
            <ac:cxnSpMk id="3328003" creationId="{EB74F2A8-CD84-4CDF-AB58-6F4215D88EE0}"/>
          </ac:cxnSpMkLst>
        </pc:cxnChg>
        <pc:cxnChg chg="mod">
          <ac:chgData name="John Paserba" userId="77bd6c8a-d0c1-4fea-8705-0169f65d0c0e" providerId="ADAL" clId="{EB9969EA-F4DF-4E5F-BC0E-DC65F9D6E1D0}" dt="2025-11-17T21:54:28.318" v="332" actId="1038"/>
          <ac:cxnSpMkLst>
            <pc:docMk/>
            <pc:sldMk cId="1297502678" sldId="2147471320"/>
            <ac:cxnSpMk id="3328009" creationId="{4EAADC1C-5245-4E1B-831E-71AD29495380}"/>
          </ac:cxnSpMkLst>
        </pc:cxnChg>
        <pc:cxnChg chg="mod">
          <ac:chgData name="John Paserba" userId="77bd6c8a-d0c1-4fea-8705-0169f65d0c0e" providerId="ADAL" clId="{EB9969EA-F4DF-4E5F-BC0E-DC65F9D6E1D0}" dt="2025-11-17T21:54:28.318" v="332" actId="1038"/>
          <ac:cxnSpMkLst>
            <pc:docMk/>
            <pc:sldMk cId="1297502678" sldId="2147471320"/>
            <ac:cxnSpMk id="3328023" creationId="{AE55256A-7CDE-4BFD-870D-46B336589EC2}"/>
          </ac:cxnSpMkLst>
        </pc:cxnChg>
      </pc:sldChg>
      <pc:sldChg chg="ord">
        <pc:chgData name="John Paserba" userId="77bd6c8a-d0c1-4fea-8705-0169f65d0c0e" providerId="ADAL" clId="{EB9969EA-F4DF-4E5F-BC0E-DC65F9D6E1D0}" dt="2025-11-17T21:15:21.778" v="124"/>
        <pc:sldMkLst>
          <pc:docMk/>
          <pc:sldMk cId="4256397748" sldId="2147471321"/>
        </pc:sldMkLst>
      </pc:sldChg>
      <pc:sldChg chg="ord">
        <pc:chgData name="John Paserba" userId="77bd6c8a-d0c1-4fea-8705-0169f65d0c0e" providerId="ADAL" clId="{EB9969EA-F4DF-4E5F-BC0E-DC65F9D6E1D0}" dt="2025-11-17T21:22:31.251" v="176"/>
        <pc:sldMkLst>
          <pc:docMk/>
          <pc:sldMk cId="1962783679" sldId="2147471322"/>
        </pc:sldMkLst>
      </pc:sldChg>
      <pc:sldChg chg="ord">
        <pc:chgData name="John Paserba" userId="77bd6c8a-d0c1-4fea-8705-0169f65d0c0e" providerId="ADAL" clId="{EB9969EA-F4DF-4E5F-BC0E-DC65F9D6E1D0}" dt="2025-11-17T21:16:17.837" v="129"/>
        <pc:sldMkLst>
          <pc:docMk/>
          <pc:sldMk cId="1381740205" sldId="2147471323"/>
        </pc:sldMkLst>
      </pc:sldChg>
      <pc:sldChg chg="del">
        <pc:chgData name="John Paserba" userId="77bd6c8a-d0c1-4fea-8705-0169f65d0c0e" providerId="ADAL" clId="{EB9969EA-F4DF-4E5F-BC0E-DC65F9D6E1D0}" dt="2025-11-17T20:57:58.594" v="2" actId="47"/>
        <pc:sldMkLst>
          <pc:docMk/>
          <pc:sldMk cId="227166264" sldId="2147471327"/>
        </pc:sldMkLst>
      </pc:sldChg>
      <pc:sldChg chg="modSp mod">
        <pc:chgData name="John Paserba" userId="77bd6c8a-d0c1-4fea-8705-0169f65d0c0e" providerId="ADAL" clId="{EB9969EA-F4DF-4E5F-BC0E-DC65F9D6E1D0}" dt="2025-11-17T21:37:03.862" v="192" actId="20577"/>
        <pc:sldMkLst>
          <pc:docMk/>
          <pc:sldMk cId="2579604733" sldId="2147471482"/>
        </pc:sldMkLst>
        <pc:spChg chg="mod">
          <ac:chgData name="John Paserba" userId="77bd6c8a-d0c1-4fea-8705-0169f65d0c0e" providerId="ADAL" clId="{EB9969EA-F4DF-4E5F-BC0E-DC65F9D6E1D0}" dt="2025-11-17T21:37:03.862" v="192" actId="20577"/>
          <ac:spMkLst>
            <pc:docMk/>
            <pc:sldMk cId="2579604733" sldId="2147471482"/>
            <ac:spMk id="2" creationId="{24EFA49A-D6F0-94EB-2E4A-46AC510574DD}"/>
          </ac:spMkLst>
        </pc:spChg>
      </pc:sldChg>
      <pc:sldChg chg="modSp mod">
        <pc:chgData name="John Paserba" userId="77bd6c8a-d0c1-4fea-8705-0169f65d0c0e" providerId="ADAL" clId="{EB9969EA-F4DF-4E5F-BC0E-DC65F9D6E1D0}" dt="2025-11-17T21:45:29.569" v="198" actId="20577"/>
        <pc:sldMkLst>
          <pc:docMk/>
          <pc:sldMk cId="915421652" sldId="2147471485"/>
        </pc:sldMkLst>
        <pc:spChg chg="mod">
          <ac:chgData name="John Paserba" userId="77bd6c8a-d0c1-4fea-8705-0169f65d0c0e" providerId="ADAL" clId="{EB9969EA-F4DF-4E5F-BC0E-DC65F9D6E1D0}" dt="2025-11-17T21:45:29.569" v="198" actId="20577"/>
          <ac:spMkLst>
            <pc:docMk/>
            <pc:sldMk cId="915421652" sldId="2147471485"/>
            <ac:spMk id="2" creationId="{24EFA49A-D6F0-94EB-2E4A-46AC510574DD}"/>
          </ac:spMkLst>
        </pc:spChg>
      </pc:sldChg>
      <pc:sldChg chg="del">
        <pc:chgData name="John Paserba" userId="77bd6c8a-d0c1-4fea-8705-0169f65d0c0e" providerId="ADAL" clId="{EB9969EA-F4DF-4E5F-BC0E-DC65F9D6E1D0}" dt="2025-11-17T21:14:10.671" v="114" actId="47"/>
        <pc:sldMkLst>
          <pc:docMk/>
          <pc:sldMk cId="36691321" sldId="2147471487"/>
        </pc:sldMkLst>
      </pc:sldChg>
      <pc:sldChg chg="modSp add mod">
        <pc:chgData name="John Paserba" userId="77bd6c8a-d0c1-4fea-8705-0169f65d0c0e" providerId="ADAL" clId="{EB9969EA-F4DF-4E5F-BC0E-DC65F9D6E1D0}" dt="2025-11-17T22:06:37.171" v="523" actId="12"/>
        <pc:sldMkLst>
          <pc:docMk/>
          <pc:sldMk cId="1509309180" sldId="2147471499"/>
        </pc:sldMkLst>
        <pc:spChg chg="mod">
          <ac:chgData name="John Paserba" userId="77bd6c8a-d0c1-4fea-8705-0169f65d0c0e" providerId="ADAL" clId="{EB9969EA-F4DF-4E5F-BC0E-DC65F9D6E1D0}" dt="2025-11-17T22:06:37.171" v="523" actId="12"/>
          <ac:spMkLst>
            <pc:docMk/>
            <pc:sldMk cId="1509309180" sldId="2147471499"/>
            <ac:spMk id="3" creationId="{E6993746-A424-4F09-867F-B919F4E18ECB}"/>
          </ac:spMkLst>
        </pc:spChg>
      </pc:sldChg>
      <pc:sldChg chg="modSp add mod">
        <pc:chgData name="John Paserba" userId="77bd6c8a-d0c1-4fea-8705-0169f65d0c0e" providerId="ADAL" clId="{EB9969EA-F4DF-4E5F-BC0E-DC65F9D6E1D0}" dt="2025-11-17T22:16:17.660" v="707" actId="255"/>
        <pc:sldMkLst>
          <pc:docMk/>
          <pc:sldMk cId="3911101945" sldId="2147471500"/>
        </pc:sldMkLst>
        <pc:spChg chg="mod">
          <ac:chgData name="John Paserba" userId="77bd6c8a-d0c1-4fea-8705-0169f65d0c0e" providerId="ADAL" clId="{EB9969EA-F4DF-4E5F-BC0E-DC65F9D6E1D0}" dt="2025-11-17T22:16:17.660" v="707" actId="255"/>
          <ac:spMkLst>
            <pc:docMk/>
            <pc:sldMk cId="3911101945" sldId="2147471500"/>
            <ac:spMk id="53" creationId="{743FCCFB-D72E-5E22-B417-6E3A960B4245}"/>
          </ac:spMkLst>
        </pc:spChg>
      </pc:sldChg>
      <pc:sldChg chg="add">
        <pc:chgData name="John Paserba" userId="77bd6c8a-d0c1-4fea-8705-0169f65d0c0e" providerId="ADAL" clId="{EB9969EA-F4DF-4E5F-BC0E-DC65F9D6E1D0}" dt="2025-11-17T21:42:09.955" v="197"/>
        <pc:sldMkLst>
          <pc:docMk/>
          <pc:sldMk cId="3293842999" sldId="2147471502"/>
        </pc:sldMkLst>
      </pc:sldChg>
      <pc:sldChg chg="del">
        <pc:chgData name="John Paserba" userId="77bd6c8a-d0c1-4fea-8705-0169f65d0c0e" providerId="ADAL" clId="{EB9969EA-F4DF-4E5F-BC0E-DC65F9D6E1D0}" dt="2025-11-17T21:15:43.380" v="125" actId="47"/>
        <pc:sldMkLst>
          <pc:docMk/>
          <pc:sldMk cId="3331998248" sldId="2147471752"/>
        </pc:sldMkLst>
      </pc:sldChg>
      <pc:sldChg chg="ord">
        <pc:chgData name="John Paserba" userId="77bd6c8a-d0c1-4fea-8705-0169f65d0c0e" providerId="ADAL" clId="{EB9969EA-F4DF-4E5F-BC0E-DC65F9D6E1D0}" dt="2025-11-17T21:15:54.050" v="127"/>
        <pc:sldMkLst>
          <pc:docMk/>
          <pc:sldMk cId="3978472136" sldId="2147471754"/>
        </pc:sldMkLst>
      </pc:sldChg>
      <pc:sldChg chg="modSp mod">
        <pc:chgData name="John Paserba" userId="77bd6c8a-d0c1-4fea-8705-0169f65d0c0e" providerId="ADAL" clId="{EB9969EA-F4DF-4E5F-BC0E-DC65F9D6E1D0}" dt="2025-11-17T23:14:05.489" v="820" actId="1076"/>
        <pc:sldMkLst>
          <pc:docMk/>
          <pc:sldMk cId="1401808193" sldId="2147471766"/>
        </pc:sldMkLst>
        <pc:graphicFrameChg chg="mod modGraphic">
          <ac:chgData name="John Paserba" userId="77bd6c8a-d0c1-4fea-8705-0169f65d0c0e" providerId="ADAL" clId="{EB9969EA-F4DF-4E5F-BC0E-DC65F9D6E1D0}" dt="2025-11-17T23:14:05.489" v="820" actId="1076"/>
          <ac:graphicFrameMkLst>
            <pc:docMk/>
            <pc:sldMk cId="1401808193" sldId="2147471766"/>
            <ac:graphicFrameMk id="3" creationId="{23B054F1-D60E-4D09-B541-4C1042DDA274}"/>
          </ac:graphicFrameMkLst>
        </pc:graphicFrameChg>
      </pc:sldChg>
      <pc:sldChg chg="delSp modSp mod">
        <pc:chgData name="John Paserba" userId="77bd6c8a-d0c1-4fea-8705-0169f65d0c0e" providerId="ADAL" clId="{EB9969EA-F4DF-4E5F-BC0E-DC65F9D6E1D0}" dt="2025-11-17T23:46:08.963" v="1569" actId="20577"/>
        <pc:sldMkLst>
          <pc:docMk/>
          <pc:sldMk cId="1003790712" sldId="2147471796"/>
        </pc:sldMkLst>
        <pc:spChg chg="mod">
          <ac:chgData name="John Paserba" userId="77bd6c8a-d0c1-4fea-8705-0169f65d0c0e" providerId="ADAL" clId="{EB9969EA-F4DF-4E5F-BC0E-DC65F9D6E1D0}" dt="2025-11-17T23:46:08.963" v="1569" actId="20577"/>
          <ac:spMkLst>
            <pc:docMk/>
            <pc:sldMk cId="1003790712" sldId="2147471796"/>
            <ac:spMk id="3" creationId="{E6993746-A424-4F09-867F-B919F4E18ECB}"/>
          </ac:spMkLst>
        </pc:spChg>
        <pc:spChg chg="mod">
          <ac:chgData name="John Paserba" userId="77bd6c8a-d0c1-4fea-8705-0169f65d0c0e" providerId="ADAL" clId="{EB9969EA-F4DF-4E5F-BC0E-DC65F9D6E1D0}" dt="2025-11-17T23:23:26.505" v="1077" actId="20577"/>
          <ac:spMkLst>
            <pc:docMk/>
            <pc:sldMk cId="1003790712" sldId="2147471796"/>
            <ac:spMk id="3328002" creationId="{00000000-0000-0000-0000-000000000000}"/>
          </ac:spMkLst>
        </pc:spChg>
        <pc:picChg chg="del">
          <ac:chgData name="John Paserba" userId="77bd6c8a-d0c1-4fea-8705-0169f65d0c0e" providerId="ADAL" clId="{EB9969EA-F4DF-4E5F-BC0E-DC65F9D6E1D0}" dt="2025-11-17T23:30:29.212" v="1240"/>
          <ac:picMkLst>
            <pc:docMk/>
            <pc:sldMk cId="1003790712" sldId="2147471796"/>
            <ac:picMk id="2" creationId="{DDB3CEA6-CECF-46C6-A180-C150A38E7419}"/>
          </ac:picMkLst>
        </pc:picChg>
      </pc:sldChg>
      <pc:sldChg chg="del">
        <pc:chgData name="John Paserba" userId="77bd6c8a-d0c1-4fea-8705-0169f65d0c0e" providerId="ADAL" clId="{EB9969EA-F4DF-4E5F-BC0E-DC65F9D6E1D0}" dt="2025-11-17T21:47:24.665" v="203" actId="47"/>
        <pc:sldMkLst>
          <pc:docMk/>
          <pc:sldMk cId="3277149052" sldId="2147471912"/>
        </pc:sldMkLst>
      </pc:sldChg>
      <pc:sldChg chg="addSp delSp modSp del mod">
        <pc:chgData name="John Paserba" userId="77bd6c8a-d0c1-4fea-8705-0169f65d0c0e" providerId="ADAL" clId="{EB9969EA-F4DF-4E5F-BC0E-DC65F9D6E1D0}" dt="2025-11-17T22:09:36.992" v="583" actId="255"/>
        <pc:sldMkLst>
          <pc:docMk/>
          <pc:sldMk cId="2907172426" sldId="2147471914"/>
        </pc:sldMkLst>
        <pc:spChg chg="del">
          <ac:chgData name="John Paserba" userId="77bd6c8a-d0c1-4fea-8705-0169f65d0c0e" providerId="ADAL" clId="{EB9969EA-F4DF-4E5F-BC0E-DC65F9D6E1D0}" dt="2025-11-17T21:17:55.508" v="132" actId="478"/>
          <ac:spMkLst>
            <pc:docMk/>
            <pc:sldMk cId="2907172426" sldId="2147471914"/>
            <ac:spMk id="3" creationId="{E6993746-A424-4F09-867F-B919F4E18ECB}"/>
          </ac:spMkLst>
        </pc:spChg>
        <pc:spChg chg="mod">
          <ac:chgData name="John Paserba" userId="77bd6c8a-d0c1-4fea-8705-0169f65d0c0e" providerId="ADAL" clId="{EB9969EA-F4DF-4E5F-BC0E-DC65F9D6E1D0}" dt="2025-11-17T21:09:40.113" v="22" actId="1076"/>
          <ac:spMkLst>
            <pc:docMk/>
            <pc:sldMk cId="2907172426" sldId="2147471914"/>
            <ac:spMk id="7" creationId="{97359CEC-5F3F-4C5E-AC6A-BD37EBE9D65D}"/>
          </ac:spMkLst>
        </pc:spChg>
        <pc:spChg chg="add del mod">
          <ac:chgData name="John Paserba" userId="77bd6c8a-d0c1-4fea-8705-0169f65d0c0e" providerId="ADAL" clId="{EB9969EA-F4DF-4E5F-BC0E-DC65F9D6E1D0}" dt="2025-11-17T21:17:59.154" v="133" actId="478"/>
          <ac:spMkLst>
            <pc:docMk/>
            <pc:sldMk cId="2907172426" sldId="2147471914"/>
            <ac:spMk id="13" creationId="{492B25B7-A20D-478D-B20C-2412E610492D}"/>
          </ac:spMkLst>
        </pc:spChg>
        <pc:spChg chg="mod">
          <ac:chgData name="John Paserba" userId="77bd6c8a-d0c1-4fea-8705-0169f65d0c0e" providerId="ADAL" clId="{EB9969EA-F4DF-4E5F-BC0E-DC65F9D6E1D0}" dt="2025-11-17T21:54:34.556" v="333" actId="113"/>
          <ac:spMkLst>
            <pc:docMk/>
            <pc:sldMk cId="2907172426" sldId="2147471914"/>
            <ac:spMk id="3328002" creationId="{00000000-0000-0000-0000-000000000000}"/>
          </ac:spMkLst>
        </pc:spChg>
        <pc:grpChg chg="mod">
          <ac:chgData name="John Paserba" userId="77bd6c8a-d0c1-4fea-8705-0169f65d0c0e" providerId="ADAL" clId="{EB9969EA-F4DF-4E5F-BC0E-DC65F9D6E1D0}" dt="2025-11-17T21:09:40.113" v="22" actId="1076"/>
          <ac:grpSpMkLst>
            <pc:docMk/>
            <pc:sldMk cId="2907172426" sldId="2147471914"/>
            <ac:grpSpMk id="6" creationId="{E76402A8-38B8-4FCE-8F15-0DB21044F695}"/>
          </ac:grpSpMkLst>
        </pc:grpChg>
        <pc:graphicFrameChg chg="mod">
          <ac:chgData name="John Paserba" userId="77bd6c8a-d0c1-4fea-8705-0169f65d0c0e" providerId="ADAL" clId="{EB9969EA-F4DF-4E5F-BC0E-DC65F9D6E1D0}" dt="2025-11-17T22:09:36.992" v="583" actId="255"/>
          <ac:graphicFrameMkLst>
            <pc:docMk/>
            <pc:sldMk cId="2907172426" sldId="2147471914"/>
            <ac:graphicFrameMk id="12" creationId="{951CB63D-7EED-4038-8094-B71645969B73}"/>
          </ac:graphicFrameMkLst>
        </pc:graphicFrameChg>
        <pc:picChg chg="mod">
          <ac:chgData name="John Paserba" userId="77bd6c8a-d0c1-4fea-8705-0169f65d0c0e" providerId="ADAL" clId="{EB9969EA-F4DF-4E5F-BC0E-DC65F9D6E1D0}" dt="2025-11-17T21:09:40.113" v="22" actId="1076"/>
          <ac:picMkLst>
            <pc:docMk/>
            <pc:sldMk cId="2907172426" sldId="2147471914"/>
            <ac:picMk id="8" creationId="{1723BFE1-CABB-4B94-8303-63555811FA38}"/>
          </ac:picMkLst>
        </pc:picChg>
      </pc:sldChg>
      <pc:sldChg chg="modSp del mod">
        <pc:chgData name="John Paserba" userId="77bd6c8a-d0c1-4fea-8705-0169f65d0c0e" providerId="ADAL" clId="{EB9969EA-F4DF-4E5F-BC0E-DC65F9D6E1D0}" dt="2025-11-17T23:16:34.792" v="826" actId="20577"/>
        <pc:sldMkLst>
          <pc:docMk/>
          <pc:sldMk cId="2343743741" sldId="2147471915"/>
        </pc:sldMkLst>
        <pc:spChg chg="mod">
          <ac:chgData name="John Paserba" userId="77bd6c8a-d0c1-4fea-8705-0169f65d0c0e" providerId="ADAL" clId="{EB9969EA-F4DF-4E5F-BC0E-DC65F9D6E1D0}" dt="2025-11-17T23:16:34.792" v="826" actId="20577"/>
          <ac:spMkLst>
            <pc:docMk/>
            <pc:sldMk cId="2343743741" sldId="2147471915"/>
            <ac:spMk id="3" creationId="{E6993746-A424-4F09-867F-B919F4E18ECB}"/>
          </ac:spMkLst>
        </pc:spChg>
        <pc:spChg chg="mod">
          <ac:chgData name="John Paserba" userId="77bd6c8a-d0c1-4fea-8705-0169f65d0c0e" providerId="ADAL" clId="{EB9969EA-F4DF-4E5F-BC0E-DC65F9D6E1D0}" dt="2025-11-17T21:54:54.172" v="378" actId="113"/>
          <ac:spMkLst>
            <pc:docMk/>
            <pc:sldMk cId="2343743741" sldId="2147471915"/>
            <ac:spMk id="3328002" creationId="{00000000-0000-0000-0000-000000000000}"/>
          </ac:spMkLst>
        </pc:spChg>
      </pc:sldChg>
      <pc:sldChg chg="modSp add del mod">
        <pc:chgData name="John Paserba" userId="77bd6c8a-d0c1-4fea-8705-0169f65d0c0e" providerId="ADAL" clId="{EB9969EA-F4DF-4E5F-BC0E-DC65F9D6E1D0}" dt="2025-11-17T22:08:44.536" v="573" actId="27636"/>
        <pc:sldMkLst>
          <pc:docMk/>
          <pc:sldMk cId="2772096703" sldId="2147471917"/>
        </pc:sldMkLst>
        <pc:spChg chg="mod">
          <ac:chgData name="John Paserba" userId="77bd6c8a-d0c1-4fea-8705-0169f65d0c0e" providerId="ADAL" clId="{EB9969EA-F4DF-4E5F-BC0E-DC65F9D6E1D0}" dt="2025-11-17T22:08:44.536" v="573" actId="27636"/>
          <ac:spMkLst>
            <pc:docMk/>
            <pc:sldMk cId="2772096703" sldId="2147471917"/>
            <ac:spMk id="3" creationId="{E6993746-A424-4F09-867F-B919F4E18ECB}"/>
          </ac:spMkLst>
        </pc:spChg>
        <pc:spChg chg="mod">
          <ac:chgData name="John Paserba" userId="77bd6c8a-d0c1-4fea-8705-0169f65d0c0e" providerId="ADAL" clId="{EB9969EA-F4DF-4E5F-BC0E-DC65F9D6E1D0}" dt="2025-11-17T21:51:54.825" v="282" actId="113"/>
          <ac:spMkLst>
            <pc:docMk/>
            <pc:sldMk cId="2772096703" sldId="2147471917"/>
            <ac:spMk id="3328002" creationId="{00000000-0000-0000-0000-000000000000}"/>
          </ac:spMkLst>
        </pc:spChg>
      </pc:sldChg>
      <pc:sldChg chg="modSp add del mod">
        <pc:chgData name="John Paserba" userId="77bd6c8a-d0c1-4fea-8705-0169f65d0c0e" providerId="ADAL" clId="{EB9969EA-F4DF-4E5F-BC0E-DC65F9D6E1D0}" dt="2025-11-17T23:46:51.490" v="1615" actId="20577"/>
        <pc:sldMkLst>
          <pc:docMk/>
          <pc:sldMk cId="1004241266" sldId="2147471918"/>
        </pc:sldMkLst>
        <pc:spChg chg="mod">
          <ac:chgData name="John Paserba" userId="77bd6c8a-d0c1-4fea-8705-0169f65d0c0e" providerId="ADAL" clId="{EB9969EA-F4DF-4E5F-BC0E-DC65F9D6E1D0}" dt="2025-11-17T23:46:51.490" v="1615" actId="20577"/>
          <ac:spMkLst>
            <pc:docMk/>
            <pc:sldMk cId="1004241266" sldId="2147471918"/>
            <ac:spMk id="3" creationId="{E6993746-A424-4F09-867F-B919F4E18ECB}"/>
          </ac:spMkLst>
        </pc:spChg>
        <pc:spChg chg="mod">
          <ac:chgData name="John Paserba" userId="77bd6c8a-d0c1-4fea-8705-0169f65d0c0e" providerId="ADAL" clId="{EB9969EA-F4DF-4E5F-BC0E-DC65F9D6E1D0}" dt="2025-11-17T21:57:26.710" v="406" actId="113"/>
          <ac:spMkLst>
            <pc:docMk/>
            <pc:sldMk cId="1004241266" sldId="2147471918"/>
            <ac:spMk id="3328002" creationId="{00000000-0000-0000-0000-000000000000}"/>
          </ac:spMkLst>
        </pc:spChg>
      </pc:sldChg>
      <pc:sldChg chg="add del">
        <pc:chgData name="John Paserba" userId="77bd6c8a-d0c1-4fea-8705-0169f65d0c0e" providerId="ADAL" clId="{EB9969EA-F4DF-4E5F-BC0E-DC65F9D6E1D0}" dt="2025-11-17T20:59:20.584" v="18" actId="47"/>
        <pc:sldMkLst>
          <pc:docMk/>
          <pc:sldMk cId="2644149184" sldId="2147471919"/>
        </pc:sldMkLst>
      </pc:sldChg>
      <pc:sldChg chg="modSp mod ord">
        <pc:chgData name="John Paserba" userId="77bd6c8a-d0c1-4fea-8705-0169f65d0c0e" providerId="ADAL" clId="{EB9969EA-F4DF-4E5F-BC0E-DC65F9D6E1D0}" dt="2025-11-17T22:05:42.191" v="501" actId="12"/>
        <pc:sldMkLst>
          <pc:docMk/>
          <pc:sldMk cId="614062798" sldId="2147471921"/>
        </pc:sldMkLst>
        <pc:spChg chg="mod">
          <ac:chgData name="John Paserba" userId="77bd6c8a-d0c1-4fea-8705-0169f65d0c0e" providerId="ADAL" clId="{EB9969EA-F4DF-4E5F-BC0E-DC65F9D6E1D0}" dt="2025-11-17T22:05:42.191" v="501" actId="12"/>
          <ac:spMkLst>
            <pc:docMk/>
            <pc:sldMk cId="614062798" sldId="2147471921"/>
            <ac:spMk id="3" creationId="{E6993746-A424-4F09-867F-B919F4E18ECB}"/>
          </ac:spMkLst>
        </pc:spChg>
        <pc:spChg chg="mod">
          <ac:chgData name="John Paserba" userId="77bd6c8a-d0c1-4fea-8705-0169f65d0c0e" providerId="ADAL" clId="{EB9969EA-F4DF-4E5F-BC0E-DC65F9D6E1D0}" dt="2025-11-17T21:58:59.019" v="449" actId="1036"/>
          <ac:spMkLst>
            <pc:docMk/>
            <pc:sldMk cId="614062798" sldId="2147471921"/>
            <ac:spMk id="12" creationId="{594EDDAD-2B68-4F42-ACAD-D90F26441EEB}"/>
          </ac:spMkLst>
        </pc:spChg>
        <pc:spChg chg="mod">
          <ac:chgData name="John Paserba" userId="77bd6c8a-d0c1-4fea-8705-0169f65d0c0e" providerId="ADAL" clId="{EB9969EA-F4DF-4E5F-BC0E-DC65F9D6E1D0}" dt="2025-11-17T21:58:59.019" v="449" actId="1036"/>
          <ac:spMkLst>
            <pc:docMk/>
            <pc:sldMk cId="614062798" sldId="2147471921"/>
            <ac:spMk id="13" creationId="{BB890393-D40A-40C5-A6E3-4F98E2C9D47D}"/>
          </ac:spMkLst>
        </pc:spChg>
      </pc:sldChg>
      <pc:sldChg chg="modSp mod">
        <pc:chgData name="John Paserba" userId="77bd6c8a-d0c1-4fea-8705-0169f65d0c0e" providerId="ADAL" clId="{EB9969EA-F4DF-4E5F-BC0E-DC65F9D6E1D0}" dt="2025-11-17T22:05:45.929" v="503" actId="12"/>
        <pc:sldMkLst>
          <pc:docMk/>
          <pc:sldMk cId="2123891597" sldId="2147471922"/>
        </pc:sldMkLst>
        <pc:spChg chg="mod">
          <ac:chgData name="John Paserba" userId="77bd6c8a-d0c1-4fea-8705-0169f65d0c0e" providerId="ADAL" clId="{EB9969EA-F4DF-4E5F-BC0E-DC65F9D6E1D0}" dt="2025-11-17T22:05:45.929" v="503" actId="12"/>
          <ac:spMkLst>
            <pc:docMk/>
            <pc:sldMk cId="2123891597" sldId="2147471922"/>
            <ac:spMk id="3" creationId="{E6993746-A424-4F09-867F-B919F4E18ECB}"/>
          </ac:spMkLst>
        </pc:spChg>
        <pc:spChg chg="mod">
          <ac:chgData name="John Paserba" userId="77bd6c8a-d0c1-4fea-8705-0169f65d0c0e" providerId="ADAL" clId="{EB9969EA-F4DF-4E5F-BC0E-DC65F9D6E1D0}" dt="2025-11-17T21:12:46.190" v="89" actId="20577"/>
          <ac:spMkLst>
            <pc:docMk/>
            <pc:sldMk cId="2123891597" sldId="2147471922"/>
            <ac:spMk id="3328002" creationId="{00000000-0000-0000-0000-000000000000}"/>
          </ac:spMkLst>
        </pc:spChg>
      </pc:sldChg>
      <pc:sldChg chg="del ord">
        <pc:chgData name="John Paserba" userId="77bd6c8a-d0c1-4fea-8705-0169f65d0c0e" providerId="ADAL" clId="{EB9969EA-F4DF-4E5F-BC0E-DC65F9D6E1D0}" dt="2025-11-17T21:11:16.867" v="31" actId="47"/>
        <pc:sldMkLst>
          <pc:docMk/>
          <pc:sldMk cId="129383753" sldId="2147471924"/>
        </pc:sldMkLst>
      </pc:sldChg>
      <pc:sldChg chg="modSp mod">
        <pc:chgData name="John Paserba" userId="77bd6c8a-d0c1-4fea-8705-0169f65d0c0e" providerId="ADAL" clId="{EB9969EA-F4DF-4E5F-BC0E-DC65F9D6E1D0}" dt="2025-11-17T23:49:23.297" v="1623" actId="20577"/>
        <pc:sldMkLst>
          <pc:docMk/>
          <pc:sldMk cId="3074711567" sldId="2147471925"/>
        </pc:sldMkLst>
        <pc:spChg chg="mod">
          <ac:chgData name="John Paserba" userId="77bd6c8a-d0c1-4fea-8705-0169f65d0c0e" providerId="ADAL" clId="{EB9969EA-F4DF-4E5F-BC0E-DC65F9D6E1D0}" dt="2025-11-17T23:49:23.297" v="1623" actId="20577"/>
          <ac:spMkLst>
            <pc:docMk/>
            <pc:sldMk cId="3074711567" sldId="2147471925"/>
            <ac:spMk id="3" creationId="{E6993746-A424-4F09-867F-B919F4E18ECB}"/>
          </ac:spMkLst>
        </pc:spChg>
      </pc:sldChg>
      <pc:sldChg chg="del">
        <pc:chgData name="John Paserba" userId="77bd6c8a-d0c1-4fea-8705-0169f65d0c0e" providerId="ADAL" clId="{EB9969EA-F4DF-4E5F-BC0E-DC65F9D6E1D0}" dt="2025-11-17T21:38:32.408" v="193" actId="47"/>
        <pc:sldMkLst>
          <pc:docMk/>
          <pc:sldMk cId="3236663502" sldId="2147471927"/>
        </pc:sldMkLst>
      </pc:sldChg>
      <pc:sldChg chg="del">
        <pc:chgData name="John Paserba" userId="77bd6c8a-d0c1-4fea-8705-0169f65d0c0e" providerId="ADAL" clId="{EB9969EA-F4DF-4E5F-BC0E-DC65F9D6E1D0}" dt="2025-11-17T21:38:33.345" v="194" actId="47"/>
        <pc:sldMkLst>
          <pc:docMk/>
          <pc:sldMk cId="3238731818" sldId="2147471930"/>
        </pc:sldMkLst>
      </pc:sldChg>
      <pc:sldChg chg="del">
        <pc:chgData name="John Paserba" userId="77bd6c8a-d0c1-4fea-8705-0169f65d0c0e" providerId="ADAL" clId="{EB9969EA-F4DF-4E5F-BC0E-DC65F9D6E1D0}" dt="2025-11-17T21:38:34.810" v="195" actId="47"/>
        <pc:sldMkLst>
          <pc:docMk/>
          <pc:sldMk cId="2084949023" sldId="2147471931"/>
        </pc:sldMkLst>
      </pc:sldChg>
      <pc:sldChg chg="del">
        <pc:chgData name="John Paserba" userId="77bd6c8a-d0c1-4fea-8705-0169f65d0c0e" providerId="ADAL" clId="{EB9969EA-F4DF-4E5F-BC0E-DC65F9D6E1D0}" dt="2025-11-17T21:38:36.036" v="196" actId="47"/>
        <pc:sldMkLst>
          <pc:docMk/>
          <pc:sldMk cId="1417382633" sldId="2147471932"/>
        </pc:sldMkLst>
      </pc:sldChg>
      <pc:sldChg chg="del">
        <pc:chgData name="John Paserba" userId="77bd6c8a-d0c1-4fea-8705-0169f65d0c0e" providerId="ADAL" clId="{EB9969EA-F4DF-4E5F-BC0E-DC65F9D6E1D0}" dt="2025-11-17T20:57:53.734" v="0" actId="47"/>
        <pc:sldMkLst>
          <pc:docMk/>
          <pc:sldMk cId="1427509393" sldId="2147471933"/>
        </pc:sldMkLst>
      </pc:sldChg>
      <pc:sldChg chg="del">
        <pc:chgData name="John Paserba" userId="77bd6c8a-d0c1-4fea-8705-0169f65d0c0e" providerId="ADAL" clId="{EB9969EA-F4DF-4E5F-BC0E-DC65F9D6E1D0}" dt="2025-11-17T20:57:56.071" v="1" actId="47"/>
        <pc:sldMkLst>
          <pc:docMk/>
          <pc:sldMk cId="1847718276" sldId="2147471934"/>
        </pc:sldMkLst>
      </pc:sldChg>
      <pc:sldChg chg="del">
        <pc:chgData name="John Paserba" userId="77bd6c8a-d0c1-4fea-8705-0169f65d0c0e" providerId="ADAL" clId="{EB9969EA-F4DF-4E5F-BC0E-DC65F9D6E1D0}" dt="2025-11-17T20:57:59.602" v="3" actId="47"/>
        <pc:sldMkLst>
          <pc:docMk/>
          <pc:sldMk cId="4137871773" sldId="2147471936"/>
        </pc:sldMkLst>
      </pc:sldChg>
      <pc:sldChg chg="del">
        <pc:chgData name="John Paserba" userId="77bd6c8a-d0c1-4fea-8705-0169f65d0c0e" providerId="ADAL" clId="{EB9969EA-F4DF-4E5F-BC0E-DC65F9D6E1D0}" dt="2025-11-17T20:58:00.531" v="4" actId="47"/>
        <pc:sldMkLst>
          <pc:docMk/>
          <pc:sldMk cId="2198340705" sldId="2147471937"/>
        </pc:sldMkLst>
      </pc:sldChg>
      <pc:sldChg chg="del">
        <pc:chgData name="John Paserba" userId="77bd6c8a-d0c1-4fea-8705-0169f65d0c0e" providerId="ADAL" clId="{EB9969EA-F4DF-4E5F-BC0E-DC65F9D6E1D0}" dt="2025-11-17T20:58:01.505" v="5" actId="47"/>
        <pc:sldMkLst>
          <pc:docMk/>
          <pc:sldMk cId="3618819800" sldId="2147471938"/>
        </pc:sldMkLst>
      </pc:sldChg>
      <pc:sldChg chg="modSp mod">
        <pc:chgData name="John Paserba" userId="77bd6c8a-d0c1-4fea-8705-0169f65d0c0e" providerId="ADAL" clId="{EB9969EA-F4DF-4E5F-BC0E-DC65F9D6E1D0}" dt="2025-11-17T23:13:36.133" v="817" actId="1076"/>
        <pc:sldMkLst>
          <pc:docMk/>
          <pc:sldMk cId="1868943474" sldId="2147471939"/>
        </pc:sldMkLst>
        <pc:spChg chg="mod">
          <ac:chgData name="John Paserba" userId="77bd6c8a-d0c1-4fea-8705-0169f65d0c0e" providerId="ADAL" clId="{EB9969EA-F4DF-4E5F-BC0E-DC65F9D6E1D0}" dt="2025-11-17T23:13:36.133" v="817" actId="1076"/>
          <ac:spMkLst>
            <pc:docMk/>
            <pc:sldMk cId="1868943474" sldId="2147471939"/>
            <ac:spMk id="3" creationId="{E6993746-A424-4F09-867F-B919F4E18ECB}"/>
          </ac:spMkLst>
        </pc:spChg>
      </pc:sldChg>
      <pc:sldChg chg="modSp mod">
        <pc:chgData name="John Paserba" userId="77bd6c8a-d0c1-4fea-8705-0169f65d0c0e" providerId="ADAL" clId="{EB9969EA-F4DF-4E5F-BC0E-DC65F9D6E1D0}" dt="2025-11-17T23:13:20.910" v="815" actId="1076"/>
        <pc:sldMkLst>
          <pc:docMk/>
          <pc:sldMk cId="3944055538" sldId="2147471942"/>
        </pc:sldMkLst>
        <pc:spChg chg="mod">
          <ac:chgData name="John Paserba" userId="77bd6c8a-d0c1-4fea-8705-0169f65d0c0e" providerId="ADAL" clId="{EB9969EA-F4DF-4E5F-BC0E-DC65F9D6E1D0}" dt="2025-11-17T23:13:20.910" v="815" actId="1076"/>
          <ac:spMkLst>
            <pc:docMk/>
            <pc:sldMk cId="3944055538" sldId="2147471942"/>
            <ac:spMk id="3" creationId="{E6993746-A424-4F09-867F-B919F4E18ECB}"/>
          </ac:spMkLst>
        </pc:spChg>
      </pc:sldChg>
      <pc:sldChg chg="modSp mod">
        <pc:chgData name="John Paserba" userId="77bd6c8a-d0c1-4fea-8705-0169f65d0c0e" providerId="ADAL" clId="{EB9969EA-F4DF-4E5F-BC0E-DC65F9D6E1D0}" dt="2025-11-17T23:14:32.067" v="822" actId="1076"/>
        <pc:sldMkLst>
          <pc:docMk/>
          <pc:sldMk cId="3232273073" sldId="2147471943"/>
        </pc:sldMkLst>
        <pc:spChg chg="mod">
          <ac:chgData name="John Paserba" userId="77bd6c8a-d0c1-4fea-8705-0169f65d0c0e" providerId="ADAL" clId="{EB9969EA-F4DF-4E5F-BC0E-DC65F9D6E1D0}" dt="2025-11-17T23:14:32.067" v="822" actId="1076"/>
          <ac:spMkLst>
            <pc:docMk/>
            <pc:sldMk cId="3232273073" sldId="2147471943"/>
            <ac:spMk id="3" creationId="{E6993746-A424-4F09-867F-B919F4E18ECB}"/>
          </ac:spMkLst>
        </pc:spChg>
      </pc:sldChg>
      <pc:sldChg chg="modSp del mod">
        <pc:chgData name="John Paserba" userId="77bd6c8a-d0c1-4fea-8705-0169f65d0c0e" providerId="ADAL" clId="{EB9969EA-F4DF-4E5F-BC0E-DC65F9D6E1D0}" dt="2025-11-17T22:25:06.448" v="764" actId="2696"/>
        <pc:sldMkLst>
          <pc:docMk/>
          <pc:sldMk cId="518951601" sldId="2147471944"/>
        </pc:sldMkLst>
        <pc:spChg chg="mod">
          <ac:chgData name="John Paserba" userId="77bd6c8a-d0c1-4fea-8705-0169f65d0c0e" providerId="ADAL" clId="{EB9969EA-F4DF-4E5F-BC0E-DC65F9D6E1D0}" dt="2025-11-17T22:07:58.488" v="559" actId="12"/>
          <ac:spMkLst>
            <pc:docMk/>
            <pc:sldMk cId="518951601" sldId="2147471944"/>
            <ac:spMk id="3" creationId="{E6993746-A424-4F09-867F-B919F4E18ECB}"/>
          </ac:spMkLst>
        </pc:spChg>
      </pc:sldChg>
      <pc:sldChg chg="delSp add del mod">
        <pc:chgData name="John Paserba" userId="77bd6c8a-d0c1-4fea-8705-0169f65d0c0e" providerId="ADAL" clId="{EB9969EA-F4DF-4E5F-BC0E-DC65F9D6E1D0}" dt="2025-11-17T23:28:57.244" v="1214" actId="47"/>
        <pc:sldMkLst>
          <pc:docMk/>
          <pc:sldMk cId="2377221116" sldId="2147471944"/>
        </pc:sldMkLst>
        <pc:picChg chg="del">
          <ac:chgData name="John Paserba" userId="77bd6c8a-d0c1-4fea-8705-0169f65d0c0e" providerId="ADAL" clId="{EB9969EA-F4DF-4E5F-BC0E-DC65F9D6E1D0}" dt="2025-11-17T23:17:27.553" v="827" actId="478"/>
          <ac:picMkLst>
            <pc:docMk/>
            <pc:sldMk cId="2377221116" sldId="2147471944"/>
            <ac:picMk id="2" creationId="{507F7EB7-9617-12BC-5602-298A78AA128B}"/>
          </ac:picMkLst>
        </pc:picChg>
      </pc:sldChg>
      <pc:sldChg chg="modSp mod">
        <pc:chgData name="John Paserba" userId="77bd6c8a-d0c1-4fea-8705-0169f65d0c0e" providerId="ADAL" clId="{EB9969EA-F4DF-4E5F-BC0E-DC65F9D6E1D0}" dt="2025-11-17T23:08:36.333" v="798" actId="20577"/>
        <pc:sldMkLst>
          <pc:docMk/>
          <pc:sldMk cId="100192432" sldId="2147471945"/>
        </pc:sldMkLst>
        <pc:spChg chg="mod">
          <ac:chgData name="John Paserba" userId="77bd6c8a-d0c1-4fea-8705-0169f65d0c0e" providerId="ADAL" clId="{EB9969EA-F4DF-4E5F-BC0E-DC65F9D6E1D0}" dt="2025-11-17T23:08:36.333" v="798" actId="20577"/>
          <ac:spMkLst>
            <pc:docMk/>
            <pc:sldMk cId="100192432" sldId="2147471945"/>
            <ac:spMk id="3" creationId="{E6993746-A424-4F09-867F-B919F4E18ECB}"/>
          </ac:spMkLst>
        </pc:spChg>
      </pc:sldChg>
      <pc:sldChg chg="modSp mod">
        <pc:chgData name="John Paserba" userId="77bd6c8a-d0c1-4fea-8705-0169f65d0c0e" providerId="ADAL" clId="{EB9969EA-F4DF-4E5F-BC0E-DC65F9D6E1D0}" dt="2025-11-17T23:08:29.697" v="797" actId="20577"/>
        <pc:sldMkLst>
          <pc:docMk/>
          <pc:sldMk cId="2662749527" sldId="2147471946"/>
        </pc:sldMkLst>
        <pc:spChg chg="mod">
          <ac:chgData name="John Paserba" userId="77bd6c8a-d0c1-4fea-8705-0169f65d0c0e" providerId="ADAL" clId="{EB9969EA-F4DF-4E5F-BC0E-DC65F9D6E1D0}" dt="2025-11-17T23:08:29.697" v="797" actId="20577"/>
          <ac:spMkLst>
            <pc:docMk/>
            <pc:sldMk cId="2662749527" sldId="2147471946"/>
            <ac:spMk id="3" creationId="{E6993746-A424-4F09-867F-B919F4E18ECB}"/>
          </ac:spMkLst>
        </pc:spChg>
      </pc:sldChg>
      <pc:sldChg chg="modSp mod ord">
        <pc:chgData name="John Paserba" userId="77bd6c8a-d0c1-4fea-8705-0169f65d0c0e" providerId="ADAL" clId="{EB9969EA-F4DF-4E5F-BC0E-DC65F9D6E1D0}" dt="2025-11-17T23:08:51.607" v="803" actId="20577"/>
        <pc:sldMkLst>
          <pc:docMk/>
          <pc:sldMk cId="3123541414" sldId="2147471948"/>
        </pc:sldMkLst>
        <pc:spChg chg="mod">
          <ac:chgData name="John Paserba" userId="77bd6c8a-d0c1-4fea-8705-0169f65d0c0e" providerId="ADAL" clId="{EB9969EA-F4DF-4E5F-BC0E-DC65F9D6E1D0}" dt="2025-11-17T23:08:51.607" v="803" actId="20577"/>
          <ac:spMkLst>
            <pc:docMk/>
            <pc:sldMk cId="3123541414" sldId="2147471948"/>
            <ac:spMk id="3" creationId="{E6993746-A424-4F09-867F-B919F4E18ECB}"/>
          </ac:spMkLst>
        </pc:spChg>
      </pc:sldChg>
      <pc:sldChg chg="modSp mod">
        <pc:chgData name="John Paserba" userId="77bd6c8a-d0c1-4fea-8705-0169f65d0c0e" providerId="ADAL" clId="{EB9969EA-F4DF-4E5F-BC0E-DC65F9D6E1D0}" dt="2025-11-17T23:08:23.227" v="794" actId="20577"/>
        <pc:sldMkLst>
          <pc:docMk/>
          <pc:sldMk cId="2359544575" sldId="2147471949"/>
        </pc:sldMkLst>
        <pc:spChg chg="mod">
          <ac:chgData name="John Paserba" userId="77bd6c8a-d0c1-4fea-8705-0169f65d0c0e" providerId="ADAL" clId="{EB9969EA-F4DF-4E5F-BC0E-DC65F9D6E1D0}" dt="2025-11-17T23:08:23.227" v="794" actId="20577"/>
          <ac:spMkLst>
            <pc:docMk/>
            <pc:sldMk cId="2359544575" sldId="2147471949"/>
            <ac:spMk id="3" creationId="{E6993746-A424-4F09-867F-B919F4E18ECB}"/>
          </ac:spMkLst>
        </pc:spChg>
      </pc:sldChg>
      <pc:sldChg chg="modSp del mod">
        <pc:chgData name="John Paserba" userId="77bd6c8a-d0c1-4fea-8705-0169f65d0c0e" providerId="ADAL" clId="{EB9969EA-F4DF-4E5F-BC0E-DC65F9D6E1D0}" dt="2025-11-17T22:25:28.173" v="766" actId="2696"/>
        <pc:sldMkLst>
          <pc:docMk/>
          <pc:sldMk cId="515857153" sldId="2147471950"/>
        </pc:sldMkLst>
        <pc:spChg chg="mod">
          <ac:chgData name="John Paserba" userId="77bd6c8a-d0c1-4fea-8705-0169f65d0c0e" providerId="ADAL" clId="{EB9969EA-F4DF-4E5F-BC0E-DC65F9D6E1D0}" dt="2025-11-17T22:08:19.621" v="571" actId="12"/>
          <ac:spMkLst>
            <pc:docMk/>
            <pc:sldMk cId="515857153" sldId="2147471950"/>
            <ac:spMk id="3" creationId="{E6993746-A424-4F09-867F-B919F4E18ECB}"/>
          </ac:spMkLst>
        </pc:spChg>
      </pc:sldChg>
      <pc:sldChg chg="add del">
        <pc:chgData name="John Paserba" userId="77bd6c8a-d0c1-4fea-8705-0169f65d0c0e" providerId="ADAL" clId="{EB9969EA-F4DF-4E5F-BC0E-DC65F9D6E1D0}" dt="2025-11-17T23:28:55.241" v="1213" actId="47"/>
        <pc:sldMkLst>
          <pc:docMk/>
          <pc:sldMk cId="2597575617" sldId="2147471950"/>
        </pc:sldMkLst>
      </pc:sldChg>
      <pc:sldChg chg="modSp mod">
        <pc:chgData name="John Paserba" userId="77bd6c8a-d0c1-4fea-8705-0169f65d0c0e" providerId="ADAL" clId="{EB9969EA-F4DF-4E5F-BC0E-DC65F9D6E1D0}" dt="2025-11-17T22:11:21.605" v="589" actId="255"/>
        <pc:sldMkLst>
          <pc:docMk/>
          <pc:sldMk cId="1179040267" sldId="2147471951"/>
        </pc:sldMkLst>
        <pc:spChg chg="mod">
          <ac:chgData name="John Paserba" userId="77bd6c8a-d0c1-4fea-8705-0169f65d0c0e" providerId="ADAL" clId="{EB9969EA-F4DF-4E5F-BC0E-DC65F9D6E1D0}" dt="2025-11-17T22:11:21.605" v="589" actId="255"/>
          <ac:spMkLst>
            <pc:docMk/>
            <pc:sldMk cId="1179040267" sldId="2147471951"/>
            <ac:spMk id="3" creationId="{E6993746-A424-4F09-867F-B919F4E18ECB}"/>
          </ac:spMkLst>
        </pc:spChg>
        <pc:spChg chg="mod">
          <ac:chgData name="John Paserba" userId="77bd6c8a-d0c1-4fea-8705-0169f65d0c0e" providerId="ADAL" clId="{EB9969EA-F4DF-4E5F-BC0E-DC65F9D6E1D0}" dt="2025-11-17T21:12:51.671" v="101" actId="20577"/>
          <ac:spMkLst>
            <pc:docMk/>
            <pc:sldMk cId="1179040267" sldId="2147471951"/>
            <ac:spMk id="3328002" creationId="{00000000-0000-0000-0000-000000000000}"/>
          </ac:spMkLst>
        </pc:spChg>
      </pc:sldChg>
      <pc:sldChg chg="modSp mod">
        <pc:chgData name="John Paserba" userId="77bd6c8a-d0c1-4fea-8705-0169f65d0c0e" providerId="ADAL" clId="{EB9969EA-F4DF-4E5F-BC0E-DC65F9D6E1D0}" dt="2025-11-17T23:12:35.354" v="813" actId="1076"/>
        <pc:sldMkLst>
          <pc:docMk/>
          <pc:sldMk cId="1217208925" sldId="2147471953"/>
        </pc:sldMkLst>
        <pc:spChg chg="mod">
          <ac:chgData name="John Paserba" userId="77bd6c8a-d0c1-4fea-8705-0169f65d0c0e" providerId="ADAL" clId="{EB9969EA-F4DF-4E5F-BC0E-DC65F9D6E1D0}" dt="2025-11-17T23:12:35.354" v="813" actId="1076"/>
          <ac:spMkLst>
            <pc:docMk/>
            <pc:sldMk cId="1217208925" sldId="2147471953"/>
            <ac:spMk id="3" creationId="{E6993746-A424-4F09-867F-B919F4E18ECB}"/>
          </ac:spMkLst>
        </pc:spChg>
        <pc:spChg chg="mod">
          <ac:chgData name="John Paserba" userId="77bd6c8a-d0c1-4fea-8705-0169f65d0c0e" providerId="ADAL" clId="{EB9969EA-F4DF-4E5F-BC0E-DC65F9D6E1D0}" dt="2025-11-17T21:12:55.698" v="113" actId="20577"/>
          <ac:spMkLst>
            <pc:docMk/>
            <pc:sldMk cId="1217208925" sldId="2147471953"/>
            <ac:spMk id="3328002" creationId="{00000000-0000-0000-0000-000000000000}"/>
          </ac:spMkLst>
        </pc:spChg>
      </pc:sldChg>
      <pc:sldChg chg="modSp mod ord">
        <pc:chgData name="John Paserba" userId="77bd6c8a-d0c1-4fea-8705-0169f65d0c0e" providerId="ADAL" clId="{EB9969EA-F4DF-4E5F-BC0E-DC65F9D6E1D0}" dt="2025-11-17T23:11:32.867" v="809" actId="948"/>
        <pc:sldMkLst>
          <pc:docMk/>
          <pc:sldMk cId="104470527" sldId="2147471954"/>
        </pc:sldMkLst>
        <pc:spChg chg="mod">
          <ac:chgData name="John Paserba" userId="77bd6c8a-d0c1-4fea-8705-0169f65d0c0e" providerId="ADAL" clId="{EB9969EA-F4DF-4E5F-BC0E-DC65F9D6E1D0}" dt="2025-11-17T23:11:32.867" v="809" actId="948"/>
          <ac:spMkLst>
            <pc:docMk/>
            <pc:sldMk cId="104470527" sldId="2147471954"/>
            <ac:spMk id="3" creationId="{E6993746-A424-4F09-867F-B919F4E18ECB}"/>
          </ac:spMkLst>
        </pc:spChg>
        <pc:spChg chg="mod">
          <ac:chgData name="John Paserba" userId="77bd6c8a-d0c1-4fea-8705-0169f65d0c0e" providerId="ADAL" clId="{EB9969EA-F4DF-4E5F-BC0E-DC65F9D6E1D0}" dt="2025-11-17T21:57:44.472" v="410" actId="20577"/>
          <ac:spMkLst>
            <pc:docMk/>
            <pc:sldMk cId="104470527" sldId="2147471954"/>
            <ac:spMk id="3328002" creationId="{00000000-0000-0000-0000-000000000000}"/>
          </ac:spMkLst>
        </pc:spChg>
        <pc:picChg chg="mod">
          <ac:chgData name="John Paserba" userId="77bd6c8a-d0c1-4fea-8705-0169f65d0c0e" providerId="ADAL" clId="{EB9969EA-F4DF-4E5F-BC0E-DC65F9D6E1D0}" dt="2025-11-17T21:33:45.240" v="190" actId="1076"/>
          <ac:picMkLst>
            <pc:docMk/>
            <pc:sldMk cId="104470527" sldId="2147471954"/>
            <ac:picMk id="5" creationId="{E2090744-1273-4DE4-9F8B-73E3F5C1813E}"/>
          </ac:picMkLst>
        </pc:picChg>
      </pc:sldChg>
      <pc:sldChg chg="del">
        <pc:chgData name="John Paserba" userId="77bd6c8a-d0c1-4fea-8705-0169f65d0c0e" providerId="ADAL" clId="{EB9969EA-F4DF-4E5F-BC0E-DC65F9D6E1D0}" dt="2025-11-17T23:02:40.800" v="768" actId="2696"/>
        <pc:sldMkLst>
          <pc:docMk/>
          <pc:sldMk cId="1541893277" sldId="2147471955"/>
        </pc:sldMkLst>
      </pc:sldChg>
      <pc:sldChg chg="modSp del mod">
        <pc:chgData name="John Paserba" userId="77bd6c8a-d0c1-4fea-8705-0169f65d0c0e" providerId="ADAL" clId="{EB9969EA-F4DF-4E5F-BC0E-DC65F9D6E1D0}" dt="2025-11-17T23:02:40.800" v="768" actId="2696"/>
        <pc:sldMkLst>
          <pc:docMk/>
          <pc:sldMk cId="852992759" sldId="2147471956"/>
        </pc:sldMkLst>
        <pc:spChg chg="mod">
          <ac:chgData name="John Paserba" userId="77bd6c8a-d0c1-4fea-8705-0169f65d0c0e" providerId="ADAL" clId="{EB9969EA-F4DF-4E5F-BC0E-DC65F9D6E1D0}" dt="2025-11-17T22:17:06.406" v="709" actId="114"/>
          <ac:spMkLst>
            <pc:docMk/>
            <pc:sldMk cId="852992759" sldId="2147471956"/>
            <ac:spMk id="3" creationId="{E6993746-A424-4F09-867F-B919F4E18ECB}"/>
          </ac:spMkLst>
        </pc:spChg>
      </pc:sldChg>
      <pc:sldChg chg="modSp del mod">
        <pc:chgData name="John Paserba" userId="77bd6c8a-d0c1-4fea-8705-0169f65d0c0e" providerId="ADAL" clId="{EB9969EA-F4DF-4E5F-BC0E-DC65F9D6E1D0}" dt="2025-11-17T23:02:40.800" v="768" actId="2696"/>
        <pc:sldMkLst>
          <pc:docMk/>
          <pc:sldMk cId="2275362982" sldId="2147471957"/>
        </pc:sldMkLst>
        <pc:spChg chg="mod">
          <ac:chgData name="John Paserba" userId="77bd6c8a-d0c1-4fea-8705-0169f65d0c0e" providerId="ADAL" clId="{EB9969EA-F4DF-4E5F-BC0E-DC65F9D6E1D0}" dt="2025-11-17T22:24:33.571" v="761" actId="948"/>
          <ac:spMkLst>
            <pc:docMk/>
            <pc:sldMk cId="2275362982" sldId="2147471957"/>
            <ac:spMk id="3" creationId="{E6993746-A424-4F09-867F-B919F4E18ECB}"/>
          </ac:spMkLst>
        </pc:spChg>
      </pc:sldChg>
      <pc:sldChg chg="modSp mod">
        <pc:chgData name="John Paserba" userId="77bd6c8a-d0c1-4fea-8705-0169f65d0c0e" providerId="ADAL" clId="{EB9969EA-F4DF-4E5F-BC0E-DC65F9D6E1D0}" dt="2025-11-17T23:10:18.568" v="805" actId="1076"/>
        <pc:sldMkLst>
          <pc:docMk/>
          <pc:sldMk cId="2885069898" sldId="2147471957"/>
        </pc:sldMkLst>
        <pc:spChg chg="mod">
          <ac:chgData name="John Paserba" userId="77bd6c8a-d0c1-4fea-8705-0169f65d0c0e" providerId="ADAL" clId="{EB9969EA-F4DF-4E5F-BC0E-DC65F9D6E1D0}" dt="2025-11-17T23:10:18.568" v="805" actId="1076"/>
          <ac:spMkLst>
            <pc:docMk/>
            <pc:sldMk cId="2885069898" sldId="2147471957"/>
            <ac:spMk id="3" creationId="{E6993746-A424-4F09-867F-B919F4E18ECB}"/>
          </ac:spMkLst>
        </pc:spChg>
      </pc:sldChg>
      <pc:sldChg chg="del ord">
        <pc:chgData name="John Paserba" userId="77bd6c8a-d0c1-4fea-8705-0169f65d0c0e" providerId="ADAL" clId="{EB9969EA-F4DF-4E5F-BC0E-DC65F9D6E1D0}" dt="2025-11-17T23:02:40.800" v="768" actId="2696"/>
        <pc:sldMkLst>
          <pc:docMk/>
          <pc:sldMk cId="3049619178" sldId="2147471958"/>
        </pc:sldMkLst>
      </pc:sldChg>
      <pc:sldChg chg="modSp del mod ord">
        <pc:chgData name="John Paserba" userId="77bd6c8a-d0c1-4fea-8705-0169f65d0c0e" providerId="ADAL" clId="{EB9969EA-F4DF-4E5F-BC0E-DC65F9D6E1D0}" dt="2025-11-17T23:02:40.800" v="768" actId="2696"/>
        <pc:sldMkLst>
          <pc:docMk/>
          <pc:sldMk cId="1778391022" sldId="2147471959"/>
        </pc:sldMkLst>
        <pc:spChg chg="mod">
          <ac:chgData name="John Paserba" userId="77bd6c8a-d0c1-4fea-8705-0169f65d0c0e" providerId="ADAL" clId="{EB9969EA-F4DF-4E5F-BC0E-DC65F9D6E1D0}" dt="2025-11-17T22:24:22.606" v="759" actId="948"/>
          <ac:spMkLst>
            <pc:docMk/>
            <pc:sldMk cId="1778391022" sldId="2147471959"/>
            <ac:spMk id="3" creationId="{E6993746-A424-4F09-867F-B919F4E18ECB}"/>
          </ac:spMkLst>
        </pc:spChg>
      </pc:sldChg>
      <pc:sldChg chg="modSp mod">
        <pc:chgData name="John Paserba" userId="77bd6c8a-d0c1-4fea-8705-0169f65d0c0e" providerId="ADAL" clId="{EB9969EA-F4DF-4E5F-BC0E-DC65F9D6E1D0}" dt="2025-11-17T23:10:29.755" v="806" actId="1076"/>
        <pc:sldMkLst>
          <pc:docMk/>
          <pc:sldMk cId="1312532955" sldId="2147471960"/>
        </pc:sldMkLst>
        <pc:spChg chg="mod">
          <ac:chgData name="John Paserba" userId="77bd6c8a-d0c1-4fea-8705-0169f65d0c0e" providerId="ADAL" clId="{EB9969EA-F4DF-4E5F-BC0E-DC65F9D6E1D0}" dt="2025-11-17T23:10:29.755" v="806" actId="1076"/>
          <ac:spMkLst>
            <pc:docMk/>
            <pc:sldMk cId="1312532955" sldId="2147471960"/>
            <ac:spMk id="3" creationId="{E6993746-A424-4F09-867F-B919F4E18ECB}"/>
          </ac:spMkLst>
        </pc:spChg>
      </pc:sldChg>
      <pc:sldChg chg="modSp del mod">
        <pc:chgData name="John Paserba" userId="77bd6c8a-d0c1-4fea-8705-0169f65d0c0e" providerId="ADAL" clId="{EB9969EA-F4DF-4E5F-BC0E-DC65F9D6E1D0}" dt="2025-11-17T23:02:40.800" v="768" actId="2696"/>
        <pc:sldMkLst>
          <pc:docMk/>
          <pc:sldMk cId="3678651659" sldId="2147471960"/>
        </pc:sldMkLst>
        <pc:spChg chg="mod">
          <ac:chgData name="John Paserba" userId="77bd6c8a-d0c1-4fea-8705-0169f65d0c0e" providerId="ADAL" clId="{EB9969EA-F4DF-4E5F-BC0E-DC65F9D6E1D0}" dt="2025-11-17T22:24:30.653" v="760" actId="948"/>
          <ac:spMkLst>
            <pc:docMk/>
            <pc:sldMk cId="3678651659" sldId="2147471960"/>
            <ac:spMk id="3" creationId="{E6993746-A424-4F09-867F-B919F4E18ECB}"/>
          </ac:spMkLst>
        </pc:spChg>
      </pc:sldChg>
      <pc:sldChg chg="modSp add del mod">
        <pc:chgData name="John Paserba" userId="77bd6c8a-d0c1-4fea-8705-0169f65d0c0e" providerId="ADAL" clId="{EB9969EA-F4DF-4E5F-BC0E-DC65F9D6E1D0}" dt="2025-11-17T21:51:25.705" v="270" actId="47"/>
        <pc:sldMkLst>
          <pc:docMk/>
          <pc:sldMk cId="1173049148" sldId="2147471961"/>
        </pc:sldMkLst>
        <pc:spChg chg="mod">
          <ac:chgData name="John Paserba" userId="77bd6c8a-d0c1-4fea-8705-0169f65d0c0e" providerId="ADAL" clId="{EB9969EA-F4DF-4E5F-BC0E-DC65F9D6E1D0}" dt="2025-11-17T21:21:38.763" v="174" actId="20577"/>
          <ac:spMkLst>
            <pc:docMk/>
            <pc:sldMk cId="1173049148" sldId="2147471961"/>
            <ac:spMk id="3" creationId="{E6993746-A424-4F09-867F-B919F4E18ECB}"/>
          </ac:spMkLst>
        </pc:spChg>
        <pc:picChg chg="mod">
          <ac:chgData name="John Paserba" userId="77bd6c8a-d0c1-4fea-8705-0169f65d0c0e" providerId="ADAL" clId="{EB9969EA-F4DF-4E5F-BC0E-DC65F9D6E1D0}" dt="2025-11-17T21:33:33.138" v="188" actId="1076"/>
          <ac:picMkLst>
            <pc:docMk/>
            <pc:sldMk cId="1173049148" sldId="2147471961"/>
            <ac:picMk id="5" creationId="{E2090744-1273-4DE4-9F8B-73E3F5C1813E}"/>
          </ac:picMkLst>
        </pc:picChg>
      </pc:sldChg>
      <pc:sldChg chg="del">
        <pc:chgData name="John Paserba" userId="77bd6c8a-d0c1-4fea-8705-0169f65d0c0e" providerId="ADAL" clId="{EB9969EA-F4DF-4E5F-BC0E-DC65F9D6E1D0}" dt="2025-11-17T20:59:30.132" v="19" actId="47"/>
        <pc:sldMkLst>
          <pc:docMk/>
          <pc:sldMk cId="2466228981" sldId="2147471961"/>
        </pc:sldMkLst>
      </pc:sldChg>
      <pc:sldChg chg="addSp delSp modSp mod">
        <pc:chgData name="John Paserba" userId="77bd6c8a-d0c1-4fea-8705-0169f65d0c0e" providerId="ADAL" clId="{EB9969EA-F4DF-4E5F-BC0E-DC65F9D6E1D0}" dt="2025-11-17T23:43:58.745" v="1555" actId="1036"/>
        <pc:sldMkLst>
          <pc:docMk/>
          <pc:sldMk cId="2746193755" sldId="2147471961"/>
        </pc:sldMkLst>
        <pc:spChg chg="mod">
          <ac:chgData name="John Paserba" userId="77bd6c8a-d0c1-4fea-8705-0169f65d0c0e" providerId="ADAL" clId="{EB9969EA-F4DF-4E5F-BC0E-DC65F9D6E1D0}" dt="2025-11-17T23:31:35.571" v="1321" actId="122"/>
          <ac:spMkLst>
            <pc:docMk/>
            <pc:sldMk cId="2746193755" sldId="2147471961"/>
            <ac:spMk id="3" creationId="{E6993746-A424-4F09-867F-B919F4E18ECB}"/>
          </ac:spMkLst>
        </pc:spChg>
        <pc:spChg chg="add mod">
          <ac:chgData name="John Paserba" userId="77bd6c8a-d0c1-4fea-8705-0169f65d0c0e" providerId="ADAL" clId="{EB9969EA-F4DF-4E5F-BC0E-DC65F9D6E1D0}" dt="2025-11-17T23:32:00.193" v="1359" actId="20577"/>
          <ac:spMkLst>
            <pc:docMk/>
            <pc:sldMk cId="2746193755" sldId="2147471961"/>
            <ac:spMk id="12" creationId="{280DE3C7-5244-4437-B868-DFD4765312FD}"/>
          </ac:spMkLst>
        </pc:spChg>
        <pc:spChg chg="mod">
          <ac:chgData name="John Paserba" userId="77bd6c8a-d0c1-4fea-8705-0169f65d0c0e" providerId="ADAL" clId="{EB9969EA-F4DF-4E5F-BC0E-DC65F9D6E1D0}" dt="2025-11-17T23:30:46.674" v="1266" actId="20577"/>
          <ac:spMkLst>
            <pc:docMk/>
            <pc:sldMk cId="2746193755" sldId="2147471961"/>
            <ac:spMk id="3328002" creationId="{00000000-0000-0000-0000-000000000000}"/>
          </ac:spMkLst>
        </pc:spChg>
        <pc:picChg chg="add mod ord">
          <ac:chgData name="John Paserba" userId="77bd6c8a-d0c1-4fea-8705-0169f65d0c0e" providerId="ADAL" clId="{EB9969EA-F4DF-4E5F-BC0E-DC65F9D6E1D0}" dt="2025-11-17T23:43:37.761" v="1546" actId="14100"/>
          <ac:picMkLst>
            <pc:docMk/>
            <pc:sldMk cId="2746193755" sldId="2147471961"/>
            <ac:picMk id="13" creationId="{16564F04-5BCD-4A05-AD25-E2F2B3115A67}"/>
          </ac:picMkLst>
        </pc:picChg>
        <pc:picChg chg="add mod">
          <ac:chgData name="John Paserba" userId="77bd6c8a-d0c1-4fea-8705-0169f65d0c0e" providerId="ADAL" clId="{EB9969EA-F4DF-4E5F-BC0E-DC65F9D6E1D0}" dt="2025-11-17T23:43:40.538" v="1547" actId="14100"/>
          <ac:picMkLst>
            <pc:docMk/>
            <pc:sldMk cId="2746193755" sldId="2147471961"/>
            <ac:picMk id="15" creationId="{430F228B-61A1-49AB-9789-64B63243C44D}"/>
          </ac:picMkLst>
        </pc:picChg>
        <pc:picChg chg="add mod">
          <ac:chgData name="John Paserba" userId="77bd6c8a-d0c1-4fea-8705-0169f65d0c0e" providerId="ADAL" clId="{EB9969EA-F4DF-4E5F-BC0E-DC65F9D6E1D0}" dt="2025-11-17T23:43:56.129" v="1553" actId="1036"/>
          <ac:picMkLst>
            <pc:docMk/>
            <pc:sldMk cId="2746193755" sldId="2147471961"/>
            <ac:picMk id="17" creationId="{FB6694BC-7314-4BE0-9A61-213B200EEE60}"/>
          </ac:picMkLst>
        </pc:picChg>
        <pc:picChg chg="add mod">
          <ac:chgData name="John Paserba" userId="77bd6c8a-d0c1-4fea-8705-0169f65d0c0e" providerId="ADAL" clId="{EB9969EA-F4DF-4E5F-BC0E-DC65F9D6E1D0}" dt="2025-11-17T23:34:12.067" v="1374" actId="14100"/>
          <ac:picMkLst>
            <pc:docMk/>
            <pc:sldMk cId="2746193755" sldId="2147471961"/>
            <ac:picMk id="19" creationId="{D5694035-6A12-4F18-B357-BE347AE3DAC9}"/>
          </ac:picMkLst>
        </pc:picChg>
        <pc:picChg chg="add mod">
          <ac:chgData name="John Paserba" userId="77bd6c8a-d0c1-4fea-8705-0169f65d0c0e" providerId="ADAL" clId="{EB9969EA-F4DF-4E5F-BC0E-DC65F9D6E1D0}" dt="2025-11-17T23:39:26.815" v="1479" actId="14100"/>
          <ac:picMkLst>
            <pc:docMk/>
            <pc:sldMk cId="2746193755" sldId="2147471961"/>
            <ac:picMk id="21" creationId="{0B601A0D-A878-4E73-89E4-6D954A397BA2}"/>
          </ac:picMkLst>
        </pc:picChg>
        <pc:picChg chg="add mod">
          <ac:chgData name="John Paserba" userId="77bd6c8a-d0c1-4fea-8705-0169f65d0c0e" providerId="ADAL" clId="{EB9969EA-F4DF-4E5F-BC0E-DC65F9D6E1D0}" dt="2025-11-17T23:43:58.745" v="1555" actId="1036"/>
          <ac:picMkLst>
            <pc:docMk/>
            <pc:sldMk cId="2746193755" sldId="2147471961"/>
            <ac:picMk id="23" creationId="{99C2F857-D91D-4BB8-BE1E-F55EEC2E0FEE}"/>
          </ac:picMkLst>
        </pc:picChg>
        <pc:picChg chg="add mod">
          <ac:chgData name="John Paserba" userId="77bd6c8a-d0c1-4fea-8705-0169f65d0c0e" providerId="ADAL" clId="{EB9969EA-F4DF-4E5F-BC0E-DC65F9D6E1D0}" dt="2025-11-17T23:41:20.401" v="1503" actId="1076"/>
          <ac:picMkLst>
            <pc:docMk/>
            <pc:sldMk cId="2746193755" sldId="2147471961"/>
            <ac:picMk id="25" creationId="{BC179A78-736F-4960-B3AE-6B5DCEE6D924}"/>
          </ac:picMkLst>
        </pc:picChg>
        <pc:picChg chg="add mod">
          <ac:chgData name="John Paserba" userId="77bd6c8a-d0c1-4fea-8705-0169f65d0c0e" providerId="ADAL" clId="{EB9969EA-F4DF-4E5F-BC0E-DC65F9D6E1D0}" dt="2025-11-17T23:43:13.350" v="1541" actId="1036"/>
          <ac:picMkLst>
            <pc:docMk/>
            <pc:sldMk cId="2746193755" sldId="2147471961"/>
            <ac:picMk id="27" creationId="{D5C09E8C-37DF-4B4A-9983-94F63A75415D}"/>
          </ac:picMkLst>
        </pc:picChg>
        <pc:picChg chg="add del mod">
          <ac:chgData name="John Paserba" userId="77bd6c8a-d0c1-4fea-8705-0169f65d0c0e" providerId="ADAL" clId="{EB9969EA-F4DF-4E5F-BC0E-DC65F9D6E1D0}" dt="2025-11-17T23:40:41.339" v="1496" actId="478"/>
          <ac:picMkLst>
            <pc:docMk/>
            <pc:sldMk cId="2746193755" sldId="2147471961"/>
            <ac:picMk id="29" creationId="{59EB1319-28B0-47CE-8280-E64F6957DFCC}"/>
          </ac:picMkLst>
        </pc:picChg>
        <pc:picChg chg="add mod">
          <ac:chgData name="John Paserba" userId="77bd6c8a-d0c1-4fea-8705-0169f65d0c0e" providerId="ADAL" clId="{EB9969EA-F4DF-4E5F-BC0E-DC65F9D6E1D0}" dt="2025-11-17T23:39:29.734" v="1480" actId="1076"/>
          <ac:picMkLst>
            <pc:docMk/>
            <pc:sldMk cId="2746193755" sldId="2147471961"/>
            <ac:picMk id="31" creationId="{6243AE2C-0AE1-45E1-ABB6-2F0C052A159C}"/>
          </ac:picMkLst>
        </pc:picChg>
        <pc:picChg chg="add mod ord">
          <ac:chgData name="John Paserba" userId="77bd6c8a-d0c1-4fea-8705-0169f65d0c0e" providerId="ADAL" clId="{EB9969EA-F4DF-4E5F-BC0E-DC65F9D6E1D0}" dt="2025-11-17T23:43:05.065" v="1538" actId="1036"/>
          <ac:picMkLst>
            <pc:docMk/>
            <pc:sldMk cId="2746193755" sldId="2147471961"/>
            <ac:picMk id="3328001" creationId="{8AF41908-46DC-4366-A14A-C83F14486174}"/>
          </ac:picMkLst>
        </pc:picChg>
        <pc:picChg chg="add mod">
          <ac:chgData name="John Paserba" userId="77bd6c8a-d0c1-4fea-8705-0169f65d0c0e" providerId="ADAL" clId="{EB9969EA-F4DF-4E5F-BC0E-DC65F9D6E1D0}" dt="2025-11-17T23:39:39.383" v="1485" actId="14100"/>
          <ac:picMkLst>
            <pc:docMk/>
            <pc:sldMk cId="2746193755" sldId="2147471961"/>
            <ac:picMk id="3328004" creationId="{430B8DC9-E852-4F9C-8658-57BCA7B68028}"/>
          </ac:picMkLst>
        </pc:picChg>
        <pc:picChg chg="add mod">
          <ac:chgData name="John Paserba" userId="77bd6c8a-d0c1-4fea-8705-0169f65d0c0e" providerId="ADAL" clId="{EB9969EA-F4DF-4E5F-BC0E-DC65F9D6E1D0}" dt="2025-11-17T23:39:08.668" v="1475" actId="14100"/>
          <ac:picMkLst>
            <pc:docMk/>
            <pc:sldMk cId="2746193755" sldId="2147471961"/>
            <ac:picMk id="3328006" creationId="{AF2A2478-D341-4C82-8958-D8D6C0672A16}"/>
          </ac:picMkLst>
        </pc:picChg>
        <pc:picChg chg="add mod ord">
          <ac:chgData name="John Paserba" userId="77bd6c8a-d0c1-4fea-8705-0169f65d0c0e" providerId="ADAL" clId="{EB9969EA-F4DF-4E5F-BC0E-DC65F9D6E1D0}" dt="2025-11-17T23:43:15.537" v="1544" actId="1036"/>
          <ac:picMkLst>
            <pc:docMk/>
            <pc:sldMk cId="2746193755" sldId="2147471961"/>
            <ac:picMk id="3328008" creationId="{F63ACF91-000A-4597-B6A9-3D1B14F15905}"/>
          </ac:picMkLst>
        </pc:picChg>
      </pc:sldChg>
      <pc:sldChg chg="del">
        <pc:chgData name="John Paserba" userId="77bd6c8a-d0c1-4fea-8705-0169f65d0c0e" providerId="ADAL" clId="{EB9969EA-F4DF-4E5F-BC0E-DC65F9D6E1D0}" dt="2025-11-17T21:47:09.774" v="202"/>
        <pc:sldMkLst>
          <pc:docMk/>
          <pc:sldMk cId="1340598340" sldId="2147471962"/>
        </pc:sldMkLst>
      </pc:sldChg>
      <pc:sldChg chg="add del">
        <pc:chgData name="John Paserba" userId="77bd6c8a-d0c1-4fea-8705-0169f65d0c0e" providerId="ADAL" clId="{EB9969EA-F4DF-4E5F-BC0E-DC65F9D6E1D0}" dt="2025-11-17T21:26:52.600" v="182"/>
        <pc:sldMkLst>
          <pc:docMk/>
          <pc:sldMk cId="3618741627" sldId="2147471962"/>
        </pc:sldMkLst>
      </pc:sldChg>
      <pc:sldChg chg="del">
        <pc:chgData name="John Paserba" userId="77bd6c8a-d0c1-4fea-8705-0169f65d0c0e" providerId="ADAL" clId="{EB9969EA-F4DF-4E5F-BC0E-DC65F9D6E1D0}" dt="2025-11-17T21:47:09.774" v="202"/>
        <pc:sldMkLst>
          <pc:docMk/>
          <pc:sldMk cId="905542871" sldId="2147471963"/>
        </pc:sldMkLst>
      </pc:sldChg>
      <pc:sldChg chg="del">
        <pc:chgData name="John Paserba" userId="77bd6c8a-d0c1-4fea-8705-0169f65d0c0e" providerId="ADAL" clId="{EB9969EA-F4DF-4E5F-BC0E-DC65F9D6E1D0}" dt="2025-11-17T21:47:09.774" v="202"/>
        <pc:sldMkLst>
          <pc:docMk/>
          <pc:sldMk cId="3750732100" sldId="2147471964"/>
        </pc:sldMkLst>
      </pc:sldChg>
      <pc:sldMasterChg chg="delSldLayout">
        <pc:chgData name="John Paserba" userId="77bd6c8a-d0c1-4fea-8705-0169f65d0c0e" providerId="ADAL" clId="{EB9969EA-F4DF-4E5F-BC0E-DC65F9D6E1D0}" dt="2025-11-17T21:51:25.705" v="270" actId="47"/>
        <pc:sldMasterMkLst>
          <pc:docMk/>
          <pc:sldMasterMk cId="596794601" sldId="2147483998"/>
        </pc:sldMasterMkLst>
        <pc:sldLayoutChg chg="del">
          <pc:chgData name="John Paserba" userId="77bd6c8a-d0c1-4fea-8705-0169f65d0c0e" providerId="ADAL" clId="{EB9969EA-F4DF-4E5F-BC0E-DC65F9D6E1D0}" dt="2025-11-17T21:51:25.705" v="270" actId="47"/>
          <pc:sldLayoutMkLst>
            <pc:docMk/>
            <pc:sldMasterMk cId="596794601" sldId="2147483998"/>
            <pc:sldLayoutMk cId="3028299538" sldId="2147484048"/>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efernandez\Downloads\Ventas%20totales%20(2).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oja7!$B$16</c:f>
              <c:strCache>
                <c:ptCount val="1"/>
                <c:pt idx="0">
                  <c:v>TOTAL</c:v>
                </c:pt>
              </c:strCache>
            </c:strRef>
          </c:tx>
          <c:spPr>
            <a:solidFill>
              <a:schemeClr val="accent1"/>
            </a:solidFill>
            <a:ln>
              <a:solidFill>
                <a:schemeClr val="accent1"/>
              </a:solidFill>
            </a:ln>
            <a:effectLst/>
          </c:spPr>
          <c:invertIfNegative val="0"/>
          <c:cat>
            <c:strRef>
              <c:f>Hoja7!$C$15:$F$15</c:f>
              <c:strCache>
                <c:ptCount val="4"/>
                <c:pt idx="0">
                  <c:v>2022</c:v>
                </c:pt>
                <c:pt idx="1">
                  <c:v>2023</c:v>
                </c:pt>
                <c:pt idx="2">
                  <c:v>2024</c:v>
                </c:pt>
                <c:pt idx="3">
                  <c:v>2025</c:v>
                </c:pt>
              </c:strCache>
            </c:strRef>
          </c:cat>
          <c:val>
            <c:numRef>
              <c:f>Hoja7!$C$16:$F$16</c:f>
              <c:numCache>
                <c:formatCode>_("$"* #,##0.00_);_("$"* \(#,##0.00\);_("$"* "-"??_);_(@_)</c:formatCode>
                <c:ptCount val="4"/>
                <c:pt idx="0">
                  <c:v>1.46</c:v>
                </c:pt>
                <c:pt idx="1">
                  <c:v>7.4363939999999999</c:v>
                </c:pt>
                <c:pt idx="2">
                  <c:v>9.5649748199999998</c:v>
                </c:pt>
                <c:pt idx="3">
                  <c:v>17.955831840000002</c:v>
                </c:pt>
              </c:numCache>
            </c:numRef>
          </c:val>
          <c:extLst>
            <c:ext xmlns:c16="http://schemas.microsoft.com/office/drawing/2014/chart" uri="{C3380CC4-5D6E-409C-BE32-E72D297353CC}">
              <c16:uniqueId val="{00000000-23A4-4C45-8004-CB79A185878B}"/>
            </c:ext>
          </c:extLst>
        </c:ser>
        <c:dLbls>
          <c:showLegendKey val="0"/>
          <c:showVal val="0"/>
          <c:showCatName val="0"/>
          <c:showSerName val="0"/>
          <c:showPercent val="0"/>
          <c:showBubbleSize val="0"/>
        </c:dLbls>
        <c:gapWidth val="219"/>
        <c:overlap val="-27"/>
        <c:axId val="838943712"/>
        <c:axId val="838944192"/>
      </c:barChart>
      <c:catAx>
        <c:axId val="838943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38944192"/>
        <c:crosses val="autoZero"/>
        <c:auto val="1"/>
        <c:lblAlgn val="ctr"/>
        <c:lblOffset val="100"/>
        <c:noMultiLvlLbl val="0"/>
      </c:catAx>
      <c:valAx>
        <c:axId val="838944192"/>
        <c:scaling>
          <c:orientation val="minMax"/>
        </c:scaling>
        <c:delete val="1"/>
        <c:axPos val="l"/>
        <c:majorGridlines>
          <c:spPr>
            <a:ln w="9525" cap="flat" cmpd="sng" algn="ctr">
              <a:solidFill>
                <a:schemeClr val="tx1">
                  <a:lumMod val="15000"/>
                  <a:lumOff val="85000"/>
                </a:schemeClr>
              </a:solidFill>
              <a:round/>
            </a:ln>
            <a:effectLst/>
          </c:spPr>
        </c:majorGridlines>
        <c:numFmt formatCode="_(&quot;$&quot;* #,##0.00_);_(&quot;$&quot;* \(#,##0.00\);_(&quot;$&quot;* &quot;-&quot;??_);_(@_)" sourceLinked="1"/>
        <c:majorTickMark val="none"/>
        <c:minorTickMark val="none"/>
        <c:tickLblPos val="nextTo"/>
        <c:crossAx val="8389437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5" Type="http://schemas.openxmlformats.org/officeDocument/2006/relationships/image" Target="../media/image48.png"/><Relationship Id="rId4" Type="http://schemas.openxmlformats.org/officeDocument/2006/relationships/image" Target="../media/image47.png"/></Relationships>
</file>

<file path=ppt/diagrams/_rels/data2.xml.rels><?xml version="1.0" encoding="UTF-8" standalone="yes"?>
<Relationships xmlns="http://schemas.openxmlformats.org/package/2006/relationships"><Relationship Id="rId3" Type="http://schemas.openxmlformats.org/officeDocument/2006/relationships/image" Target="../media/image69.jpeg"/><Relationship Id="rId7" Type="http://schemas.openxmlformats.org/officeDocument/2006/relationships/image" Target="../media/image73.jpeg"/><Relationship Id="rId2" Type="http://schemas.openxmlformats.org/officeDocument/2006/relationships/image" Target="../media/image68.jpeg"/><Relationship Id="rId1" Type="http://schemas.openxmlformats.org/officeDocument/2006/relationships/image" Target="../media/image67.jpeg"/><Relationship Id="rId6" Type="http://schemas.openxmlformats.org/officeDocument/2006/relationships/image" Target="../media/image72.jpeg"/><Relationship Id="rId5" Type="http://schemas.openxmlformats.org/officeDocument/2006/relationships/image" Target="../media/image71.jpeg"/><Relationship Id="rId4" Type="http://schemas.openxmlformats.org/officeDocument/2006/relationships/image" Target="../media/image70.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5" Type="http://schemas.openxmlformats.org/officeDocument/2006/relationships/image" Target="../media/image48.png"/><Relationship Id="rId4" Type="http://schemas.openxmlformats.org/officeDocument/2006/relationships/image" Target="../media/image47.png"/></Relationships>
</file>

<file path=ppt/diagrams/_rels/drawing2.xml.rels><?xml version="1.0" encoding="UTF-8" standalone="yes"?>
<Relationships xmlns="http://schemas.openxmlformats.org/package/2006/relationships"><Relationship Id="rId3" Type="http://schemas.openxmlformats.org/officeDocument/2006/relationships/image" Target="../media/image69.jpeg"/><Relationship Id="rId7" Type="http://schemas.openxmlformats.org/officeDocument/2006/relationships/image" Target="../media/image73.jpeg"/><Relationship Id="rId2" Type="http://schemas.openxmlformats.org/officeDocument/2006/relationships/image" Target="../media/image68.jpeg"/><Relationship Id="rId1" Type="http://schemas.openxmlformats.org/officeDocument/2006/relationships/image" Target="../media/image67.jpeg"/><Relationship Id="rId6" Type="http://schemas.openxmlformats.org/officeDocument/2006/relationships/image" Target="../media/image72.jpeg"/><Relationship Id="rId5" Type="http://schemas.openxmlformats.org/officeDocument/2006/relationships/image" Target="../media/image71.jpeg"/><Relationship Id="rId4" Type="http://schemas.openxmlformats.org/officeDocument/2006/relationships/image" Target="../media/image70.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40C5155-E0C2-4B88-ACCD-6B2AF7F1544E}"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3C456A45-332A-449B-A2D8-18D20B25BABA}">
      <dgm:prSet phldrT="[Text]" custT="1"/>
      <dgm:spPr>
        <a:noFill/>
        <a:ln>
          <a:noFill/>
        </a:ln>
      </dgm:spPr>
      <dgm:t>
        <a:bodyPr/>
        <a:lstStyle/>
        <a:p>
          <a:r>
            <a:rPr lang="en-US" sz="1800" b="0" dirty="0">
              <a:solidFill>
                <a:schemeClr val="tx1"/>
              </a:solidFill>
              <a:latin typeface="+mn-lt"/>
              <a:cs typeface="Arial" panose="020B0604020202020204" pitchFamily="34" charset="0"/>
            </a:rPr>
            <a:t>Disconnect Switches</a:t>
          </a:r>
        </a:p>
      </dgm:t>
    </dgm:pt>
    <dgm:pt modelId="{C26034FD-CDA8-4C5C-BC5D-C4217C1A0C3D}" type="parTrans" cxnId="{5FD70B19-8567-43E3-A059-736C56C9820F}">
      <dgm:prSet/>
      <dgm:spPr/>
      <dgm:t>
        <a:bodyPr/>
        <a:lstStyle/>
        <a:p>
          <a:endParaRPr lang="en-US"/>
        </a:p>
      </dgm:t>
    </dgm:pt>
    <dgm:pt modelId="{D3759C9D-1B94-4C2D-ACB8-D6D66BB4DD4E}" type="sibTrans" cxnId="{5FD70B19-8567-43E3-A059-736C56C9820F}">
      <dgm:prSet/>
      <dgm:spPr/>
      <dgm:t>
        <a:bodyPr/>
        <a:lstStyle/>
        <a:p>
          <a:endParaRPr lang="en-US"/>
        </a:p>
      </dgm:t>
    </dgm:pt>
    <dgm:pt modelId="{5FECD49F-CA5A-4431-A11F-88B6ED7AD16C}">
      <dgm:prSet phldrT="[Text]" custT="1"/>
      <dgm:spPr>
        <a:noFill/>
        <a:ln>
          <a:noFill/>
        </a:ln>
      </dgm:spPr>
      <dgm:t>
        <a:bodyPr/>
        <a:lstStyle/>
        <a:p>
          <a:r>
            <a:rPr lang="en-US" sz="1800" b="0" dirty="0">
              <a:solidFill>
                <a:schemeClr val="tx1"/>
              </a:solidFill>
              <a:latin typeface="+mn-lt"/>
              <a:cs typeface="Arial" panose="020B0604020202020204" pitchFamily="34" charset="0"/>
            </a:rPr>
            <a:t>Ground Switches</a:t>
          </a:r>
        </a:p>
      </dgm:t>
    </dgm:pt>
    <dgm:pt modelId="{9D14AA3B-F7DA-4500-BF32-A1A03A12F640}" type="parTrans" cxnId="{6E0E88A2-8B80-4E54-B5F0-5CEAAF4B9592}">
      <dgm:prSet/>
      <dgm:spPr/>
      <dgm:t>
        <a:bodyPr/>
        <a:lstStyle/>
        <a:p>
          <a:endParaRPr lang="en-US"/>
        </a:p>
      </dgm:t>
    </dgm:pt>
    <dgm:pt modelId="{DAEFCCC0-9813-4170-9F9A-7E69E2D9665D}" type="sibTrans" cxnId="{6E0E88A2-8B80-4E54-B5F0-5CEAAF4B9592}">
      <dgm:prSet/>
      <dgm:spPr/>
      <dgm:t>
        <a:bodyPr/>
        <a:lstStyle/>
        <a:p>
          <a:endParaRPr lang="en-US"/>
        </a:p>
      </dgm:t>
    </dgm:pt>
    <dgm:pt modelId="{ECB7B3AD-7ADF-4131-85ED-223AF76F33C1}">
      <dgm:prSet phldrT="[Text]" custT="1"/>
      <dgm:spPr>
        <a:noFill/>
        <a:ln>
          <a:noFill/>
        </a:ln>
      </dgm:spPr>
      <dgm:t>
        <a:bodyPr/>
        <a:lstStyle/>
        <a:p>
          <a:r>
            <a:rPr lang="en-US" sz="1800" b="0" dirty="0">
              <a:solidFill>
                <a:schemeClr val="tx1"/>
              </a:solidFill>
              <a:latin typeface="+mn-lt"/>
              <a:cs typeface="Arial" panose="020B0604020202020204" pitchFamily="34" charset="0"/>
            </a:rPr>
            <a:t>Motor Operators</a:t>
          </a:r>
        </a:p>
      </dgm:t>
    </dgm:pt>
    <dgm:pt modelId="{FA9B312A-9B06-4104-8B37-B5DB7CE61CAA}" type="parTrans" cxnId="{9CD62A5C-CA24-4320-9229-CA8009669A83}">
      <dgm:prSet/>
      <dgm:spPr/>
      <dgm:t>
        <a:bodyPr/>
        <a:lstStyle/>
        <a:p>
          <a:endParaRPr lang="en-US"/>
        </a:p>
      </dgm:t>
    </dgm:pt>
    <dgm:pt modelId="{07C1F817-B1B7-424B-A404-31CB87162AE3}" type="sibTrans" cxnId="{9CD62A5C-CA24-4320-9229-CA8009669A83}">
      <dgm:prSet/>
      <dgm:spPr/>
      <dgm:t>
        <a:bodyPr/>
        <a:lstStyle/>
        <a:p>
          <a:endParaRPr lang="en-US"/>
        </a:p>
      </dgm:t>
    </dgm:pt>
    <dgm:pt modelId="{490B1EA3-28F1-4C8C-B8FB-A334B1308022}">
      <dgm:prSet custT="1"/>
      <dgm:spPr>
        <a:noFill/>
        <a:ln>
          <a:noFill/>
        </a:ln>
      </dgm:spPr>
      <dgm:t>
        <a:bodyPr/>
        <a:lstStyle/>
        <a:p>
          <a:r>
            <a:rPr lang="en-US" sz="1800" b="0" dirty="0">
              <a:solidFill>
                <a:schemeClr val="tx1"/>
              </a:solidFill>
              <a:latin typeface="+mn-lt"/>
              <a:cs typeface="Arial" panose="020B0604020202020204" pitchFamily="34" charset="0"/>
            </a:rPr>
            <a:t>Sensors (ICS, Far Field, Arrestor, Vacuum)</a:t>
          </a:r>
        </a:p>
      </dgm:t>
    </dgm:pt>
    <dgm:pt modelId="{CD176428-34EF-4EF6-A954-DC411F47A397}" type="parTrans" cxnId="{D336C083-3726-4795-9E8A-06041F23B9D1}">
      <dgm:prSet/>
      <dgm:spPr/>
      <dgm:t>
        <a:bodyPr/>
        <a:lstStyle/>
        <a:p>
          <a:endParaRPr lang="en-US"/>
        </a:p>
      </dgm:t>
    </dgm:pt>
    <dgm:pt modelId="{E37AB78D-8435-4C71-87BD-D1DFAF06A564}" type="sibTrans" cxnId="{D336C083-3726-4795-9E8A-06041F23B9D1}">
      <dgm:prSet/>
      <dgm:spPr/>
      <dgm:t>
        <a:bodyPr/>
        <a:lstStyle/>
        <a:p>
          <a:endParaRPr lang="en-US"/>
        </a:p>
      </dgm:t>
    </dgm:pt>
    <dgm:pt modelId="{761AFA61-EA4A-40C0-B11D-22A1BDD5E91B}">
      <dgm:prSet custT="1"/>
      <dgm:spPr>
        <a:noFill/>
        <a:ln>
          <a:noFill/>
        </a:ln>
      </dgm:spPr>
      <dgm:t>
        <a:bodyPr/>
        <a:lstStyle/>
        <a:p>
          <a:r>
            <a:rPr lang="en-US" sz="1800" b="0" dirty="0">
              <a:solidFill>
                <a:schemeClr val="tx1"/>
              </a:solidFill>
              <a:latin typeface="+mn-lt"/>
              <a:cs typeface="Arial" panose="020B0604020202020204" pitchFamily="34" charset="0"/>
            </a:rPr>
            <a:t>Special Purpose Products (LBI vacuum interrupter, MACI, SIS)</a:t>
          </a:r>
        </a:p>
      </dgm:t>
    </dgm:pt>
    <dgm:pt modelId="{09BDCFEF-27C1-483C-BC0A-231FB56318B4}" type="parTrans" cxnId="{94EC3CAB-EAF1-4609-BA05-B23C48F685DE}">
      <dgm:prSet/>
      <dgm:spPr/>
      <dgm:t>
        <a:bodyPr/>
        <a:lstStyle/>
        <a:p>
          <a:endParaRPr lang="en-US"/>
        </a:p>
      </dgm:t>
    </dgm:pt>
    <dgm:pt modelId="{A3EE52F4-38C0-4160-9425-1F1F6F20259B}" type="sibTrans" cxnId="{94EC3CAB-EAF1-4609-BA05-B23C48F685DE}">
      <dgm:prSet/>
      <dgm:spPr/>
      <dgm:t>
        <a:bodyPr/>
        <a:lstStyle/>
        <a:p>
          <a:endParaRPr lang="en-US"/>
        </a:p>
      </dgm:t>
    </dgm:pt>
    <dgm:pt modelId="{6D20BCDB-0392-4503-A0F6-E025E51CEF24}" type="pres">
      <dgm:prSet presAssocID="{540C5155-E0C2-4B88-ACCD-6B2AF7F1544E}" presName="linear" presStyleCnt="0">
        <dgm:presLayoutVars>
          <dgm:dir/>
          <dgm:resizeHandles val="exact"/>
        </dgm:presLayoutVars>
      </dgm:prSet>
      <dgm:spPr/>
    </dgm:pt>
    <dgm:pt modelId="{EB087CC6-4EB6-47A1-9419-F30FDF8071D8}" type="pres">
      <dgm:prSet presAssocID="{3C456A45-332A-449B-A2D8-18D20B25BABA}" presName="comp" presStyleCnt="0"/>
      <dgm:spPr/>
    </dgm:pt>
    <dgm:pt modelId="{7E4D9EEF-7492-434C-BF81-E5C82B8D3B6A}" type="pres">
      <dgm:prSet presAssocID="{3C456A45-332A-449B-A2D8-18D20B25BABA}" presName="box" presStyleLbl="node1" presStyleIdx="0" presStyleCnt="5"/>
      <dgm:spPr/>
    </dgm:pt>
    <dgm:pt modelId="{937BEADF-0DAF-488F-9E6F-53F429581363}" type="pres">
      <dgm:prSet presAssocID="{3C456A45-332A-449B-A2D8-18D20B25BABA}" presName="img" presStyleLbl="fgImgPlace1" presStyleIdx="0" presStyleCnt="5"/>
      <dgm:spPr>
        <a:blipFill rotWithShape="1">
          <a:blip xmlns:r="http://schemas.openxmlformats.org/officeDocument/2006/relationships" r:embed="rId1"/>
          <a:srcRect/>
          <a:stretch>
            <a:fillRect t="-22000" b="-22000"/>
          </a:stretch>
        </a:blipFill>
      </dgm:spPr>
    </dgm:pt>
    <dgm:pt modelId="{E592051E-D232-4CD1-BD3D-69ECF408C5CA}" type="pres">
      <dgm:prSet presAssocID="{3C456A45-332A-449B-A2D8-18D20B25BABA}" presName="text" presStyleLbl="node1" presStyleIdx="0" presStyleCnt="5">
        <dgm:presLayoutVars>
          <dgm:bulletEnabled val="1"/>
        </dgm:presLayoutVars>
      </dgm:prSet>
      <dgm:spPr/>
    </dgm:pt>
    <dgm:pt modelId="{472B06CB-6C2F-47E3-93E6-F9160485B2C8}" type="pres">
      <dgm:prSet presAssocID="{D3759C9D-1B94-4C2D-ACB8-D6D66BB4DD4E}" presName="spacer" presStyleCnt="0"/>
      <dgm:spPr/>
    </dgm:pt>
    <dgm:pt modelId="{F9A15CCC-43B1-412B-A38F-820D2069F71A}" type="pres">
      <dgm:prSet presAssocID="{5FECD49F-CA5A-4431-A11F-88B6ED7AD16C}" presName="comp" presStyleCnt="0"/>
      <dgm:spPr/>
    </dgm:pt>
    <dgm:pt modelId="{96F9DBE7-0A44-44D1-9100-C1C1C26F3AB3}" type="pres">
      <dgm:prSet presAssocID="{5FECD49F-CA5A-4431-A11F-88B6ED7AD16C}" presName="box" presStyleLbl="node1" presStyleIdx="1" presStyleCnt="5"/>
      <dgm:spPr/>
    </dgm:pt>
    <dgm:pt modelId="{C85F95D3-11BB-440A-87F4-0A35EC3903B2}" type="pres">
      <dgm:prSet presAssocID="{5FECD49F-CA5A-4431-A11F-88B6ED7AD16C}" presName="img" presStyleLbl="fgImgPlace1" presStyleIdx="1" presStyleCnt="5"/>
      <dgm:spPr>
        <a:blipFill rotWithShape="1">
          <a:blip xmlns:r="http://schemas.openxmlformats.org/officeDocument/2006/relationships" r:embed="rId2"/>
          <a:srcRect/>
          <a:stretch>
            <a:fillRect t="-74000" b="-74000"/>
          </a:stretch>
        </a:blipFill>
      </dgm:spPr>
    </dgm:pt>
    <dgm:pt modelId="{04943F9A-B4A9-4F8A-B9D9-2EF0117D5DB7}" type="pres">
      <dgm:prSet presAssocID="{5FECD49F-CA5A-4431-A11F-88B6ED7AD16C}" presName="text" presStyleLbl="node1" presStyleIdx="1" presStyleCnt="5">
        <dgm:presLayoutVars>
          <dgm:bulletEnabled val="1"/>
        </dgm:presLayoutVars>
      </dgm:prSet>
      <dgm:spPr/>
    </dgm:pt>
    <dgm:pt modelId="{20AEA5E7-0B8E-4E36-956F-97FD1DD7FB7C}" type="pres">
      <dgm:prSet presAssocID="{DAEFCCC0-9813-4170-9F9A-7E69E2D9665D}" presName="spacer" presStyleCnt="0"/>
      <dgm:spPr/>
    </dgm:pt>
    <dgm:pt modelId="{0182301B-E1FB-43FD-993A-439656A77808}" type="pres">
      <dgm:prSet presAssocID="{ECB7B3AD-7ADF-4131-85ED-223AF76F33C1}" presName="comp" presStyleCnt="0"/>
      <dgm:spPr/>
    </dgm:pt>
    <dgm:pt modelId="{D227D5D2-7E4D-4DD4-AAC0-C06421E37BAC}" type="pres">
      <dgm:prSet presAssocID="{ECB7B3AD-7ADF-4131-85ED-223AF76F33C1}" presName="box" presStyleLbl="node1" presStyleIdx="2" presStyleCnt="5"/>
      <dgm:spPr/>
    </dgm:pt>
    <dgm:pt modelId="{85648CA8-1B5F-4319-95EE-4D192AE25D17}" type="pres">
      <dgm:prSet presAssocID="{ECB7B3AD-7ADF-4131-85ED-223AF76F33C1}" presName="img" presStyleLbl="fgImgPlace1" presStyleIdx="2" presStyleCnt="5"/>
      <dgm:spPr>
        <a:blipFill rotWithShape="1">
          <a:blip xmlns:r="http://schemas.openxmlformats.org/officeDocument/2006/relationships" r:embed="rId3"/>
          <a:srcRect/>
          <a:stretch>
            <a:fillRect t="-44000" b="-44000"/>
          </a:stretch>
        </a:blipFill>
      </dgm:spPr>
    </dgm:pt>
    <dgm:pt modelId="{73D7D72D-A175-4F3D-85ED-F717DE30A01E}" type="pres">
      <dgm:prSet presAssocID="{ECB7B3AD-7ADF-4131-85ED-223AF76F33C1}" presName="text" presStyleLbl="node1" presStyleIdx="2" presStyleCnt="5">
        <dgm:presLayoutVars>
          <dgm:bulletEnabled val="1"/>
        </dgm:presLayoutVars>
      </dgm:prSet>
      <dgm:spPr/>
    </dgm:pt>
    <dgm:pt modelId="{2B63F8B3-B08A-443D-AC4B-94D65786DFD0}" type="pres">
      <dgm:prSet presAssocID="{07C1F817-B1B7-424B-A404-31CB87162AE3}" presName="spacer" presStyleCnt="0"/>
      <dgm:spPr/>
    </dgm:pt>
    <dgm:pt modelId="{A727C96E-64AE-4DDB-B755-ED3F9576960C}" type="pres">
      <dgm:prSet presAssocID="{490B1EA3-28F1-4C8C-B8FB-A334B1308022}" presName="comp" presStyleCnt="0"/>
      <dgm:spPr/>
    </dgm:pt>
    <dgm:pt modelId="{FEFFDB01-3AD1-49D3-8B0C-1BE57910F69B}" type="pres">
      <dgm:prSet presAssocID="{490B1EA3-28F1-4C8C-B8FB-A334B1308022}" presName="box" presStyleLbl="node1" presStyleIdx="3" presStyleCnt="5"/>
      <dgm:spPr/>
    </dgm:pt>
    <dgm:pt modelId="{BB8DECBA-1432-4F6B-A94E-E65AC9788B1C}" type="pres">
      <dgm:prSet presAssocID="{490B1EA3-28F1-4C8C-B8FB-A334B1308022}" presName="img" presStyleLbl="fgImgPlace1" presStyleIdx="3" presStyleCnt="5"/>
      <dgm:spPr>
        <a:blipFill rotWithShape="1">
          <a:blip xmlns:r="http://schemas.openxmlformats.org/officeDocument/2006/relationships" r:embed="rId4"/>
          <a:srcRect/>
          <a:stretch>
            <a:fillRect l="-2000" r="-2000"/>
          </a:stretch>
        </a:blipFill>
      </dgm:spPr>
    </dgm:pt>
    <dgm:pt modelId="{88E38C5D-758E-4962-9EFB-57F2F39E48D0}" type="pres">
      <dgm:prSet presAssocID="{490B1EA3-28F1-4C8C-B8FB-A334B1308022}" presName="text" presStyleLbl="node1" presStyleIdx="3" presStyleCnt="5">
        <dgm:presLayoutVars>
          <dgm:bulletEnabled val="1"/>
        </dgm:presLayoutVars>
      </dgm:prSet>
      <dgm:spPr/>
    </dgm:pt>
    <dgm:pt modelId="{CBF2A638-630D-4514-96D5-6B72C895245B}" type="pres">
      <dgm:prSet presAssocID="{E37AB78D-8435-4C71-87BD-D1DFAF06A564}" presName="spacer" presStyleCnt="0"/>
      <dgm:spPr/>
    </dgm:pt>
    <dgm:pt modelId="{5F750AC0-AAE8-4DB3-8C18-875DC72EFDF3}" type="pres">
      <dgm:prSet presAssocID="{761AFA61-EA4A-40C0-B11D-22A1BDD5E91B}" presName="comp" presStyleCnt="0"/>
      <dgm:spPr/>
    </dgm:pt>
    <dgm:pt modelId="{0ABA33B5-0A88-4D6D-B899-5E57E19C0C02}" type="pres">
      <dgm:prSet presAssocID="{761AFA61-EA4A-40C0-B11D-22A1BDD5E91B}" presName="box" presStyleLbl="node1" presStyleIdx="4" presStyleCnt="5"/>
      <dgm:spPr/>
    </dgm:pt>
    <dgm:pt modelId="{841B8AB8-D162-4AFD-9E58-05D1926EF1F7}" type="pres">
      <dgm:prSet presAssocID="{761AFA61-EA4A-40C0-B11D-22A1BDD5E91B}" presName="img" presStyleLbl="fgImgPlace1" presStyleIdx="4" presStyleCnt="5"/>
      <dgm:spPr>
        <a:blipFill rotWithShape="1">
          <a:blip xmlns:r="http://schemas.openxmlformats.org/officeDocument/2006/relationships" r:embed="rId5"/>
          <a:srcRect/>
          <a:stretch>
            <a:fillRect t="-34000" b="-34000"/>
          </a:stretch>
        </a:blipFill>
      </dgm:spPr>
    </dgm:pt>
    <dgm:pt modelId="{DA072952-12C2-4FF7-ACA4-BE1F2DC15CF7}" type="pres">
      <dgm:prSet presAssocID="{761AFA61-EA4A-40C0-B11D-22A1BDD5E91B}" presName="text" presStyleLbl="node1" presStyleIdx="4" presStyleCnt="5">
        <dgm:presLayoutVars>
          <dgm:bulletEnabled val="1"/>
        </dgm:presLayoutVars>
      </dgm:prSet>
      <dgm:spPr/>
    </dgm:pt>
  </dgm:ptLst>
  <dgm:cxnLst>
    <dgm:cxn modelId="{928D3003-5E24-459F-949D-5342B21719B8}" type="presOf" srcId="{ECB7B3AD-7ADF-4131-85ED-223AF76F33C1}" destId="{D227D5D2-7E4D-4DD4-AAC0-C06421E37BAC}" srcOrd="0" destOrd="0" presId="urn:microsoft.com/office/officeart/2005/8/layout/vList4"/>
    <dgm:cxn modelId="{5FD70B19-8567-43E3-A059-736C56C9820F}" srcId="{540C5155-E0C2-4B88-ACCD-6B2AF7F1544E}" destId="{3C456A45-332A-449B-A2D8-18D20B25BABA}" srcOrd="0" destOrd="0" parTransId="{C26034FD-CDA8-4C5C-BC5D-C4217C1A0C3D}" sibTransId="{D3759C9D-1B94-4C2D-ACB8-D6D66BB4DD4E}"/>
    <dgm:cxn modelId="{9CD62A5C-CA24-4320-9229-CA8009669A83}" srcId="{540C5155-E0C2-4B88-ACCD-6B2AF7F1544E}" destId="{ECB7B3AD-7ADF-4131-85ED-223AF76F33C1}" srcOrd="2" destOrd="0" parTransId="{FA9B312A-9B06-4104-8B37-B5DB7CE61CAA}" sibTransId="{07C1F817-B1B7-424B-A404-31CB87162AE3}"/>
    <dgm:cxn modelId="{804B7146-5A1A-41B6-9C26-BDCBBC36480C}" type="presOf" srcId="{ECB7B3AD-7ADF-4131-85ED-223AF76F33C1}" destId="{73D7D72D-A175-4F3D-85ED-F717DE30A01E}" srcOrd="1" destOrd="0" presId="urn:microsoft.com/office/officeart/2005/8/layout/vList4"/>
    <dgm:cxn modelId="{7EC79547-964C-4F0D-ADF9-3B92D1F970C1}" type="presOf" srcId="{761AFA61-EA4A-40C0-B11D-22A1BDD5E91B}" destId="{DA072952-12C2-4FF7-ACA4-BE1F2DC15CF7}" srcOrd="1" destOrd="0" presId="urn:microsoft.com/office/officeart/2005/8/layout/vList4"/>
    <dgm:cxn modelId="{A36BCE6D-56DF-43F0-B005-7500DFDE43BB}" type="presOf" srcId="{3C456A45-332A-449B-A2D8-18D20B25BABA}" destId="{E592051E-D232-4CD1-BD3D-69ECF408C5CA}" srcOrd="1" destOrd="0" presId="urn:microsoft.com/office/officeart/2005/8/layout/vList4"/>
    <dgm:cxn modelId="{79A5A37A-4940-4613-B96D-29575F25C0D7}" type="presOf" srcId="{5FECD49F-CA5A-4431-A11F-88B6ED7AD16C}" destId="{96F9DBE7-0A44-44D1-9100-C1C1C26F3AB3}" srcOrd="0" destOrd="0" presId="urn:microsoft.com/office/officeart/2005/8/layout/vList4"/>
    <dgm:cxn modelId="{D336C083-3726-4795-9E8A-06041F23B9D1}" srcId="{540C5155-E0C2-4B88-ACCD-6B2AF7F1544E}" destId="{490B1EA3-28F1-4C8C-B8FB-A334B1308022}" srcOrd="3" destOrd="0" parTransId="{CD176428-34EF-4EF6-A954-DC411F47A397}" sibTransId="{E37AB78D-8435-4C71-87BD-D1DFAF06A564}"/>
    <dgm:cxn modelId="{E3315C8E-F7A8-47BD-9C9F-54DC12B00F27}" type="presOf" srcId="{490B1EA3-28F1-4C8C-B8FB-A334B1308022}" destId="{88E38C5D-758E-4962-9EFB-57F2F39E48D0}" srcOrd="1" destOrd="0" presId="urn:microsoft.com/office/officeart/2005/8/layout/vList4"/>
    <dgm:cxn modelId="{6E0E88A2-8B80-4E54-B5F0-5CEAAF4B9592}" srcId="{540C5155-E0C2-4B88-ACCD-6B2AF7F1544E}" destId="{5FECD49F-CA5A-4431-A11F-88B6ED7AD16C}" srcOrd="1" destOrd="0" parTransId="{9D14AA3B-F7DA-4500-BF32-A1A03A12F640}" sibTransId="{DAEFCCC0-9813-4170-9F9A-7E69E2D9665D}"/>
    <dgm:cxn modelId="{94EC3CAB-EAF1-4609-BA05-B23C48F685DE}" srcId="{540C5155-E0C2-4B88-ACCD-6B2AF7F1544E}" destId="{761AFA61-EA4A-40C0-B11D-22A1BDD5E91B}" srcOrd="4" destOrd="0" parTransId="{09BDCFEF-27C1-483C-BC0A-231FB56318B4}" sibTransId="{A3EE52F4-38C0-4160-9425-1F1F6F20259B}"/>
    <dgm:cxn modelId="{524BCFB6-55FA-4CDB-84F1-EA8ADF3779F4}" type="presOf" srcId="{490B1EA3-28F1-4C8C-B8FB-A334B1308022}" destId="{FEFFDB01-3AD1-49D3-8B0C-1BE57910F69B}" srcOrd="0" destOrd="0" presId="urn:microsoft.com/office/officeart/2005/8/layout/vList4"/>
    <dgm:cxn modelId="{532C49B7-938E-4A1C-A93D-9480882861C9}" type="presOf" srcId="{5FECD49F-CA5A-4431-A11F-88B6ED7AD16C}" destId="{04943F9A-B4A9-4F8A-B9D9-2EF0117D5DB7}" srcOrd="1" destOrd="0" presId="urn:microsoft.com/office/officeart/2005/8/layout/vList4"/>
    <dgm:cxn modelId="{8D8DBAD4-9D9E-4C4C-AC2A-EF871C351E8E}" type="presOf" srcId="{761AFA61-EA4A-40C0-B11D-22A1BDD5E91B}" destId="{0ABA33B5-0A88-4D6D-B899-5E57E19C0C02}" srcOrd="0" destOrd="0" presId="urn:microsoft.com/office/officeart/2005/8/layout/vList4"/>
    <dgm:cxn modelId="{58DF63EA-CACB-4C91-9104-FA67C0EE579E}" type="presOf" srcId="{3C456A45-332A-449B-A2D8-18D20B25BABA}" destId="{7E4D9EEF-7492-434C-BF81-E5C82B8D3B6A}" srcOrd="0" destOrd="0" presId="urn:microsoft.com/office/officeart/2005/8/layout/vList4"/>
    <dgm:cxn modelId="{87843EF8-46F8-434B-A00E-29A10F3F17B8}" type="presOf" srcId="{540C5155-E0C2-4B88-ACCD-6B2AF7F1544E}" destId="{6D20BCDB-0392-4503-A0F6-E025E51CEF24}" srcOrd="0" destOrd="0" presId="urn:microsoft.com/office/officeart/2005/8/layout/vList4"/>
    <dgm:cxn modelId="{C0A45A8A-A69B-4E19-A7E5-8F35CAEFAF87}" type="presParOf" srcId="{6D20BCDB-0392-4503-A0F6-E025E51CEF24}" destId="{EB087CC6-4EB6-47A1-9419-F30FDF8071D8}" srcOrd="0" destOrd="0" presId="urn:microsoft.com/office/officeart/2005/8/layout/vList4"/>
    <dgm:cxn modelId="{A66D5D6F-937A-4E71-8E46-ABD8F9E9C232}" type="presParOf" srcId="{EB087CC6-4EB6-47A1-9419-F30FDF8071D8}" destId="{7E4D9EEF-7492-434C-BF81-E5C82B8D3B6A}" srcOrd="0" destOrd="0" presId="urn:microsoft.com/office/officeart/2005/8/layout/vList4"/>
    <dgm:cxn modelId="{8F85D52A-41D9-4D9A-A211-9AC00AD78F61}" type="presParOf" srcId="{EB087CC6-4EB6-47A1-9419-F30FDF8071D8}" destId="{937BEADF-0DAF-488F-9E6F-53F429581363}" srcOrd="1" destOrd="0" presId="urn:microsoft.com/office/officeart/2005/8/layout/vList4"/>
    <dgm:cxn modelId="{40096492-9CF5-45B8-B3B0-34B1BA71103F}" type="presParOf" srcId="{EB087CC6-4EB6-47A1-9419-F30FDF8071D8}" destId="{E592051E-D232-4CD1-BD3D-69ECF408C5CA}" srcOrd="2" destOrd="0" presId="urn:microsoft.com/office/officeart/2005/8/layout/vList4"/>
    <dgm:cxn modelId="{0F53DE91-0FFB-4F81-B8F3-57EDD8FA84E4}" type="presParOf" srcId="{6D20BCDB-0392-4503-A0F6-E025E51CEF24}" destId="{472B06CB-6C2F-47E3-93E6-F9160485B2C8}" srcOrd="1" destOrd="0" presId="urn:microsoft.com/office/officeart/2005/8/layout/vList4"/>
    <dgm:cxn modelId="{E049DA00-719F-40B5-8F7D-AA3603898C52}" type="presParOf" srcId="{6D20BCDB-0392-4503-A0F6-E025E51CEF24}" destId="{F9A15CCC-43B1-412B-A38F-820D2069F71A}" srcOrd="2" destOrd="0" presId="urn:microsoft.com/office/officeart/2005/8/layout/vList4"/>
    <dgm:cxn modelId="{824D6413-09A8-47C4-B31F-714603ADED62}" type="presParOf" srcId="{F9A15CCC-43B1-412B-A38F-820D2069F71A}" destId="{96F9DBE7-0A44-44D1-9100-C1C1C26F3AB3}" srcOrd="0" destOrd="0" presId="urn:microsoft.com/office/officeart/2005/8/layout/vList4"/>
    <dgm:cxn modelId="{E6C5B911-D4F6-4935-9F41-8B6AB2241D9F}" type="presParOf" srcId="{F9A15CCC-43B1-412B-A38F-820D2069F71A}" destId="{C85F95D3-11BB-440A-87F4-0A35EC3903B2}" srcOrd="1" destOrd="0" presId="urn:microsoft.com/office/officeart/2005/8/layout/vList4"/>
    <dgm:cxn modelId="{5F36FBD6-E80C-4650-AA18-97B263EE284D}" type="presParOf" srcId="{F9A15CCC-43B1-412B-A38F-820D2069F71A}" destId="{04943F9A-B4A9-4F8A-B9D9-2EF0117D5DB7}" srcOrd="2" destOrd="0" presId="urn:microsoft.com/office/officeart/2005/8/layout/vList4"/>
    <dgm:cxn modelId="{6FC973E5-622F-4035-BE3B-CBF3524BC010}" type="presParOf" srcId="{6D20BCDB-0392-4503-A0F6-E025E51CEF24}" destId="{20AEA5E7-0B8E-4E36-956F-97FD1DD7FB7C}" srcOrd="3" destOrd="0" presId="urn:microsoft.com/office/officeart/2005/8/layout/vList4"/>
    <dgm:cxn modelId="{B6E648ED-DD5D-47F4-8858-A7E778F61A75}" type="presParOf" srcId="{6D20BCDB-0392-4503-A0F6-E025E51CEF24}" destId="{0182301B-E1FB-43FD-993A-439656A77808}" srcOrd="4" destOrd="0" presId="urn:microsoft.com/office/officeart/2005/8/layout/vList4"/>
    <dgm:cxn modelId="{B21A8249-60A7-4859-B28F-2DAACAEB9E22}" type="presParOf" srcId="{0182301B-E1FB-43FD-993A-439656A77808}" destId="{D227D5D2-7E4D-4DD4-AAC0-C06421E37BAC}" srcOrd="0" destOrd="0" presId="urn:microsoft.com/office/officeart/2005/8/layout/vList4"/>
    <dgm:cxn modelId="{35D1E024-1FEE-47B9-AE55-8A6A0A4A86F8}" type="presParOf" srcId="{0182301B-E1FB-43FD-993A-439656A77808}" destId="{85648CA8-1B5F-4319-95EE-4D192AE25D17}" srcOrd="1" destOrd="0" presId="urn:microsoft.com/office/officeart/2005/8/layout/vList4"/>
    <dgm:cxn modelId="{8501B76D-7148-411D-BB3B-B6214E572E2F}" type="presParOf" srcId="{0182301B-E1FB-43FD-993A-439656A77808}" destId="{73D7D72D-A175-4F3D-85ED-F717DE30A01E}" srcOrd="2" destOrd="0" presId="urn:microsoft.com/office/officeart/2005/8/layout/vList4"/>
    <dgm:cxn modelId="{9B743053-4E51-48F4-9D1A-B89E9B31EE97}" type="presParOf" srcId="{6D20BCDB-0392-4503-A0F6-E025E51CEF24}" destId="{2B63F8B3-B08A-443D-AC4B-94D65786DFD0}" srcOrd="5" destOrd="0" presId="urn:microsoft.com/office/officeart/2005/8/layout/vList4"/>
    <dgm:cxn modelId="{C4D99D50-8A34-4BCA-8B59-D99570400A69}" type="presParOf" srcId="{6D20BCDB-0392-4503-A0F6-E025E51CEF24}" destId="{A727C96E-64AE-4DDB-B755-ED3F9576960C}" srcOrd="6" destOrd="0" presId="urn:microsoft.com/office/officeart/2005/8/layout/vList4"/>
    <dgm:cxn modelId="{36C1D895-DA02-49C8-91D4-4B643D1B521C}" type="presParOf" srcId="{A727C96E-64AE-4DDB-B755-ED3F9576960C}" destId="{FEFFDB01-3AD1-49D3-8B0C-1BE57910F69B}" srcOrd="0" destOrd="0" presId="urn:microsoft.com/office/officeart/2005/8/layout/vList4"/>
    <dgm:cxn modelId="{0FEB33F1-EEBD-435F-9EA1-B76E76B74E09}" type="presParOf" srcId="{A727C96E-64AE-4DDB-B755-ED3F9576960C}" destId="{BB8DECBA-1432-4F6B-A94E-E65AC9788B1C}" srcOrd="1" destOrd="0" presId="urn:microsoft.com/office/officeart/2005/8/layout/vList4"/>
    <dgm:cxn modelId="{AB8BE633-3ED8-4E61-808F-970FDFE00E38}" type="presParOf" srcId="{A727C96E-64AE-4DDB-B755-ED3F9576960C}" destId="{88E38C5D-758E-4962-9EFB-57F2F39E48D0}" srcOrd="2" destOrd="0" presId="urn:microsoft.com/office/officeart/2005/8/layout/vList4"/>
    <dgm:cxn modelId="{0D6BAB0D-1A45-40EC-854F-34C4355D51B1}" type="presParOf" srcId="{6D20BCDB-0392-4503-A0F6-E025E51CEF24}" destId="{CBF2A638-630D-4514-96D5-6B72C895245B}" srcOrd="7" destOrd="0" presId="urn:microsoft.com/office/officeart/2005/8/layout/vList4"/>
    <dgm:cxn modelId="{83817370-35D1-4DC0-A31F-D7527E1E2AEB}" type="presParOf" srcId="{6D20BCDB-0392-4503-A0F6-E025E51CEF24}" destId="{5F750AC0-AAE8-4DB3-8C18-875DC72EFDF3}" srcOrd="8" destOrd="0" presId="urn:microsoft.com/office/officeart/2005/8/layout/vList4"/>
    <dgm:cxn modelId="{5B039A3E-C901-4A7A-BD39-8EF2D3FB5625}" type="presParOf" srcId="{5F750AC0-AAE8-4DB3-8C18-875DC72EFDF3}" destId="{0ABA33B5-0A88-4D6D-B899-5E57E19C0C02}" srcOrd="0" destOrd="0" presId="urn:microsoft.com/office/officeart/2005/8/layout/vList4"/>
    <dgm:cxn modelId="{1945C1E9-4864-4833-9C3C-8066BAB59026}" type="presParOf" srcId="{5F750AC0-AAE8-4DB3-8C18-875DC72EFDF3}" destId="{841B8AB8-D162-4AFD-9E58-05D1926EF1F7}" srcOrd="1" destOrd="0" presId="urn:microsoft.com/office/officeart/2005/8/layout/vList4"/>
    <dgm:cxn modelId="{E54AC155-F121-42DA-9B0B-5D01A7AB4274}" type="presParOf" srcId="{5F750AC0-AAE8-4DB3-8C18-875DC72EFDF3}" destId="{DA072952-12C2-4FF7-ACA4-BE1F2DC15CF7}" srcOrd="2" destOrd="0" presId="urn:microsoft.com/office/officeart/2005/8/layout/vList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EC12E5-30C1-AA4C-8D4C-D5739AB66D9F}" type="doc">
      <dgm:prSet loTypeId="urn:microsoft.com/office/officeart/2009/layout/CirclePictureHierarchy" loCatId="" qsTypeId="urn:microsoft.com/office/officeart/2005/8/quickstyle/simple1" qsCatId="simple" csTypeId="urn:microsoft.com/office/officeart/2005/8/colors/accent1_2" csCatId="accent1" phldr="1"/>
      <dgm:spPr/>
      <dgm:t>
        <a:bodyPr/>
        <a:lstStyle/>
        <a:p>
          <a:endParaRPr lang="en-US"/>
        </a:p>
      </dgm:t>
    </dgm:pt>
    <dgm:pt modelId="{C872840D-D8EA-6246-88E2-86D6977C9881}">
      <dgm:prSet phldrT="[Text]" custT="1"/>
      <dgm:spPr/>
      <dgm:t>
        <a:bodyPr/>
        <a:lstStyle/>
        <a:p>
          <a:pPr algn="r"/>
          <a:r>
            <a:rPr lang="en-US" sz="2800" b="1" dirty="0"/>
            <a:t>Steve Fan</a:t>
          </a:r>
        </a:p>
      </dgm:t>
    </dgm:pt>
    <dgm:pt modelId="{ACC44B23-DD34-894E-96E9-971E9E37C1D8}" type="parTrans" cxnId="{51458AE5-AB0C-5F4C-B4F2-055E17EA0709}">
      <dgm:prSet/>
      <dgm:spPr/>
      <dgm:t>
        <a:bodyPr/>
        <a:lstStyle/>
        <a:p>
          <a:endParaRPr lang="en-US"/>
        </a:p>
      </dgm:t>
    </dgm:pt>
    <dgm:pt modelId="{26BCB08B-29ED-DC47-8381-6B0555E2077C}" type="sibTrans" cxnId="{51458AE5-AB0C-5F4C-B4F2-055E17EA0709}">
      <dgm:prSet/>
      <dgm:spPr/>
      <dgm:t>
        <a:bodyPr/>
        <a:lstStyle/>
        <a:p>
          <a:endParaRPr lang="en-US"/>
        </a:p>
      </dgm:t>
    </dgm:pt>
    <dgm:pt modelId="{914D9BC4-6C69-E548-8825-6BDD253E8F1B}">
      <dgm:prSet phldrT="[Text]" custT="1"/>
      <dgm:spPr/>
      <dgm:t>
        <a:bodyPr lIns="0" tIns="0" rIns="0" bIns="0"/>
        <a:lstStyle/>
        <a:p>
          <a:pPr algn="r"/>
          <a:r>
            <a:rPr lang="en-US" sz="2000" b="1" dirty="0"/>
            <a:t>Tan Tran</a:t>
          </a:r>
          <a:br>
            <a:rPr lang="en-US" sz="2700" dirty="0"/>
          </a:br>
          <a:r>
            <a:rPr lang="en-US" sz="1600" dirty="0">
              <a:solidFill>
                <a:schemeClr val="accent1">
                  <a:lumMod val="60000"/>
                  <a:lumOff val="40000"/>
                </a:schemeClr>
              </a:solidFill>
            </a:rPr>
            <a:t>Master of  Testing</a:t>
          </a:r>
        </a:p>
      </dgm:t>
    </dgm:pt>
    <dgm:pt modelId="{05163BEE-DF40-6A44-947F-038BCB264693}" type="parTrans" cxnId="{AB55038E-2F5C-B440-AD2F-D1FA40787F8A}">
      <dgm:prSet/>
      <dgm:spPr>
        <a:ln w="38100">
          <a:solidFill>
            <a:schemeClr val="tx1"/>
          </a:solidFill>
        </a:ln>
      </dgm:spPr>
      <dgm:t>
        <a:bodyPr/>
        <a:lstStyle/>
        <a:p>
          <a:endParaRPr lang="en-US"/>
        </a:p>
      </dgm:t>
    </dgm:pt>
    <dgm:pt modelId="{C50733E3-7A57-3B41-9C73-3C441A41830E}" type="sibTrans" cxnId="{AB55038E-2F5C-B440-AD2F-D1FA40787F8A}">
      <dgm:prSet/>
      <dgm:spPr/>
      <dgm:t>
        <a:bodyPr/>
        <a:lstStyle/>
        <a:p>
          <a:endParaRPr lang="en-US"/>
        </a:p>
      </dgm:t>
    </dgm:pt>
    <dgm:pt modelId="{558C1C66-A9CF-914F-880F-075BC706B502}">
      <dgm:prSet phldrT="[Text]" custT="1"/>
      <dgm:spPr/>
      <dgm:t>
        <a:bodyPr lIns="0" tIns="0" rIns="0" bIns="0"/>
        <a:lstStyle/>
        <a:p>
          <a:pPr algn="r"/>
          <a:r>
            <a:rPr lang="en-US" sz="2000" b="1" dirty="0"/>
            <a:t>Nick Mulkey</a:t>
          </a:r>
          <a:br>
            <a:rPr lang="en-US" sz="2000" b="1" dirty="0"/>
          </a:br>
          <a:r>
            <a:rPr lang="en-US" sz="1600" dirty="0">
              <a:solidFill>
                <a:schemeClr val="accent1">
                  <a:lumMod val="60000"/>
                  <a:lumOff val="40000"/>
                </a:schemeClr>
              </a:solidFill>
            </a:rPr>
            <a:t>Master of Design</a:t>
          </a:r>
        </a:p>
      </dgm:t>
    </dgm:pt>
    <dgm:pt modelId="{A51CEE11-8A34-0948-9A3F-7819D0E8B08D}" type="parTrans" cxnId="{221DB309-96F3-6B4B-A454-4F372481D14D}">
      <dgm:prSet/>
      <dgm:spPr>
        <a:ln w="38100">
          <a:solidFill>
            <a:schemeClr val="tx1"/>
          </a:solidFill>
        </a:ln>
      </dgm:spPr>
      <dgm:t>
        <a:bodyPr/>
        <a:lstStyle/>
        <a:p>
          <a:endParaRPr lang="en-US"/>
        </a:p>
      </dgm:t>
    </dgm:pt>
    <dgm:pt modelId="{71A48713-0D48-3440-912C-42684729D79F}" type="sibTrans" cxnId="{221DB309-96F3-6B4B-A454-4F372481D14D}">
      <dgm:prSet/>
      <dgm:spPr/>
      <dgm:t>
        <a:bodyPr/>
        <a:lstStyle/>
        <a:p>
          <a:endParaRPr lang="en-US"/>
        </a:p>
      </dgm:t>
    </dgm:pt>
    <dgm:pt modelId="{1D63C656-1813-5149-B069-F40FDC9F4723}">
      <dgm:prSet phldrT="[Text]" custT="1"/>
      <dgm:spPr/>
      <dgm:t>
        <a:bodyPr lIns="0" tIns="0" rIns="0" bIns="0"/>
        <a:lstStyle/>
        <a:p>
          <a:pPr algn="r"/>
          <a:r>
            <a:rPr lang="en-US" sz="2000" b="1" dirty="0">
              <a:solidFill>
                <a:schemeClr val="tx1"/>
              </a:solidFill>
            </a:rPr>
            <a:t>Buddy Reneau</a:t>
          </a:r>
          <a:br>
            <a:rPr lang="en-US" sz="2000" b="1" dirty="0">
              <a:solidFill>
                <a:schemeClr val="tx1"/>
              </a:solidFill>
            </a:rPr>
          </a:br>
          <a:r>
            <a:rPr lang="en-US" sz="1600" dirty="0">
              <a:solidFill>
                <a:schemeClr val="accent1">
                  <a:lumMod val="60000"/>
                  <a:lumOff val="40000"/>
                </a:schemeClr>
              </a:solidFill>
            </a:rPr>
            <a:t>Master of Business</a:t>
          </a:r>
        </a:p>
      </dgm:t>
    </dgm:pt>
    <dgm:pt modelId="{A4D9D28E-3C1F-AF45-BD01-1F94C02974B2}" type="parTrans" cxnId="{4EAD3310-8E1A-784B-AF10-D70436D4B376}">
      <dgm:prSet/>
      <dgm:spPr>
        <a:ln w="38100">
          <a:solidFill>
            <a:schemeClr val="tx1"/>
          </a:solidFill>
          <a:prstDash val="solid"/>
        </a:ln>
      </dgm:spPr>
      <dgm:t>
        <a:bodyPr/>
        <a:lstStyle/>
        <a:p>
          <a:endParaRPr lang="en-US"/>
        </a:p>
      </dgm:t>
    </dgm:pt>
    <dgm:pt modelId="{5C453024-5E92-7E41-9F24-46125E029B08}" type="sibTrans" cxnId="{4EAD3310-8E1A-784B-AF10-D70436D4B376}">
      <dgm:prSet/>
      <dgm:spPr/>
      <dgm:t>
        <a:bodyPr/>
        <a:lstStyle/>
        <a:p>
          <a:endParaRPr lang="en-US"/>
        </a:p>
      </dgm:t>
    </dgm:pt>
    <dgm:pt modelId="{FD5849ED-99BB-5048-9222-E89EA0CAAE28}">
      <dgm:prSet custT="1"/>
      <dgm:spPr>
        <a:noFill/>
        <a:ln>
          <a:noFill/>
        </a:ln>
        <a:effectLst/>
      </dgm:spPr>
      <dgm:t>
        <a:bodyPr spcFirstLastPara="0" vert="horz" wrap="square" lIns="0" tIns="0" rIns="0" bIns="0" numCol="1" spcCol="1270" anchor="ctr" anchorCtr="0"/>
        <a:lstStyle/>
        <a:p>
          <a:pPr algn="r"/>
          <a:r>
            <a:rPr lang="en-US" sz="2000" b="1" kern="1200" dirty="0">
              <a:solidFill>
                <a:srgbClr val="333333">
                  <a:hueOff val="0"/>
                  <a:satOff val="0"/>
                  <a:lumOff val="0"/>
                  <a:alphaOff val="0"/>
                </a:srgbClr>
              </a:solidFill>
              <a:latin typeface="+mn-lt"/>
              <a:ea typeface="+mn-ea"/>
              <a:cs typeface="+mn-cs"/>
            </a:rPr>
            <a:t>Joe </a:t>
          </a:r>
          <a:r>
            <a:rPr lang="en-US" sz="2000" b="1" kern="1200" dirty="0">
              <a:solidFill>
                <a:srgbClr val="333333">
                  <a:hueOff val="0"/>
                  <a:satOff val="0"/>
                  <a:lumOff val="0"/>
                  <a:alphaOff val="0"/>
                </a:srgbClr>
              </a:solidFill>
              <a:latin typeface="Arial"/>
              <a:ea typeface="+mn-ea"/>
              <a:cs typeface="+mn-cs"/>
            </a:rPr>
            <a:t>Boike</a:t>
          </a:r>
          <a:br>
            <a:rPr lang="en-US" sz="1800" kern="1200" dirty="0"/>
          </a:br>
          <a:r>
            <a:rPr lang="en-US" sz="1600" kern="1200" dirty="0">
              <a:solidFill>
                <a:srgbClr val="005488">
                  <a:lumMod val="60000"/>
                  <a:lumOff val="40000"/>
                </a:srgbClr>
              </a:solidFill>
              <a:latin typeface="+mn-lt"/>
              <a:ea typeface="+mn-ea"/>
              <a:cs typeface="+mn-cs"/>
            </a:rPr>
            <a:t>Master of Controls</a:t>
          </a:r>
        </a:p>
      </dgm:t>
    </dgm:pt>
    <dgm:pt modelId="{6209F111-929C-E246-B803-AFFD10EA1423}" type="parTrans" cxnId="{E61A9BB3-09D4-6241-8DF3-78707774ED3B}">
      <dgm:prSet/>
      <dgm:spPr>
        <a:ln w="38100"/>
      </dgm:spPr>
      <dgm:t>
        <a:bodyPr/>
        <a:lstStyle/>
        <a:p>
          <a:endParaRPr lang="en-US"/>
        </a:p>
      </dgm:t>
    </dgm:pt>
    <dgm:pt modelId="{ECE5D8F7-0170-4044-8350-463D23577F1A}" type="sibTrans" cxnId="{E61A9BB3-09D4-6241-8DF3-78707774ED3B}">
      <dgm:prSet/>
      <dgm:spPr/>
      <dgm:t>
        <a:bodyPr/>
        <a:lstStyle/>
        <a:p>
          <a:endParaRPr lang="en-US"/>
        </a:p>
      </dgm:t>
    </dgm:pt>
    <dgm:pt modelId="{3584F255-951D-D045-9148-E76E33499287}">
      <dgm:prSet custT="1"/>
      <dgm:spPr>
        <a:noFill/>
        <a:ln>
          <a:noFill/>
        </a:ln>
        <a:effectLst/>
      </dgm:spPr>
      <dgm:t>
        <a:bodyPr spcFirstLastPara="0" vert="horz" wrap="square" lIns="0" tIns="0" rIns="0" bIns="0" numCol="1" spcCol="1270" anchor="ctr" anchorCtr="0"/>
        <a:lstStyle/>
        <a:p>
          <a:pPr algn="r"/>
          <a:r>
            <a:rPr lang="en-US" sz="2000" b="1" kern="1200" dirty="0">
              <a:solidFill>
                <a:srgbClr val="333333">
                  <a:hueOff val="0"/>
                  <a:satOff val="0"/>
                  <a:lumOff val="0"/>
                  <a:alphaOff val="0"/>
                </a:srgbClr>
              </a:solidFill>
              <a:latin typeface="Arial"/>
              <a:ea typeface="+mn-ea"/>
              <a:cs typeface="+mn-cs"/>
            </a:rPr>
            <a:t>Kaleb Benton</a:t>
          </a:r>
          <a:br>
            <a:rPr lang="en-US" sz="1600" kern="1200" dirty="0">
              <a:solidFill>
                <a:srgbClr val="005488">
                  <a:lumMod val="60000"/>
                  <a:lumOff val="40000"/>
                </a:srgbClr>
              </a:solidFill>
              <a:latin typeface="+mn-lt"/>
              <a:ea typeface="+mn-ea"/>
              <a:cs typeface="+mn-cs"/>
            </a:rPr>
          </a:br>
          <a:r>
            <a:rPr lang="en-US" sz="1600" kern="1200" dirty="0">
              <a:solidFill>
                <a:srgbClr val="005488">
                  <a:lumMod val="60000"/>
                  <a:lumOff val="40000"/>
                </a:srgbClr>
              </a:solidFill>
              <a:latin typeface="+mn-lt"/>
              <a:ea typeface="+mn-ea"/>
              <a:cs typeface="+mn-cs"/>
            </a:rPr>
            <a:t>Master of Software</a:t>
          </a:r>
        </a:p>
      </dgm:t>
    </dgm:pt>
    <dgm:pt modelId="{96B65C58-5DBD-6A41-A8C4-D82167C6466E}" type="parTrans" cxnId="{FE21FB03-557F-C64B-A2AF-0AD1EB8D1A87}">
      <dgm:prSet/>
      <dgm:spPr>
        <a:ln w="38100"/>
      </dgm:spPr>
      <dgm:t>
        <a:bodyPr/>
        <a:lstStyle/>
        <a:p>
          <a:endParaRPr lang="en-US"/>
        </a:p>
      </dgm:t>
    </dgm:pt>
    <dgm:pt modelId="{13D897F5-DB32-6046-A482-E1DCAD4EE4D3}" type="sibTrans" cxnId="{FE21FB03-557F-C64B-A2AF-0AD1EB8D1A87}">
      <dgm:prSet/>
      <dgm:spPr/>
      <dgm:t>
        <a:bodyPr/>
        <a:lstStyle/>
        <a:p>
          <a:endParaRPr lang="en-US"/>
        </a:p>
      </dgm:t>
    </dgm:pt>
    <dgm:pt modelId="{DE0A67E6-5B72-6D44-A7AE-FFF3E1D3C4A4}">
      <dgm:prSet phldrT="[Text]" custT="1"/>
      <dgm:spPr/>
      <dgm:t>
        <a:bodyPr lIns="0" tIns="0" rIns="0" bIns="0"/>
        <a:lstStyle/>
        <a:p>
          <a:pPr algn="r"/>
          <a:r>
            <a:rPr lang="en-US" sz="2000" b="1" dirty="0" err="1"/>
            <a:t>Jiyuan</a:t>
          </a:r>
          <a:r>
            <a:rPr lang="en-US" sz="2000" b="1" dirty="0"/>
            <a:t> Fan </a:t>
          </a:r>
          <a:br>
            <a:rPr lang="en-US" sz="2000" b="1" dirty="0"/>
          </a:br>
          <a:r>
            <a:rPr lang="en-US" sz="1600" dirty="0">
              <a:solidFill>
                <a:schemeClr val="accent1">
                  <a:lumMod val="60000"/>
                  <a:lumOff val="40000"/>
                </a:schemeClr>
              </a:solidFill>
            </a:rPr>
            <a:t>Master of Electrons</a:t>
          </a:r>
        </a:p>
      </dgm:t>
    </dgm:pt>
    <dgm:pt modelId="{3DE263AA-4A5C-2046-95F8-4923AD11D826}" type="sibTrans" cxnId="{0966EAB2-C788-384E-BA09-F636FD911E63}">
      <dgm:prSet/>
      <dgm:spPr/>
      <dgm:t>
        <a:bodyPr/>
        <a:lstStyle/>
        <a:p>
          <a:endParaRPr lang="en-US"/>
        </a:p>
      </dgm:t>
    </dgm:pt>
    <dgm:pt modelId="{F181D73B-8711-3F4A-AD72-7941160AACC9}" type="parTrans" cxnId="{0966EAB2-C788-384E-BA09-F636FD911E63}">
      <dgm:prSet/>
      <dgm:spPr>
        <a:ln w="38100">
          <a:solidFill>
            <a:schemeClr val="tx1"/>
          </a:solidFill>
          <a:prstDash val="solid"/>
        </a:ln>
      </dgm:spPr>
      <dgm:t>
        <a:bodyPr/>
        <a:lstStyle/>
        <a:p>
          <a:endParaRPr lang="en-US"/>
        </a:p>
      </dgm:t>
    </dgm:pt>
    <dgm:pt modelId="{CE5AC591-DE93-EC48-9B5B-A4509FA0D132}" type="pres">
      <dgm:prSet presAssocID="{2FEC12E5-30C1-AA4C-8D4C-D5739AB66D9F}" presName="hierChild1" presStyleCnt="0">
        <dgm:presLayoutVars>
          <dgm:chPref val="1"/>
          <dgm:dir/>
          <dgm:animOne val="branch"/>
          <dgm:animLvl val="lvl"/>
          <dgm:resizeHandles/>
        </dgm:presLayoutVars>
      </dgm:prSet>
      <dgm:spPr/>
    </dgm:pt>
    <dgm:pt modelId="{65849826-A968-F443-9DD9-C66FDDB98FF8}" type="pres">
      <dgm:prSet presAssocID="{C872840D-D8EA-6246-88E2-86D6977C9881}" presName="hierRoot1" presStyleCnt="0"/>
      <dgm:spPr/>
    </dgm:pt>
    <dgm:pt modelId="{E22F4D1C-3770-6E4D-B99F-73D4F8C06C34}" type="pres">
      <dgm:prSet presAssocID="{C872840D-D8EA-6246-88E2-86D6977C9881}" presName="composite" presStyleCnt="0"/>
      <dgm:spPr/>
    </dgm:pt>
    <dgm:pt modelId="{08087D3D-3414-5243-BE31-CD0FA061AA6D}" type="pres">
      <dgm:prSet presAssocID="{C872840D-D8EA-6246-88E2-86D6977C9881}" presName="image" presStyleLbl="node0" presStyleIdx="0" presStyleCnt="1" custLinFactNeighborX="1036" custLinFactNeighborY="-48039"/>
      <dgm:spPr>
        <a:blipFill>
          <a:blip xmlns:r="http://schemas.openxmlformats.org/officeDocument/2006/relationships" r:embed="rId1">
            <a:extLst>
              <a:ext uri="{28A0092B-C50C-407E-A947-70E740481C1C}">
                <a14:useLocalDpi xmlns:a14="http://schemas.microsoft.com/office/drawing/2010/main"/>
              </a:ext>
            </a:extLst>
          </a:blip>
          <a:srcRect/>
          <a:stretch>
            <a:fillRect/>
          </a:stretch>
        </a:blipFill>
      </dgm:spPr>
    </dgm:pt>
    <dgm:pt modelId="{D6C4DD05-34AF-CB43-8D15-EC5DF27A7B43}" type="pres">
      <dgm:prSet presAssocID="{C872840D-D8EA-6246-88E2-86D6977C9881}" presName="text" presStyleLbl="revTx" presStyleIdx="0" presStyleCnt="7" custScaleX="164916" custLinFactNeighborX="35754" custLinFactNeighborY="-47789">
        <dgm:presLayoutVars>
          <dgm:chPref val="3"/>
        </dgm:presLayoutVars>
      </dgm:prSet>
      <dgm:spPr/>
    </dgm:pt>
    <dgm:pt modelId="{E11807FA-D3CE-E04E-A76F-E5BF96EDFEB2}" type="pres">
      <dgm:prSet presAssocID="{C872840D-D8EA-6246-88E2-86D6977C9881}" presName="hierChild2" presStyleCnt="0"/>
      <dgm:spPr/>
    </dgm:pt>
    <dgm:pt modelId="{46260C28-7A33-BC4F-9C82-438F6B68C39A}" type="pres">
      <dgm:prSet presAssocID="{05163BEE-DF40-6A44-947F-038BCB264693}" presName="Name10" presStyleLbl="parChTrans1D2" presStyleIdx="0" presStyleCnt="6"/>
      <dgm:spPr/>
    </dgm:pt>
    <dgm:pt modelId="{5B542761-D657-6342-BE3D-F8D0960E6D15}" type="pres">
      <dgm:prSet presAssocID="{914D9BC4-6C69-E548-8825-6BDD253E8F1B}" presName="hierRoot2" presStyleCnt="0"/>
      <dgm:spPr/>
    </dgm:pt>
    <dgm:pt modelId="{2B33FA67-27F6-804A-B650-040DD7BDB01D}" type="pres">
      <dgm:prSet presAssocID="{914D9BC4-6C69-E548-8825-6BDD253E8F1B}" presName="composite2" presStyleCnt="0"/>
      <dgm:spPr/>
    </dgm:pt>
    <dgm:pt modelId="{E0D3BB24-48D6-0541-8CC4-57BF9B8775B1}" type="pres">
      <dgm:prSet presAssocID="{914D9BC4-6C69-E548-8825-6BDD253E8F1B}" presName="image2" presStyleLbl="node2" presStyleIdx="0" presStyleCnt="6" custLinFactNeighborX="4160"/>
      <dgm:spPr>
        <a:blipFill>
          <a:blip xmlns:r="http://schemas.openxmlformats.org/officeDocument/2006/relationships" r:embed="rId2">
            <a:extLst>
              <a:ext uri="{28A0092B-C50C-407E-A947-70E740481C1C}">
                <a14:useLocalDpi xmlns:a14="http://schemas.microsoft.com/office/drawing/2010/main"/>
              </a:ext>
            </a:extLst>
          </a:blip>
          <a:srcRect/>
          <a:stretch>
            <a:fillRect/>
          </a:stretch>
        </a:blipFill>
      </dgm:spPr>
    </dgm:pt>
    <dgm:pt modelId="{7B2855C1-E827-3141-ADD2-3ECFD74FB69E}" type="pres">
      <dgm:prSet presAssocID="{914D9BC4-6C69-E548-8825-6BDD253E8F1B}" presName="text2" presStyleLbl="revTx" presStyleIdx="1" presStyleCnt="7" custScaleX="80797" custScaleY="100034" custLinFactNeighborX="-5547" custLinFactNeighborY="-666">
        <dgm:presLayoutVars>
          <dgm:chPref val="3"/>
        </dgm:presLayoutVars>
      </dgm:prSet>
      <dgm:spPr/>
    </dgm:pt>
    <dgm:pt modelId="{32567199-C632-864C-A6D5-C77F18060E70}" type="pres">
      <dgm:prSet presAssocID="{914D9BC4-6C69-E548-8825-6BDD253E8F1B}" presName="hierChild3" presStyleCnt="0"/>
      <dgm:spPr/>
    </dgm:pt>
    <dgm:pt modelId="{28806B59-80D4-E64B-B3E4-F14F6750DA92}" type="pres">
      <dgm:prSet presAssocID="{A51CEE11-8A34-0948-9A3F-7819D0E8B08D}" presName="Name10" presStyleLbl="parChTrans1D2" presStyleIdx="1" presStyleCnt="6"/>
      <dgm:spPr/>
    </dgm:pt>
    <dgm:pt modelId="{90E13E3E-D352-A446-BEC4-82386D4FD774}" type="pres">
      <dgm:prSet presAssocID="{558C1C66-A9CF-914F-880F-075BC706B502}" presName="hierRoot2" presStyleCnt="0"/>
      <dgm:spPr/>
    </dgm:pt>
    <dgm:pt modelId="{53E63AB3-245A-C845-9B90-674037E6FEAE}" type="pres">
      <dgm:prSet presAssocID="{558C1C66-A9CF-914F-880F-075BC706B502}" presName="composite2" presStyleCnt="0"/>
      <dgm:spPr/>
    </dgm:pt>
    <dgm:pt modelId="{919B0FE6-04EA-3F4D-B7D8-F2F54549F593}" type="pres">
      <dgm:prSet presAssocID="{558C1C66-A9CF-914F-880F-075BC706B502}" presName="image2" presStyleLbl="node2" presStyleIdx="1" presStyleCnt="6"/>
      <dgm:spPr>
        <a:blipFill>
          <a:blip xmlns:r="http://schemas.openxmlformats.org/officeDocument/2006/relationships" r:embed="rId3"/>
          <a:srcRect/>
          <a:stretch>
            <a:fillRect/>
          </a:stretch>
        </a:blipFill>
      </dgm:spPr>
    </dgm:pt>
    <dgm:pt modelId="{8237ADE3-D2D1-8B44-90DB-EB381FE5EFA8}" type="pres">
      <dgm:prSet presAssocID="{558C1C66-A9CF-914F-880F-075BC706B502}" presName="text2" presStyleLbl="revTx" presStyleIdx="2" presStyleCnt="7" custScaleX="91665" custScaleY="100034" custLinFactNeighborX="-8875" custLinFactNeighborY="-666">
        <dgm:presLayoutVars>
          <dgm:chPref val="3"/>
        </dgm:presLayoutVars>
      </dgm:prSet>
      <dgm:spPr/>
    </dgm:pt>
    <dgm:pt modelId="{B33B0F5F-F820-3141-BDC4-DBC2607148BC}" type="pres">
      <dgm:prSet presAssocID="{558C1C66-A9CF-914F-880F-075BC706B502}" presName="hierChild3" presStyleCnt="0"/>
      <dgm:spPr/>
    </dgm:pt>
    <dgm:pt modelId="{003D8DB3-7A41-1B49-9DA9-6E6BB18A361A}" type="pres">
      <dgm:prSet presAssocID="{6209F111-929C-E246-B803-AFFD10EA1423}" presName="Name10" presStyleLbl="parChTrans1D2" presStyleIdx="2" presStyleCnt="6"/>
      <dgm:spPr/>
    </dgm:pt>
    <dgm:pt modelId="{D8724731-0681-6945-81B6-7C8F447518D7}" type="pres">
      <dgm:prSet presAssocID="{FD5849ED-99BB-5048-9222-E89EA0CAAE28}" presName="hierRoot2" presStyleCnt="0"/>
      <dgm:spPr/>
    </dgm:pt>
    <dgm:pt modelId="{38FE1B79-3545-484B-B273-EEDA238F14E2}" type="pres">
      <dgm:prSet presAssocID="{FD5849ED-99BB-5048-9222-E89EA0CAAE28}" presName="composite2" presStyleCnt="0"/>
      <dgm:spPr/>
    </dgm:pt>
    <dgm:pt modelId="{F72C236C-5CEC-CD42-A2A7-35FDCDBD2DF2}" type="pres">
      <dgm:prSet presAssocID="{FD5849ED-99BB-5048-9222-E89EA0CAAE28}" presName="image2" presStyleLbl="node2" presStyleIdx="2" presStyleCnt="6"/>
      <dgm:spPr>
        <a:blipFill>
          <a:blip xmlns:r="http://schemas.openxmlformats.org/officeDocument/2006/relationships" r:embed="rId4">
            <a:extLst>
              <a:ext uri="{28A0092B-C50C-407E-A947-70E740481C1C}">
                <a14:useLocalDpi xmlns:a14="http://schemas.microsoft.com/office/drawing/2010/main"/>
              </a:ext>
            </a:extLst>
          </a:blip>
          <a:srcRect/>
          <a:stretch>
            <a:fillRect/>
          </a:stretch>
        </a:blipFill>
      </dgm:spPr>
    </dgm:pt>
    <dgm:pt modelId="{240ABA62-96D7-BE45-8395-0071D41C4897}" type="pres">
      <dgm:prSet presAssocID="{FD5849ED-99BB-5048-9222-E89EA0CAAE28}" presName="text2" presStyleLbl="revTx" presStyleIdx="3" presStyleCnt="7" custScaleX="102976" custLinFactNeighborX="-19962" custLinFactNeighborY="-3056">
        <dgm:presLayoutVars>
          <dgm:chPref val="3"/>
        </dgm:presLayoutVars>
      </dgm:prSet>
      <dgm:spPr>
        <a:xfrm>
          <a:off x="5612564" y="1797841"/>
          <a:ext cx="1508791" cy="856059"/>
        </a:xfrm>
        <a:prstGeom prst="rect">
          <a:avLst/>
        </a:prstGeom>
      </dgm:spPr>
    </dgm:pt>
    <dgm:pt modelId="{0D015EA1-E115-CF43-A7FC-8C40A7294316}" type="pres">
      <dgm:prSet presAssocID="{FD5849ED-99BB-5048-9222-E89EA0CAAE28}" presName="hierChild3" presStyleCnt="0"/>
      <dgm:spPr/>
    </dgm:pt>
    <dgm:pt modelId="{F44BEBF3-25B2-3447-A01F-B8FAF967C99D}" type="pres">
      <dgm:prSet presAssocID="{96B65C58-5DBD-6A41-A8C4-D82167C6466E}" presName="Name10" presStyleLbl="parChTrans1D2" presStyleIdx="3" presStyleCnt="6"/>
      <dgm:spPr/>
    </dgm:pt>
    <dgm:pt modelId="{EBBDD9B3-41CD-C543-A41A-C87E5DD31EF4}" type="pres">
      <dgm:prSet presAssocID="{3584F255-951D-D045-9148-E76E33499287}" presName="hierRoot2" presStyleCnt="0"/>
      <dgm:spPr/>
    </dgm:pt>
    <dgm:pt modelId="{FF785A03-C28E-C747-99CD-7D614B6A34DD}" type="pres">
      <dgm:prSet presAssocID="{3584F255-951D-D045-9148-E76E33499287}" presName="composite2" presStyleCnt="0"/>
      <dgm:spPr/>
    </dgm:pt>
    <dgm:pt modelId="{9E3F8F9E-4113-D649-B5B0-D1D7CDA2CC81}" type="pres">
      <dgm:prSet presAssocID="{3584F255-951D-D045-9148-E76E33499287}" presName="image2" presStyleLbl="node2" presStyleIdx="3" presStyleCnt="6"/>
      <dgm:spPr>
        <a:blipFill>
          <a:blip xmlns:r="http://schemas.openxmlformats.org/officeDocument/2006/relationships" r:embed="rId5">
            <a:extLst>
              <a:ext uri="{28A0092B-C50C-407E-A947-70E740481C1C}">
                <a14:useLocalDpi xmlns:a14="http://schemas.microsoft.com/office/drawing/2010/main"/>
              </a:ext>
            </a:extLst>
          </a:blip>
          <a:srcRect/>
          <a:stretch>
            <a:fillRect/>
          </a:stretch>
        </a:blipFill>
      </dgm:spPr>
    </dgm:pt>
    <dgm:pt modelId="{2D4737CA-9AE7-814D-B706-DAA1480CF2E1}" type="pres">
      <dgm:prSet presAssocID="{3584F255-951D-D045-9148-E76E33499287}" presName="text2" presStyleLbl="revTx" presStyleIdx="4" presStyleCnt="7" custScaleX="84495" custLinFactNeighborX="-8875" custLinFactNeighborY="-633">
        <dgm:presLayoutVars>
          <dgm:chPref val="3"/>
        </dgm:presLayoutVars>
      </dgm:prSet>
      <dgm:spPr/>
    </dgm:pt>
    <dgm:pt modelId="{DD3B59E6-8E8E-1B42-B8DA-6A1BA52A7277}" type="pres">
      <dgm:prSet presAssocID="{3584F255-951D-D045-9148-E76E33499287}" presName="hierChild3" presStyleCnt="0"/>
      <dgm:spPr/>
    </dgm:pt>
    <dgm:pt modelId="{A4F53CE0-A241-C942-A77D-26054EF9D23C}" type="pres">
      <dgm:prSet presAssocID="{F181D73B-8711-3F4A-AD72-7941160AACC9}" presName="Name10" presStyleLbl="parChTrans1D2" presStyleIdx="4" presStyleCnt="6"/>
      <dgm:spPr/>
    </dgm:pt>
    <dgm:pt modelId="{2054E3C7-3BBA-5446-97F2-D2A2E301E203}" type="pres">
      <dgm:prSet presAssocID="{DE0A67E6-5B72-6D44-A7AE-FFF3E1D3C4A4}" presName="hierRoot2" presStyleCnt="0"/>
      <dgm:spPr/>
    </dgm:pt>
    <dgm:pt modelId="{D7B351DA-9F72-534A-9E08-06976E6F9793}" type="pres">
      <dgm:prSet presAssocID="{DE0A67E6-5B72-6D44-A7AE-FFF3E1D3C4A4}" presName="composite2" presStyleCnt="0"/>
      <dgm:spPr/>
    </dgm:pt>
    <dgm:pt modelId="{53B5E301-5E6C-184D-B110-03F5A599E405}" type="pres">
      <dgm:prSet presAssocID="{DE0A67E6-5B72-6D44-A7AE-FFF3E1D3C4A4}" presName="image2" presStyleLbl="node2" presStyleIdx="4" presStyleCnt="6"/>
      <dgm:spPr>
        <a:blipFill>
          <a:blip xmlns:r="http://schemas.openxmlformats.org/officeDocument/2006/relationships" r:embed="rId6">
            <a:extLst>
              <a:ext uri="{28A0092B-C50C-407E-A947-70E740481C1C}">
                <a14:useLocalDpi xmlns:a14="http://schemas.microsoft.com/office/drawing/2010/main"/>
              </a:ext>
            </a:extLst>
          </a:blip>
          <a:srcRect/>
          <a:stretch>
            <a:fillRect/>
          </a:stretch>
        </a:blipFill>
      </dgm:spPr>
    </dgm:pt>
    <dgm:pt modelId="{8E534389-68A2-DA45-9987-5907F7301FB8}" type="pres">
      <dgm:prSet presAssocID="{DE0A67E6-5B72-6D44-A7AE-FFF3E1D3C4A4}" presName="text2" presStyleLbl="revTx" presStyleIdx="5" presStyleCnt="7" custScaleX="87954" custLinFactNeighborX="-12719" custLinFactNeighborY="-633">
        <dgm:presLayoutVars>
          <dgm:chPref val="3"/>
        </dgm:presLayoutVars>
      </dgm:prSet>
      <dgm:spPr/>
    </dgm:pt>
    <dgm:pt modelId="{DD50E5CC-455A-1741-9A34-1F10D9BC4615}" type="pres">
      <dgm:prSet presAssocID="{DE0A67E6-5B72-6D44-A7AE-FFF3E1D3C4A4}" presName="hierChild3" presStyleCnt="0"/>
      <dgm:spPr/>
    </dgm:pt>
    <dgm:pt modelId="{107F0CD8-1DC2-524C-BEA0-462BE3E2D797}" type="pres">
      <dgm:prSet presAssocID="{A4D9D28E-3C1F-AF45-BD01-1F94C02974B2}" presName="Name10" presStyleLbl="parChTrans1D2" presStyleIdx="5" presStyleCnt="6"/>
      <dgm:spPr/>
    </dgm:pt>
    <dgm:pt modelId="{42D8F7A3-F418-004A-B63F-319113766C47}" type="pres">
      <dgm:prSet presAssocID="{1D63C656-1813-5149-B069-F40FDC9F4723}" presName="hierRoot2" presStyleCnt="0"/>
      <dgm:spPr/>
    </dgm:pt>
    <dgm:pt modelId="{77C0539C-61D9-014E-ABE7-435DC9D7A769}" type="pres">
      <dgm:prSet presAssocID="{1D63C656-1813-5149-B069-F40FDC9F4723}" presName="composite2" presStyleCnt="0"/>
      <dgm:spPr/>
    </dgm:pt>
    <dgm:pt modelId="{A28B96DD-17E7-B647-8812-213977B1528F}" type="pres">
      <dgm:prSet presAssocID="{1D63C656-1813-5149-B069-F40FDC9F4723}" presName="image2" presStyleLbl="node2" presStyleIdx="5" presStyleCnt="6" custLinFactNeighborX="-4214"/>
      <dgm:spPr>
        <a:blipFill>
          <a:blip xmlns:r="http://schemas.openxmlformats.org/officeDocument/2006/relationships" r:embed="rId7"/>
          <a:srcRect/>
          <a:stretch>
            <a:fillRect/>
          </a:stretch>
        </a:blipFill>
      </dgm:spPr>
    </dgm:pt>
    <dgm:pt modelId="{D91D75A8-F85E-D343-A275-0EB82B183B45}" type="pres">
      <dgm:prSet presAssocID="{1D63C656-1813-5149-B069-F40FDC9F4723}" presName="text2" presStyleLbl="revTx" presStyleIdx="6" presStyleCnt="7" custScaleX="85006" custScaleY="100034" custLinFactNeighborX="-16107" custLinFactNeighborY="-666">
        <dgm:presLayoutVars>
          <dgm:chPref val="3"/>
        </dgm:presLayoutVars>
      </dgm:prSet>
      <dgm:spPr/>
    </dgm:pt>
    <dgm:pt modelId="{FB907CCA-779D-6E4D-95A9-C455347933B5}" type="pres">
      <dgm:prSet presAssocID="{1D63C656-1813-5149-B069-F40FDC9F4723}" presName="hierChild3" presStyleCnt="0"/>
      <dgm:spPr/>
    </dgm:pt>
  </dgm:ptLst>
  <dgm:cxnLst>
    <dgm:cxn modelId="{FE21FB03-557F-C64B-A2AF-0AD1EB8D1A87}" srcId="{C872840D-D8EA-6246-88E2-86D6977C9881}" destId="{3584F255-951D-D045-9148-E76E33499287}" srcOrd="3" destOrd="0" parTransId="{96B65C58-5DBD-6A41-A8C4-D82167C6466E}" sibTransId="{13D897F5-DB32-6046-A482-E1DCAD4EE4D3}"/>
    <dgm:cxn modelId="{221DB309-96F3-6B4B-A454-4F372481D14D}" srcId="{C872840D-D8EA-6246-88E2-86D6977C9881}" destId="{558C1C66-A9CF-914F-880F-075BC706B502}" srcOrd="1" destOrd="0" parTransId="{A51CEE11-8A34-0948-9A3F-7819D0E8B08D}" sibTransId="{71A48713-0D48-3440-912C-42684729D79F}"/>
    <dgm:cxn modelId="{18A54B0A-F4CD-FB4F-8396-116D78E02040}" type="presOf" srcId="{05163BEE-DF40-6A44-947F-038BCB264693}" destId="{46260C28-7A33-BC4F-9C82-438F6B68C39A}" srcOrd="0" destOrd="0" presId="urn:microsoft.com/office/officeart/2009/layout/CirclePictureHierarchy"/>
    <dgm:cxn modelId="{36C3110C-55EC-184A-872A-751CF6F0378A}" type="presOf" srcId="{1D63C656-1813-5149-B069-F40FDC9F4723}" destId="{D91D75A8-F85E-D343-A275-0EB82B183B45}" srcOrd="0" destOrd="0" presId="urn:microsoft.com/office/officeart/2009/layout/CirclePictureHierarchy"/>
    <dgm:cxn modelId="{4EAD3310-8E1A-784B-AF10-D70436D4B376}" srcId="{C872840D-D8EA-6246-88E2-86D6977C9881}" destId="{1D63C656-1813-5149-B069-F40FDC9F4723}" srcOrd="5" destOrd="0" parTransId="{A4D9D28E-3C1F-AF45-BD01-1F94C02974B2}" sibTransId="{5C453024-5E92-7E41-9F24-46125E029B08}"/>
    <dgm:cxn modelId="{5089A315-C040-AD47-9C58-010A08C88BE6}" type="presOf" srcId="{F181D73B-8711-3F4A-AD72-7941160AACC9}" destId="{A4F53CE0-A241-C942-A77D-26054EF9D23C}" srcOrd="0" destOrd="0" presId="urn:microsoft.com/office/officeart/2009/layout/CirclePictureHierarchy"/>
    <dgm:cxn modelId="{BC1C0538-70C1-A24C-8425-880D9CB4BCED}" type="presOf" srcId="{DE0A67E6-5B72-6D44-A7AE-FFF3E1D3C4A4}" destId="{8E534389-68A2-DA45-9987-5907F7301FB8}" srcOrd="0" destOrd="0" presId="urn:microsoft.com/office/officeart/2009/layout/CirclePictureHierarchy"/>
    <dgm:cxn modelId="{9C81234B-DE01-DE4F-A741-F521B9BEF97E}" type="presOf" srcId="{A51CEE11-8A34-0948-9A3F-7819D0E8B08D}" destId="{28806B59-80D4-E64B-B3E4-F14F6750DA92}" srcOrd="0" destOrd="0" presId="urn:microsoft.com/office/officeart/2009/layout/CirclePictureHierarchy"/>
    <dgm:cxn modelId="{B22C0D6F-CF8A-9244-A100-3BEBCA4A96C7}" type="presOf" srcId="{914D9BC4-6C69-E548-8825-6BDD253E8F1B}" destId="{7B2855C1-E827-3141-ADD2-3ECFD74FB69E}" srcOrd="0" destOrd="0" presId="urn:microsoft.com/office/officeart/2009/layout/CirclePictureHierarchy"/>
    <dgm:cxn modelId="{F061F188-D6EF-B443-8BF2-AA9B39113752}" type="presOf" srcId="{3584F255-951D-D045-9148-E76E33499287}" destId="{2D4737CA-9AE7-814D-B706-DAA1480CF2E1}" srcOrd="0" destOrd="0" presId="urn:microsoft.com/office/officeart/2009/layout/CirclePictureHierarchy"/>
    <dgm:cxn modelId="{AB55038E-2F5C-B440-AD2F-D1FA40787F8A}" srcId="{C872840D-D8EA-6246-88E2-86D6977C9881}" destId="{914D9BC4-6C69-E548-8825-6BDD253E8F1B}" srcOrd="0" destOrd="0" parTransId="{05163BEE-DF40-6A44-947F-038BCB264693}" sibTransId="{C50733E3-7A57-3B41-9C73-3C441A41830E}"/>
    <dgm:cxn modelId="{212B6AB2-3C25-F54D-9AE0-F310F91A54FC}" type="presOf" srcId="{558C1C66-A9CF-914F-880F-075BC706B502}" destId="{8237ADE3-D2D1-8B44-90DB-EB381FE5EFA8}" srcOrd="0" destOrd="0" presId="urn:microsoft.com/office/officeart/2009/layout/CirclePictureHierarchy"/>
    <dgm:cxn modelId="{0966EAB2-C788-384E-BA09-F636FD911E63}" srcId="{C872840D-D8EA-6246-88E2-86D6977C9881}" destId="{DE0A67E6-5B72-6D44-A7AE-FFF3E1D3C4A4}" srcOrd="4" destOrd="0" parTransId="{F181D73B-8711-3F4A-AD72-7941160AACC9}" sibTransId="{3DE263AA-4A5C-2046-95F8-4923AD11D826}"/>
    <dgm:cxn modelId="{E61A9BB3-09D4-6241-8DF3-78707774ED3B}" srcId="{C872840D-D8EA-6246-88E2-86D6977C9881}" destId="{FD5849ED-99BB-5048-9222-E89EA0CAAE28}" srcOrd="2" destOrd="0" parTransId="{6209F111-929C-E246-B803-AFFD10EA1423}" sibTransId="{ECE5D8F7-0170-4044-8350-463D23577F1A}"/>
    <dgm:cxn modelId="{68808BBD-0E6C-EC4B-A8EB-01749AEDD364}" type="presOf" srcId="{C872840D-D8EA-6246-88E2-86D6977C9881}" destId="{D6C4DD05-34AF-CB43-8D15-EC5DF27A7B43}" srcOrd="0" destOrd="0" presId="urn:microsoft.com/office/officeart/2009/layout/CirclePictureHierarchy"/>
    <dgm:cxn modelId="{5FD8D6D0-1DC1-4446-8826-1AC803AC0848}" type="presOf" srcId="{A4D9D28E-3C1F-AF45-BD01-1F94C02974B2}" destId="{107F0CD8-1DC2-524C-BEA0-462BE3E2D797}" srcOrd="0" destOrd="0" presId="urn:microsoft.com/office/officeart/2009/layout/CirclePictureHierarchy"/>
    <dgm:cxn modelId="{51458AE5-AB0C-5F4C-B4F2-055E17EA0709}" srcId="{2FEC12E5-30C1-AA4C-8D4C-D5739AB66D9F}" destId="{C872840D-D8EA-6246-88E2-86D6977C9881}" srcOrd="0" destOrd="0" parTransId="{ACC44B23-DD34-894E-96E9-971E9E37C1D8}" sibTransId="{26BCB08B-29ED-DC47-8381-6B0555E2077C}"/>
    <dgm:cxn modelId="{7DC04EE9-CC4C-B647-948D-1C80FDA27B58}" type="presOf" srcId="{2FEC12E5-30C1-AA4C-8D4C-D5739AB66D9F}" destId="{CE5AC591-DE93-EC48-9B5B-A4509FA0D132}" srcOrd="0" destOrd="0" presId="urn:microsoft.com/office/officeart/2009/layout/CirclePictureHierarchy"/>
    <dgm:cxn modelId="{8A55EBEB-4DA7-FF42-AEA2-BD0D10733D2D}" type="presOf" srcId="{96B65C58-5DBD-6A41-A8C4-D82167C6466E}" destId="{F44BEBF3-25B2-3447-A01F-B8FAF967C99D}" srcOrd="0" destOrd="0" presId="urn:microsoft.com/office/officeart/2009/layout/CirclePictureHierarchy"/>
    <dgm:cxn modelId="{F02135F0-76F0-8144-9E4A-D231988BA895}" type="presOf" srcId="{FD5849ED-99BB-5048-9222-E89EA0CAAE28}" destId="{240ABA62-96D7-BE45-8395-0071D41C4897}" srcOrd="0" destOrd="0" presId="urn:microsoft.com/office/officeart/2009/layout/CirclePictureHierarchy"/>
    <dgm:cxn modelId="{307697FD-3B19-EE4B-B676-F27BC9B70D56}" type="presOf" srcId="{6209F111-929C-E246-B803-AFFD10EA1423}" destId="{003D8DB3-7A41-1B49-9DA9-6E6BB18A361A}" srcOrd="0" destOrd="0" presId="urn:microsoft.com/office/officeart/2009/layout/CirclePictureHierarchy"/>
    <dgm:cxn modelId="{2A7AA4E1-58AC-F843-AB2A-D66BA0D66926}" type="presParOf" srcId="{CE5AC591-DE93-EC48-9B5B-A4509FA0D132}" destId="{65849826-A968-F443-9DD9-C66FDDB98FF8}" srcOrd="0" destOrd="0" presId="urn:microsoft.com/office/officeart/2009/layout/CirclePictureHierarchy"/>
    <dgm:cxn modelId="{407777DA-7F1A-CA4F-917C-D64EC4A95AD8}" type="presParOf" srcId="{65849826-A968-F443-9DD9-C66FDDB98FF8}" destId="{E22F4D1C-3770-6E4D-B99F-73D4F8C06C34}" srcOrd="0" destOrd="0" presId="urn:microsoft.com/office/officeart/2009/layout/CirclePictureHierarchy"/>
    <dgm:cxn modelId="{C7F47481-8941-B24C-AA0E-423BEB46B514}" type="presParOf" srcId="{E22F4D1C-3770-6E4D-B99F-73D4F8C06C34}" destId="{08087D3D-3414-5243-BE31-CD0FA061AA6D}" srcOrd="0" destOrd="0" presId="urn:microsoft.com/office/officeart/2009/layout/CirclePictureHierarchy"/>
    <dgm:cxn modelId="{98A980FA-5B20-F445-B1F7-1AD63567031E}" type="presParOf" srcId="{E22F4D1C-3770-6E4D-B99F-73D4F8C06C34}" destId="{D6C4DD05-34AF-CB43-8D15-EC5DF27A7B43}" srcOrd="1" destOrd="0" presId="urn:microsoft.com/office/officeart/2009/layout/CirclePictureHierarchy"/>
    <dgm:cxn modelId="{CC6EFD02-F5E8-8F4B-8CAA-00A654C80A94}" type="presParOf" srcId="{65849826-A968-F443-9DD9-C66FDDB98FF8}" destId="{E11807FA-D3CE-E04E-A76F-E5BF96EDFEB2}" srcOrd="1" destOrd="0" presId="urn:microsoft.com/office/officeart/2009/layout/CirclePictureHierarchy"/>
    <dgm:cxn modelId="{68C3C471-789E-0D43-AD7F-A1BADCDC364E}" type="presParOf" srcId="{E11807FA-D3CE-E04E-A76F-E5BF96EDFEB2}" destId="{46260C28-7A33-BC4F-9C82-438F6B68C39A}" srcOrd="0" destOrd="0" presId="urn:microsoft.com/office/officeart/2009/layout/CirclePictureHierarchy"/>
    <dgm:cxn modelId="{E8CC3731-D961-AB40-BB64-2608654F3942}" type="presParOf" srcId="{E11807FA-D3CE-E04E-A76F-E5BF96EDFEB2}" destId="{5B542761-D657-6342-BE3D-F8D0960E6D15}" srcOrd="1" destOrd="0" presId="urn:microsoft.com/office/officeart/2009/layout/CirclePictureHierarchy"/>
    <dgm:cxn modelId="{720CC0CC-2F5D-524E-B554-448492B47DE9}" type="presParOf" srcId="{5B542761-D657-6342-BE3D-F8D0960E6D15}" destId="{2B33FA67-27F6-804A-B650-040DD7BDB01D}" srcOrd="0" destOrd="0" presId="urn:microsoft.com/office/officeart/2009/layout/CirclePictureHierarchy"/>
    <dgm:cxn modelId="{5255324B-6715-3549-AC43-DC39088C0683}" type="presParOf" srcId="{2B33FA67-27F6-804A-B650-040DD7BDB01D}" destId="{E0D3BB24-48D6-0541-8CC4-57BF9B8775B1}" srcOrd="0" destOrd="0" presId="urn:microsoft.com/office/officeart/2009/layout/CirclePictureHierarchy"/>
    <dgm:cxn modelId="{180E8A58-A9C4-674B-8262-C7F1AD7A9E46}" type="presParOf" srcId="{2B33FA67-27F6-804A-B650-040DD7BDB01D}" destId="{7B2855C1-E827-3141-ADD2-3ECFD74FB69E}" srcOrd="1" destOrd="0" presId="urn:microsoft.com/office/officeart/2009/layout/CirclePictureHierarchy"/>
    <dgm:cxn modelId="{EC002469-3BD8-2541-A675-6CC8CE900893}" type="presParOf" srcId="{5B542761-D657-6342-BE3D-F8D0960E6D15}" destId="{32567199-C632-864C-A6D5-C77F18060E70}" srcOrd="1" destOrd="0" presId="urn:microsoft.com/office/officeart/2009/layout/CirclePictureHierarchy"/>
    <dgm:cxn modelId="{71EBDABC-8725-F146-89AB-E699D51ED7E6}" type="presParOf" srcId="{E11807FA-D3CE-E04E-A76F-E5BF96EDFEB2}" destId="{28806B59-80D4-E64B-B3E4-F14F6750DA92}" srcOrd="2" destOrd="0" presId="urn:microsoft.com/office/officeart/2009/layout/CirclePictureHierarchy"/>
    <dgm:cxn modelId="{B018EAAC-231E-E64B-8E72-843A5FCBDC47}" type="presParOf" srcId="{E11807FA-D3CE-E04E-A76F-E5BF96EDFEB2}" destId="{90E13E3E-D352-A446-BEC4-82386D4FD774}" srcOrd="3" destOrd="0" presId="urn:microsoft.com/office/officeart/2009/layout/CirclePictureHierarchy"/>
    <dgm:cxn modelId="{E556014E-3041-4942-8A53-4541C890D907}" type="presParOf" srcId="{90E13E3E-D352-A446-BEC4-82386D4FD774}" destId="{53E63AB3-245A-C845-9B90-674037E6FEAE}" srcOrd="0" destOrd="0" presId="urn:microsoft.com/office/officeart/2009/layout/CirclePictureHierarchy"/>
    <dgm:cxn modelId="{8BBF990E-F400-5845-A6E1-FB967E0A622B}" type="presParOf" srcId="{53E63AB3-245A-C845-9B90-674037E6FEAE}" destId="{919B0FE6-04EA-3F4D-B7D8-F2F54549F593}" srcOrd="0" destOrd="0" presId="urn:microsoft.com/office/officeart/2009/layout/CirclePictureHierarchy"/>
    <dgm:cxn modelId="{D4C90E09-D8D0-7E4F-AF47-3766BE3E6DD5}" type="presParOf" srcId="{53E63AB3-245A-C845-9B90-674037E6FEAE}" destId="{8237ADE3-D2D1-8B44-90DB-EB381FE5EFA8}" srcOrd="1" destOrd="0" presId="urn:microsoft.com/office/officeart/2009/layout/CirclePictureHierarchy"/>
    <dgm:cxn modelId="{170B05F3-20DB-FE4C-8F8C-0E30C333E0D8}" type="presParOf" srcId="{90E13E3E-D352-A446-BEC4-82386D4FD774}" destId="{B33B0F5F-F820-3141-BDC4-DBC2607148BC}" srcOrd="1" destOrd="0" presId="urn:microsoft.com/office/officeart/2009/layout/CirclePictureHierarchy"/>
    <dgm:cxn modelId="{C38A7A9C-F061-E943-8A7C-7ABEFE4FF914}" type="presParOf" srcId="{E11807FA-D3CE-E04E-A76F-E5BF96EDFEB2}" destId="{003D8DB3-7A41-1B49-9DA9-6E6BB18A361A}" srcOrd="4" destOrd="0" presId="urn:microsoft.com/office/officeart/2009/layout/CirclePictureHierarchy"/>
    <dgm:cxn modelId="{F81EAAB7-A512-544E-A8EC-4870C57F4798}" type="presParOf" srcId="{E11807FA-D3CE-E04E-A76F-E5BF96EDFEB2}" destId="{D8724731-0681-6945-81B6-7C8F447518D7}" srcOrd="5" destOrd="0" presId="urn:microsoft.com/office/officeart/2009/layout/CirclePictureHierarchy"/>
    <dgm:cxn modelId="{558FAD18-69E0-7B4C-9DDD-04AD01687951}" type="presParOf" srcId="{D8724731-0681-6945-81B6-7C8F447518D7}" destId="{38FE1B79-3545-484B-B273-EEDA238F14E2}" srcOrd="0" destOrd="0" presId="urn:microsoft.com/office/officeart/2009/layout/CirclePictureHierarchy"/>
    <dgm:cxn modelId="{555E3623-168A-7049-B578-2AF918825950}" type="presParOf" srcId="{38FE1B79-3545-484B-B273-EEDA238F14E2}" destId="{F72C236C-5CEC-CD42-A2A7-35FDCDBD2DF2}" srcOrd="0" destOrd="0" presId="urn:microsoft.com/office/officeart/2009/layout/CirclePictureHierarchy"/>
    <dgm:cxn modelId="{40E60D1F-0889-1B4C-A916-A4AF5CFEECC2}" type="presParOf" srcId="{38FE1B79-3545-484B-B273-EEDA238F14E2}" destId="{240ABA62-96D7-BE45-8395-0071D41C4897}" srcOrd="1" destOrd="0" presId="urn:microsoft.com/office/officeart/2009/layout/CirclePictureHierarchy"/>
    <dgm:cxn modelId="{50449B90-F708-9044-920D-ED6C34A8B1F6}" type="presParOf" srcId="{D8724731-0681-6945-81B6-7C8F447518D7}" destId="{0D015EA1-E115-CF43-A7FC-8C40A7294316}" srcOrd="1" destOrd="0" presId="urn:microsoft.com/office/officeart/2009/layout/CirclePictureHierarchy"/>
    <dgm:cxn modelId="{12158536-0E21-1B4A-99F6-DAE15F5B5A29}" type="presParOf" srcId="{E11807FA-D3CE-E04E-A76F-E5BF96EDFEB2}" destId="{F44BEBF3-25B2-3447-A01F-B8FAF967C99D}" srcOrd="6" destOrd="0" presId="urn:microsoft.com/office/officeart/2009/layout/CirclePictureHierarchy"/>
    <dgm:cxn modelId="{6F1DAC54-94B1-024F-901F-0B19667DAA5B}" type="presParOf" srcId="{E11807FA-D3CE-E04E-A76F-E5BF96EDFEB2}" destId="{EBBDD9B3-41CD-C543-A41A-C87E5DD31EF4}" srcOrd="7" destOrd="0" presId="urn:microsoft.com/office/officeart/2009/layout/CirclePictureHierarchy"/>
    <dgm:cxn modelId="{61552EE9-0967-D74E-9641-44774D079FA3}" type="presParOf" srcId="{EBBDD9B3-41CD-C543-A41A-C87E5DD31EF4}" destId="{FF785A03-C28E-C747-99CD-7D614B6A34DD}" srcOrd="0" destOrd="0" presId="urn:microsoft.com/office/officeart/2009/layout/CirclePictureHierarchy"/>
    <dgm:cxn modelId="{27F5DE59-F710-5745-B15A-CFDB646C526C}" type="presParOf" srcId="{FF785A03-C28E-C747-99CD-7D614B6A34DD}" destId="{9E3F8F9E-4113-D649-B5B0-D1D7CDA2CC81}" srcOrd="0" destOrd="0" presId="urn:microsoft.com/office/officeart/2009/layout/CirclePictureHierarchy"/>
    <dgm:cxn modelId="{751D32BF-0E70-FF43-8645-F7F5BEFC67BB}" type="presParOf" srcId="{FF785A03-C28E-C747-99CD-7D614B6A34DD}" destId="{2D4737CA-9AE7-814D-B706-DAA1480CF2E1}" srcOrd="1" destOrd="0" presId="urn:microsoft.com/office/officeart/2009/layout/CirclePictureHierarchy"/>
    <dgm:cxn modelId="{B8CFC510-7A7E-8742-A20C-243B55D67C9D}" type="presParOf" srcId="{EBBDD9B3-41CD-C543-A41A-C87E5DD31EF4}" destId="{DD3B59E6-8E8E-1B42-B8DA-6A1BA52A7277}" srcOrd="1" destOrd="0" presId="urn:microsoft.com/office/officeart/2009/layout/CirclePictureHierarchy"/>
    <dgm:cxn modelId="{70884878-8964-2446-A551-5F19E87BE1A4}" type="presParOf" srcId="{E11807FA-D3CE-E04E-A76F-E5BF96EDFEB2}" destId="{A4F53CE0-A241-C942-A77D-26054EF9D23C}" srcOrd="8" destOrd="0" presId="urn:microsoft.com/office/officeart/2009/layout/CirclePictureHierarchy"/>
    <dgm:cxn modelId="{9C403413-A050-1542-96A3-27530FD2255C}" type="presParOf" srcId="{E11807FA-D3CE-E04E-A76F-E5BF96EDFEB2}" destId="{2054E3C7-3BBA-5446-97F2-D2A2E301E203}" srcOrd="9" destOrd="0" presId="urn:microsoft.com/office/officeart/2009/layout/CirclePictureHierarchy"/>
    <dgm:cxn modelId="{BB1C436D-AFE5-3F49-98AD-C87F79473FC5}" type="presParOf" srcId="{2054E3C7-3BBA-5446-97F2-D2A2E301E203}" destId="{D7B351DA-9F72-534A-9E08-06976E6F9793}" srcOrd="0" destOrd="0" presId="urn:microsoft.com/office/officeart/2009/layout/CirclePictureHierarchy"/>
    <dgm:cxn modelId="{A5767204-0AB7-7545-9357-6DFEB7377898}" type="presParOf" srcId="{D7B351DA-9F72-534A-9E08-06976E6F9793}" destId="{53B5E301-5E6C-184D-B110-03F5A599E405}" srcOrd="0" destOrd="0" presId="urn:microsoft.com/office/officeart/2009/layout/CirclePictureHierarchy"/>
    <dgm:cxn modelId="{7FFEFE5B-9633-1049-81A6-C062F46D0721}" type="presParOf" srcId="{D7B351DA-9F72-534A-9E08-06976E6F9793}" destId="{8E534389-68A2-DA45-9987-5907F7301FB8}" srcOrd="1" destOrd="0" presId="urn:microsoft.com/office/officeart/2009/layout/CirclePictureHierarchy"/>
    <dgm:cxn modelId="{1E82ABA3-3D02-6942-B335-56C9001E07FF}" type="presParOf" srcId="{2054E3C7-3BBA-5446-97F2-D2A2E301E203}" destId="{DD50E5CC-455A-1741-9A34-1F10D9BC4615}" srcOrd="1" destOrd="0" presId="urn:microsoft.com/office/officeart/2009/layout/CirclePictureHierarchy"/>
    <dgm:cxn modelId="{B348E56A-8491-B24F-8928-9FEBF4D79995}" type="presParOf" srcId="{E11807FA-D3CE-E04E-A76F-E5BF96EDFEB2}" destId="{107F0CD8-1DC2-524C-BEA0-462BE3E2D797}" srcOrd="10" destOrd="0" presId="urn:microsoft.com/office/officeart/2009/layout/CirclePictureHierarchy"/>
    <dgm:cxn modelId="{B35B4960-57E0-064E-BBE9-56B273A47745}" type="presParOf" srcId="{E11807FA-D3CE-E04E-A76F-E5BF96EDFEB2}" destId="{42D8F7A3-F418-004A-B63F-319113766C47}" srcOrd="11" destOrd="0" presId="urn:microsoft.com/office/officeart/2009/layout/CirclePictureHierarchy"/>
    <dgm:cxn modelId="{C9D0BFF8-865C-0F4D-91B6-B80039EEB7AC}" type="presParOf" srcId="{42D8F7A3-F418-004A-B63F-319113766C47}" destId="{77C0539C-61D9-014E-ABE7-435DC9D7A769}" srcOrd="0" destOrd="0" presId="urn:microsoft.com/office/officeart/2009/layout/CirclePictureHierarchy"/>
    <dgm:cxn modelId="{3876D98C-4789-324D-8DB3-2E38423D1FDF}" type="presParOf" srcId="{77C0539C-61D9-014E-ABE7-435DC9D7A769}" destId="{A28B96DD-17E7-B647-8812-213977B1528F}" srcOrd="0" destOrd="0" presId="urn:microsoft.com/office/officeart/2009/layout/CirclePictureHierarchy"/>
    <dgm:cxn modelId="{D6680486-774B-D545-99FA-D04F30642F8B}" type="presParOf" srcId="{77C0539C-61D9-014E-ABE7-435DC9D7A769}" destId="{D91D75A8-F85E-D343-A275-0EB82B183B45}" srcOrd="1" destOrd="0" presId="urn:microsoft.com/office/officeart/2009/layout/CirclePictureHierarchy"/>
    <dgm:cxn modelId="{055DE646-DD54-EA48-A6ED-84F75C9B99DC}" type="presParOf" srcId="{42D8F7A3-F418-004A-B63F-319113766C47}" destId="{FB907CCA-779D-6E4D-95A9-C455347933B5}" srcOrd="1" destOrd="0" presId="urn:microsoft.com/office/officeart/2009/layout/CirclePictureHierarchy"/>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4D9EEF-7492-434C-BF81-E5C82B8D3B6A}">
      <dsp:nvSpPr>
        <dsp:cNvPr id="0" name=""/>
        <dsp:cNvSpPr/>
      </dsp:nvSpPr>
      <dsp:spPr>
        <a:xfrm>
          <a:off x="0" y="0"/>
          <a:ext cx="5658282" cy="972564"/>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kern="1200" dirty="0">
              <a:solidFill>
                <a:schemeClr val="tx1"/>
              </a:solidFill>
              <a:latin typeface="+mn-lt"/>
              <a:cs typeface="Arial" panose="020B0604020202020204" pitchFamily="34" charset="0"/>
            </a:rPr>
            <a:t>Disconnect Switches</a:t>
          </a:r>
        </a:p>
      </dsp:txBody>
      <dsp:txXfrm>
        <a:off x="1228912" y="0"/>
        <a:ext cx="4429369" cy="972564"/>
      </dsp:txXfrm>
    </dsp:sp>
    <dsp:sp modelId="{937BEADF-0DAF-488F-9E6F-53F429581363}">
      <dsp:nvSpPr>
        <dsp:cNvPr id="0" name=""/>
        <dsp:cNvSpPr/>
      </dsp:nvSpPr>
      <dsp:spPr>
        <a:xfrm>
          <a:off x="97256" y="97256"/>
          <a:ext cx="1131656" cy="778051"/>
        </a:xfrm>
        <a:prstGeom prst="roundRect">
          <a:avLst>
            <a:gd name="adj" fmla="val 10000"/>
          </a:avLst>
        </a:prstGeom>
        <a:blipFill rotWithShape="1">
          <a:blip xmlns:r="http://schemas.openxmlformats.org/officeDocument/2006/relationships" r:embed="rId1"/>
          <a:srcRect/>
          <a:stretch>
            <a:fillRect t="-22000" b="-2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6F9DBE7-0A44-44D1-9100-C1C1C26F3AB3}">
      <dsp:nvSpPr>
        <dsp:cNvPr id="0" name=""/>
        <dsp:cNvSpPr/>
      </dsp:nvSpPr>
      <dsp:spPr>
        <a:xfrm>
          <a:off x="0" y="1069820"/>
          <a:ext cx="5658282" cy="972564"/>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kern="1200" dirty="0">
              <a:solidFill>
                <a:schemeClr val="tx1"/>
              </a:solidFill>
              <a:latin typeface="+mn-lt"/>
              <a:cs typeface="Arial" panose="020B0604020202020204" pitchFamily="34" charset="0"/>
            </a:rPr>
            <a:t>Ground Switches</a:t>
          </a:r>
        </a:p>
      </dsp:txBody>
      <dsp:txXfrm>
        <a:off x="1228912" y="1069820"/>
        <a:ext cx="4429369" cy="972564"/>
      </dsp:txXfrm>
    </dsp:sp>
    <dsp:sp modelId="{C85F95D3-11BB-440A-87F4-0A35EC3903B2}">
      <dsp:nvSpPr>
        <dsp:cNvPr id="0" name=""/>
        <dsp:cNvSpPr/>
      </dsp:nvSpPr>
      <dsp:spPr>
        <a:xfrm>
          <a:off x="97256" y="1167077"/>
          <a:ext cx="1131656" cy="778051"/>
        </a:xfrm>
        <a:prstGeom prst="roundRect">
          <a:avLst>
            <a:gd name="adj" fmla="val 10000"/>
          </a:avLst>
        </a:prstGeom>
        <a:blipFill rotWithShape="1">
          <a:blip xmlns:r="http://schemas.openxmlformats.org/officeDocument/2006/relationships" r:embed="rId2"/>
          <a:srcRect/>
          <a:stretch>
            <a:fillRect t="-74000" b="-7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27D5D2-7E4D-4DD4-AAC0-C06421E37BAC}">
      <dsp:nvSpPr>
        <dsp:cNvPr id="0" name=""/>
        <dsp:cNvSpPr/>
      </dsp:nvSpPr>
      <dsp:spPr>
        <a:xfrm>
          <a:off x="0" y="2139641"/>
          <a:ext cx="5658282" cy="972564"/>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kern="1200" dirty="0">
              <a:solidFill>
                <a:schemeClr val="tx1"/>
              </a:solidFill>
              <a:latin typeface="+mn-lt"/>
              <a:cs typeface="Arial" panose="020B0604020202020204" pitchFamily="34" charset="0"/>
            </a:rPr>
            <a:t>Motor Operators</a:t>
          </a:r>
        </a:p>
      </dsp:txBody>
      <dsp:txXfrm>
        <a:off x="1228912" y="2139641"/>
        <a:ext cx="4429369" cy="972564"/>
      </dsp:txXfrm>
    </dsp:sp>
    <dsp:sp modelId="{85648CA8-1B5F-4319-95EE-4D192AE25D17}">
      <dsp:nvSpPr>
        <dsp:cNvPr id="0" name=""/>
        <dsp:cNvSpPr/>
      </dsp:nvSpPr>
      <dsp:spPr>
        <a:xfrm>
          <a:off x="97256" y="2236897"/>
          <a:ext cx="1131656" cy="778051"/>
        </a:xfrm>
        <a:prstGeom prst="roundRect">
          <a:avLst>
            <a:gd name="adj" fmla="val 10000"/>
          </a:avLst>
        </a:prstGeom>
        <a:blipFill rotWithShape="1">
          <a:blip xmlns:r="http://schemas.openxmlformats.org/officeDocument/2006/relationships" r:embed="rId3"/>
          <a:srcRect/>
          <a:stretch>
            <a:fillRect t="-44000" b="-4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EFFDB01-3AD1-49D3-8B0C-1BE57910F69B}">
      <dsp:nvSpPr>
        <dsp:cNvPr id="0" name=""/>
        <dsp:cNvSpPr/>
      </dsp:nvSpPr>
      <dsp:spPr>
        <a:xfrm>
          <a:off x="0" y="3209462"/>
          <a:ext cx="5658282" cy="972564"/>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kern="1200" dirty="0">
              <a:solidFill>
                <a:schemeClr val="tx1"/>
              </a:solidFill>
              <a:latin typeface="+mn-lt"/>
              <a:cs typeface="Arial" panose="020B0604020202020204" pitchFamily="34" charset="0"/>
            </a:rPr>
            <a:t>Sensors (ICS, Far Field, Arrestor, Vacuum)</a:t>
          </a:r>
        </a:p>
      </dsp:txBody>
      <dsp:txXfrm>
        <a:off x="1228912" y="3209462"/>
        <a:ext cx="4429369" cy="972564"/>
      </dsp:txXfrm>
    </dsp:sp>
    <dsp:sp modelId="{BB8DECBA-1432-4F6B-A94E-E65AC9788B1C}">
      <dsp:nvSpPr>
        <dsp:cNvPr id="0" name=""/>
        <dsp:cNvSpPr/>
      </dsp:nvSpPr>
      <dsp:spPr>
        <a:xfrm>
          <a:off x="97256" y="3306718"/>
          <a:ext cx="1131656" cy="778051"/>
        </a:xfrm>
        <a:prstGeom prst="roundRect">
          <a:avLst>
            <a:gd name="adj" fmla="val 10000"/>
          </a:avLst>
        </a:prstGeom>
        <a:blipFill rotWithShape="1">
          <a:blip xmlns:r="http://schemas.openxmlformats.org/officeDocument/2006/relationships" r:embed="rId4"/>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ABA33B5-0A88-4D6D-B899-5E57E19C0C02}">
      <dsp:nvSpPr>
        <dsp:cNvPr id="0" name=""/>
        <dsp:cNvSpPr/>
      </dsp:nvSpPr>
      <dsp:spPr>
        <a:xfrm>
          <a:off x="0" y="4279283"/>
          <a:ext cx="5658282" cy="972564"/>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kern="1200" dirty="0">
              <a:solidFill>
                <a:schemeClr val="tx1"/>
              </a:solidFill>
              <a:latin typeface="+mn-lt"/>
              <a:cs typeface="Arial" panose="020B0604020202020204" pitchFamily="34" charset="0"/>
            </a:rPr>
            <a:t>Special Purpose Products (LBI vacuum interrupter, MACI, SIS)</a:t>
          </a:r>
        </a:p>
      </dsp:txBody>
      <dsp:txXfrm>
        <a:off x="1228912" y="4279283"/>
        <a:ext cx="4429369" cy="972564"/>
      </dsp:txXfrm>
    </dsp:sp>
    <dsp:sp modelId="{841B8AB8-D162-4AFD-9E58-05D1926EF1F7}">
      <dsp:nvSpPr>
        <dsp:cNvPr id="0" name=""/>
        <dsp:cNvSpPr/>
      </dsp:nvSpPr>
      <dsp:spPr>
        <a:xfrm>
          <a:off x="97256" y="4376539"/>
          <a:ext cx="1131656" cy="778051"/>
        </a:xfrm>
        <a:prstGeom prst="roundRect">
          <a:avLst>
            <a:gd name="adj" fmla="val 10000"/>
          </a:avLst>
        </a:prstGeom>
        <a:blipFill rotWithShape="1">
          <a:blip xmlns:r="http://schemas.openxmlformats.org/officeDocument/2006/relationships" r:embed="rId5"/>
          <a:srcRect/>
          <a:stretch>
            <a:fillRect t="-34000" b="-3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7F0CD8-1DC2-524C-BEA0-462BE3E2D797}">
      <dsp:nvSpPr>
        <dsp:cNvPr id="0" name=""/>
        <dsp:cNvSpPr/>
      </dsp:nvSpPr>
      <dsp:spPr>
        <a:xfrm>
          <a:off x="5335192" y="1270830"/>
          <a:ext cx="5360646" cy="615688"/>
        </a:xfrm>
        <a:custGeom>
          <a:avLst/>
          <a:gdLst/>
          <a:ahLst/>
          <a:cxnLst/>
          <a:rect l="0" t="0" r="0" b="0"/>
          <a:pathLst>
            <a:path>
              <a:moveTo>
                <a:pt x="0" y="0"/>
              </a:moveTo>
              <a:lnTo>
                <a:pt x="0" y="494766"/>
              </a:lnTo>
              <a:lnTo>
                <a:pt x="5360646" y="494766"/>
              </a:lnTo>
              <a:lnTo>
                <a:pt x="5360646" y="615688"/>
              </a:lnTo>
            </a:path>
          </a:pathLst>
        </a:custGeom>
        <a:noFill/>
        <a:ln w="381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A4F53CE0-A241-C942-A77D-26054EF9D23C}">
      <dsp:nvSpPr>
        <dsp:cNvPr id="0" name=""/>
        <dsp:cNvSpPr/>
      </dsp:nvSpPr>
      <dsp:spPr>
        <a:xfrm>
          <a:off x="5335192" y="1270830"/>
          <a:ext cx="3334935" cy="615557"/>
        </a:xfrm>
        <a:custGeom>
          <a:avLst/>
          <a:gdLst/>
          <a:ahLst/>
          <a:cxnLst/>
          <a:rect l="0" t="0" r="0" b="0"/>
          <a:pathLst>
            <a:path>
              <a:moveTo>
                <a:pt x="0" y="0"/>
              </a:moveTo>
              <a:lnTo>
                <a:pt x="0" y="494634"/>
              </a:lnTo>
              <a:lnTo>
                <a:pt x="3334935" y="494634"/>
              </a:lnTo>
              <a:lnTo>
                <a:pt x="3334935" y="615557"/>
              </a:lnTo>
            </a:path>
          </a:pathLst>
        </a:custGeom>
        <a:noFill/>
        <a:ln w="381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F44BEBF3-25B2-3447-A01F-B8FAF967C99D}">
      <dsp:nvSpPr>
        <dsp:cNvPr id="0" name=""/>
        <dsp:cNvSpPr/>
      </dsp:nvSpPr>
      <dsp:spPr>
        <a:xfrm>
          <a:off x="5335192" y="1270830"/>
          <a:ext cx="1296688" cy="615557"/>
        </a:xfrm>
        <a:custGeom>
          <a:avLst/>
          <a:gdLst/>
          <a:ahLst/>
          <a:cxnLst/>
          <a:rect l="0" t="0" r="0" b="0"/>
          <a:pathLst>
            <a:path>
              <a:moveTo>
                <a:pt x="0" y="0"/>
              </a:moveTo>
              <a:lnTo>
                <a:pt x="0" y="494634"/>
              </a:lnTo>
              <a:lnTo>
                <a:pt x="1296688" y="494634"/>
              </a:lnTo>
              <a:lnTo>
                <a:pt x="1296688" y="615557"/>
              </a:lnTo>
            </a:path>
          </a:pathLst>
        </a:custGeom>
        <a:noFill/>
        <a:ln w="3810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003D8DB3-7A41-1B49-9DA9-6E6BB18A361A}">
      <dsp:nvSpPr>
        <dsp:cNvPr id="0" name=""/>
        <dsp:cNvSpPr/>
      </dsp:nvSpPr>
      <dsp:spPr>
        <a:xfrm>
          <a:off x="4486364" y="1270830"/>
          <a:ext cx="848827" cy="615557"/>
        </a:xfrm>
        <a:custGeom>
          <a:avLst/>
          <a:gdLst/>
          <a:ahLst/>
          <a:cxnLst/>
          <a:rect l="0" t="0" r="0" b="0"/>
          <a:pathLst>
            <a:path>
              <a:moveTo>
                <a:pt x="848827" y="0"/>
              </a:moveTo>
              <a:lnTo>
                <a:pt x="848827" y="494634"/>
              </a:lnTo>
              <a:lnTo>
                <a:pt x="0" y="494634"/>
              </a:lnTo>
              <a:lnTo>
                <a:pt x="0" y="615557"/>
              </a:lnTo>
            </a:path>
          </a:pathLst>
        </a:custGeom>
        <a:noFill/>
        <a:ln w="3810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28806B59-80D4-E64B-B3E4-F14F6750DA92}">
      <dsp:nvSpPr>
        <dsp:cNvPr id="0" name=""/>
        <dsp:cNvSpPr/>
      </dsp:nvSpPr>
      <dsp:spPr>
        <a:xfrm>
          <a:off x="2406501" y="1270830"/>
          <a:ext cx="2928690" cy="615688"/>
        </a:xfrm>
        <a:custGeom>
          <a:avLst/>
          <a:gdLst/>
          <a:ahLst/>
          <a:cxnLst/>
          <a:rect l="0" t="0" r="0" b="0"/>
          <a:pathLst>
            <a:path>
              <a:moveTo>
                <a:pt x="2928690" y="0"/>
              </a:moveTo>
              <a:lnTo>
                <a:pt x="2928690" y="494766"/>
              </a:lnTo>
              <a:lnTo>
                <a:pt x="0" y="494766"/>
              </a:lnTo>
              <a:lnTo>
                <a:pt x="0" y="615688"/>
              </a:lnTo>
            </a:path>
          </a:pathLst>
        </a:custGeom>
        <a:noFill/>
        <a:ln w="381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6260C28-7A33-BC4F-9C82-438F6B68C39A}">
      <dsp:nvSpPr>
        <dsp:cNvPr id="0" name=""/>
        <dsp:cNvSpPr/>
      </dsp:nvSpPr>
      <dsp:spPr>
        <a:xfrm>
          <a:off x="421913" y="1270830"/>
          <a:ext cx="4913278" cy="615688"/>
        </a:xfrm>
        <a:custGeom>
          <a:avLst/>
          <a:gdLst/>
          <a:ahLst/>
          <a:cxnLst/>
          <a:rect l="0" t="0" r="0" b="0"/>
          <a:pathLst>
            <a:path>
              <a:moveTo>
                <a:pt x="4913278" y="0"/>
              </a:moveTo>
              <a:lnTo>
                <a:pt x="4913278" y="494766"/>
              </a:lnTo>
              <a:lnTo>
                <a:pt x="0" y="494766"/>
              </a:lnTo>
              <a:lnTo>
                <a:pt x="0" y="615688"/>
              </a:lnTo>
            </a:path>
          </a:pathLst>
        </a:custGeom>
        <a:noFill/>
        <a:ln w="381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08087D3D-3414-5243-BE31-CD0FA061AA6D}">
      <dsp:nvSpPr>
        <dsp:cNvPr id="0" name=""/>
        <dsp:cNvSpPr/>
      </dsp:nvSpPr>
      <dsp:spPr>
        <a:xfrm>
          <a:off x="4948238" y="496923"/>
          <a:ext cx="773906" cy="773906"/>
        </a:xfrm>
        <a:prstGeom prst="ellipse">
          <a:avLst/>
        </a:prstGeom>
        <a:blipFill>
          <a:blip xmlns:r="http://schemas.openxmlformats.org/officeDocument/2006/relationships" r:embed="rId1">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6C4DD05-34AF-CB43-8D15-EC5DF27A7B43}">
      <dsp:nvSpPr>
        <dsp:cNvPr id="0" name=""/>
        <dsp:cNvSpPr/>
      </dsp:nvSpPr>
      <dsp:spPr>
        <a:xfrm>
          <a:off x="5752389" y="496923"/>
          <a:ext cx="1914442" cy="773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r" defTabSz="1244600">
            <a:lnSpc>
              <a:spcPct val="90000"/>
            </a:lnSpc>
            <a:spcBef>
              <a:spcPct val="0"/>
            </a:spcBef>
            <a:spcAft>
              <a:spcPct val="35000"/>
            </a:spcAft>
            <a:buNone/>
          </a:pPr>
          <a:r>
            <a:rPr lang="en-US" sz="2800" b="1" kern="1200" dirty="0"/>
            <a:t>Steve Fan</a:t>
          </a:r>
        </a:p>
      </dsp:txBody>
      <dsp:txXfrm>
        <a:off x="5752389" y="496923"/>
        <a:ext cx="1914442" cy="773906"/>
      </dsp:txXfrm>
    </dsp:sp>
    <dsp:sp modelId="{E0D3BB24-48D6-0541-8CC4-57BF9B8775B1}">
      <dsp:nvSpPr>
        <dsp:cNvPr id="0" name=""/>
        <dsp:cNvSpPr/>
      </dsp:nvSpPr>
      <dsp:spPr>
        <a:xfrm>
          <a:off x="34960" y="1886518"/>
          <a:ext cx="773906" cy="773906"/>
        </a:xfrm>
        <a:prstGeom prst="ellipse">
          <a:avLst/>
        </a:prstGeom>
        <a:blipFill>
          <a:blip xmlns:r="http://schemas.openxmlformats.org/officeDocument/2006/relationships" r:embed="rId2">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B2855C1-E827-3141-ADD2-3ECFD74FB69E}">
      <dsp:nvSpPr>
        <dsp:cNvPr id="0" name=""/>
        <dsp:cNvSpPr/>
      </dsp:nvSpPr>
      <dsp:spPr>
        <a:xfrm>
          <a:off x="823739" y="1879298"/>
          <a:ext cx="937939" cy="774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r" defTabSz="889000">
            <a:lnSpc>
              <a:spcPct val="90000"/>
            </a:lnSpc>
            <a:spcBef>
              <a:spcPct val="0"/>
            </a:spcBef>
            <a:spcAft>
              <a:spcPct val="35000"/>
            </a:spcAft>
            <a:buNone/>
          </a:pPr>
          <a:r>
            <a:rPr lang="en-US" sz="2000" b="1" kern="1200" dirty="0"/>
            <a:t>Tan Tran</a:t>
          </a:r>
          <a:br>
            <a:rPr lang="en-US" sz="2700" kern="1200" dirty="0"/>
          </a:br>
          <a:r>
            <a:rPr lang="en-US" sz="1600" kern="1200" dirty="0">
              <a:solidFill>
                <a:schemeClr val="accent1">
                  <a:lumMod val="60000"/>
                  <a:lumOff val="40000"/>
                </a:schemeClr>
              </a:solidFill>
            </a:rPr>
            <a:t>Master of  Testing</a:t>
          </a:r>
        </a:p>
      </dsp:txBody>
      <dsp:txXfrm>
        <a:off x="823739" y="1879298"/>
        <a:ext cx="937939" cy="774169"/>
      </dsp:txXfrm>
    </dsp:sp>
    <dsp:sp modelId="{919B0FE6-04EA-3F4D-B7D8-F2F54549F593}">
      <dsp:nvSpPr>
        <dsp:cNvPr id="0" name=""/>
        <dsp:cNvSpPr/>
      </dsp:nvSpPr>
      <dsp:spPr>
        <a:xfrm>
          <a:off x="2019548" y="1886518"/>
          <a:ext cx="773906" cy="773906"/>
        </a:xfrm>
        <a:prstGeom prst="ellipse">
          <a:avLst/>
        </a:prstGeom>
        <a:blipFill>
          <a:blip xmlns:r="http://schemas.openxmlformats.org/officeDocument/2006/relationships" r:embed="rId3"/>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237ADE3-D2D1-8B44-90DB-EB381FE5EFA8}">
      <dsp:nvSpPr>
        <dsp:cNvPr id="0" name=""/>
        <dsp:cNvSpPr/>
      </dsp:nvSpPr>
      <dsp:spPr>
        <a:xfrm>
          <a:off x="2738807" y="1879298"/>
          <a:ext cx="1064101" cy="774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r" defTabSz="889000">
            <a:lnSpc>
              <a:spcPct val="90000"/>
            </a:lnSpc>
            <a:spcBef>
              <a:spcPct val="0"/>
            </a:spcBef>
            <a:spcAft>
              <a:spcPct val="35000"/>
            </a:spcAft>
            <a:buNone/>
          </a:pPr>
          <a:r>
            <a:rPr lang="en-US" sz="2000" b="1" kern="1200" dirty="0"/>
            <a:t>Nick Mulkey</a:t>
          </a:r>
          <a:br>
            <a:rPr lang="en-US" sz="2000" b="1" kern="1200" dirty="0"/>
          </a:br>
          <a:r>
            <a:rPr lang="en-US" sz="1600" kern="1200" dirty="0">
              <a:solidFill>
                <a:schemeClr val="accent1">
                  <a:lumMod val="60000"/>
                  <a:lumOff val="40000"/>
                </a:schemeClr>
              </a:solidFill>
            </a:rPr>
            <a:t>Master of Design</a:t>
          </a:r>
        </a:p>
      </dsp:txBody>
      <dsp:txXfrm>
        <a:off x="2738807" y="1879298"/>
        <a:ext cx="1064101" cy="774169"/>
      </dsp:txXfrm>
    </dsp:sp>
    <dsp:sp modelId="{F72C236C-5CEC-CD42-A2A7-35FDCDBD2DF2}">
      <dsp:nvSpPr>
        <dsp:cNvPr id="0" name=""/>
        <dsp:cNvSpPr/>
      </dsp:nvSpPr>
      <dsp:spPr>
        <a:xfrm>
          <a:off x="4099411" y="1886387"/>
          <a:ext cx="773906" cy="773906"/>
        </a:xfrm>
        <a:prstGeom prst="ellipse">
          <a:avLst/>
        </a:prstGeom>
        <a:blipFill>
          <a:blip xmlns:r="http://schemas.openxmlformats.org/officeDocument/2006/relationships" r:embed="rId4">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0ABA62-96D7-BE45-8395-0071D41C4897}">
      <dsp:nvSpPr>
        <dsp:cNvPr id="0" name=""/>
        <dsp:cNvSpPr/>
      </dsp:nvSpPr>
      <dsp:spPr>
        <a:xfrm>
          <a:off x="4624313" y="1860801"/>
          <a:ext cx="1195406" cy="773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r" defTabSz="889000">
            <a:lnSpc>
              <a:spcPct val="90000"/>
            </a:lnSpc>
            <a:spcBef>
              <a:spcPct val="0"/>
            </a:spcBef>
            <a:spcAft>
              <a:spcPct val="35000"/>
            </a:spcAft>
            <a:buNone/>
          </a:pPr>
          <a:r>
            <a:rPr lang="en-US" sz="2000" b="1" kern="1200" dirty="0">
              <a:solidFill>
                <a:srgbClr val="333333">
                  <a:hueOff val="0"/>
                  <a:satOff val="0"/>
                  <a:lumOff val="0"/>
                  <a:alphaOff val="0"/>
                </a:srgbClr>
              </a:solidFill>
              <a:latin typeface="+mn-lt"/>
              <a:ea typeface="+mn-ea"/>
              <a:cs typeface="+mn-cs"/>
            </a:rPr>
            <a:t>Joe </a:t>
          </a:r>
          <a:r>
            <a:rPr lang="en-US" sz="2000" b="1" kern="1200" dirty="0">
              <a:solidFill>
                <a:srgbClr val="333333">
                  <a:hueOff val="0"/>
                  <a:satOff val="0"/>
                  <a:lumOff val="0"/>
                  <a:alphaOff val="0"/>
                </a:srgbClr>
              </a:solidFill>
              <a:latin typeface="Arial"/>
              <a:ea typeface="+mn-ea"/>
              <a:cs typeface="+mn-cs"/>
            </a:rPr>
            <a:t>Boike</a:t>
          </a:r>
          <a:br>
            <a:rPr lang="en-US" sz="1800" kern="1200" dirty="0"/>
          </a:br>
          <a:r>
            <a:rPr lang="en-US" sz="1600" kern="1200" dirty="0">
              <a:solidFill>
                <a:srgbClr val="005488">
                  <a:lumMod val="60000"/>
                  <a:lumOff val="40000"/>
                </a:srgbClr>
              </a:solidFill>
              <a:latin typeface="+mn-lt"/>
              <a:ea typeface="+mn-ea"/>
              <a:cs typeface="+mn-cs"/>
            </a:rPr>
            <a:t>Master of Controls</a:t>
          </a:r>
        </a:p>
      </dsp:txBody>
      <dsp:txXfrm>
        <a:off x="4624313" y="1860801"/>
        <a:ext cx="1195406" cy="773906"/>
      </dsp:txXfrm>
    </dsp:sp>
    <dsp:sp modelId="{9E3F8F9E-4113-D649-B5B0-D1D7CDA2CC81}">
      <dsp:nvSpPr>
        <dsp:cNvPr id="0" name=""/>
        <dsp:cNvSpPr/>
      </dsp:nvSpPr>
      <dsp:spPr>
        <a:xfrm>
          <a:off x="6244927" y="1886387"/>
          <a:ext cx="773906" cy="773906"/>
        </a:xfrm>
        <a:prstGeom prst="ellipse">
          <a:avLst/>
        </a:prstGeom>
        <a:blipFill>
          <a:blip xmlns:r="http://schemas.openxmlformats.org/officeDocument/2006/relationships" r:embed="rId5">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D4737CA-9AE7-814D-B706-DAA1480CF2E1}">
      <dsp:nvSpPr>
        <dsp:cNvPr id="0" name=""/>
        <dsp:cNvSpPr/>
      </dsp:nvSpPr>
      <dsp:spPr>
        <a:xfrm>
          <a:off x="7005803" y="1879553"/>
          <a:ext cx="980868" cy="773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r" defTabSz="889000">
            <a:lnSpc>
              <a:spcPct val="90000"/>
            </a:lnSpc>
            <a:spcBef>
              <a:spcPct val="0"/>
            </a:spcBef>
            <a:spcAft>
              <a:spcPct val="35000"/>
            </a:spcAft>
            <a:buNone/>
          </a:pPr>
          <a:r>
            <a:rPr lang="en-US" sz="2000" b="1" kern="1200" dirty="0">
              <a:solidFill>
                <a:srgbClr val="333333">
                  <a:hueOff val="0"/>
                  <a:satOff val="0"/>
                  <a:lumOff val="0"/>
                  <a:alphaOff val="0"/>
                </a:srgbClr>
              </a:solidFill>
              <a:latin typeface="Arial"/>
              <a:ea typeface="+mn-ea"/>
              <a:cs typeface="+mn-cs"/>
            </a:rPr>
            <a:t>Kaleb Benton</a:t>
          </a:r>
          <a:br>
            <a:rPr lang="en-US" sz="1600" kern="1200" dirty="0">
              <a:solidFill>
                <a:srgbClr val="005488">
                  <a:lumMod val="60000"/>
                  <a:lumOff val="40000"/>
                </a:srgbClr>
              </a:solidFill>
              <a:latin typeface="+mn-lt"/>
              <a:ea typeface="+mn-ea"/>
              <a:cs typeface="+mn-cs"/>
            </a:rPr>
          </a:br>
          <a:r>
            <a:rPr lang="en-US" sz="1600" kern="1200" dirty="0">
              <a:solidFill>
                <a:srgbClr val="005488">
                  <a:lumMod val="60000"/>
                  <a:lumOff val="40000"/>
                </a:srgbClr>
              </a:solidFill>
              <a:latin typeface="+mn-lt"/>
              <a:ea typeface="+mn-ea"/>
              <a:cs typeface="+mn-cs"/>
            </a:rPr>
            <a:t>Master of Software</a:t>
          </a:r>
        </a:p>
      </dsp:txBody>
      <dsp:txXfrm>
        <a:off x="7005803" y="1879553"/>
        <a:ext cx="980868" cy="773906"/>
      </dsp:txXfrm>
    </dsp:sp>
    <dsp:sp modelId="{53B5E301-5E6C-184D-B110-03F5A599E405}">
      <dsp:nvSpPr>
        <dsp:cNvPr id="0" name=""/>
        <dsp:cNvSpPr/>
      </dsp:nvSpPr>
      <dsp:spPr>
        <a:xfrm>
          <a:off x="8283174" y="1886387"/>
          <a:ext cx="773906" cy="773906"/>
        </a:xfrm>
        <a:prstGeom prst="ellipse">
          <a:avLst/>
        </a:prstGeom>
        <a:blipFill>
          <a:blip xmlns:r="http://schemas.openxmlformats.org/officeDocument/2006/relationships" r:embed="rId6">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534389-68A2-DA45-9987-5907F7301FB8}">
      <dsp:nvSpPr>
        <dsp:cNvPr id="0" name=""/>
        <dsp:cNvSpPr/>
      </dsp:nvSpPr>
      <dsp:spPr>
        <a:xfrm>
          <a:off x="8979349" y="1879553"/>
          <a:ext cx="1021022" cy="773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r" defTabSz="889000">
            <a:lnSpc>
              <a:spcPct val="90000"/>
            </a:lnSpc>
            <a:spcBef>
              <a:spcPct val="0"/>
            </a:spcBef>
            <a:spcAft>
              <a:spcPct val="35000"/>
            </a:spcAft>
            <a:buNone/>
          </a:pPr>
          <a:r>
            <a:rPr lang="en-US" sz="2000" b="1" kern="1200" dirty="0" err="1"/>
            <a:t>Jiyuan</a:t>
          </a:r>
          <a:r>
            <a:rPr lang="en-US" sz="2000" b="1" kern="1200" dirty="0"/>
            <a:t> Fan </a:t>
          </a:r>
          <a:br>
            <a:rPr lang="en-US" sz="2000" b="1" kern="1200" dirty="0"/>
          </a:br>
          <a:r>
            <a:rPr lang="en-US" sz="1600" kern="1200" dirty="0">
              <a:solidFill>
                <a:schemeClr val="accent1">
                  <a:lumMod val="60000"/>
                  <a:lumOff val="40000"/>
                </a:schemeClr>
              </a:solidFill>
            </a:rPr>
            <a:t>Master of Electrons</a:t>
          </a:r>
        </a:p>
      </dsp:txBody>
      <dsp:txXfrm>
        <a:off x="8979349" y="1879553"/>
        <a:ext cx="1021022" cy="773906"/>
      </dsp:txXfrm>
    </dsp:sp>
    <dsp:sp modelId="{A28B96DD-17E7-B647-8812-213977B1528F}">
      <dsp:nvSpPr>
        <dsp:cNvPr id="0" name=""/>
        <dsp:cNvSpPr/>
      </dsp:nvSpPr>
      <dsp:spPr>
        <a:xfrm>
          <a:off x="10308885" y="1886518"/>
          <a:ext cx="773906" cy="773906"/>
        </a:xfrm>
        <a:prstGeom prst="ellipse">
          <a:avLst/>
        </a:prstGeom>
        <a:blipFill>
          <a:blip xmlns:r="http://schemas.openxmlformats.org/officeDocument/2006/relationships" r:embed="rId7"/>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1D75A8-F85E-D343-A275-0EB82B183B45}">
      <dsp:nvSpPr>
        <dsp:cNvPr id="0" name=""/>
        <dsp:cNvSpPr/>
      </dsp:nvSpPr>
      <dsp:spPr>
        <a:xfrm>
          <a:off x="11015454" y="1879298"/>
          <a:ext cx="986800" cy="774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r" defTabSz="889000">
            <a:lnSpc>
              <a:spcPct val="90000"/>
            </a:lnSpc>
            <a:spcBef>
              <a:spcPct val="0"/>
            </a:spcBef>
            <a:spcAft>
              <a:spcPct val="35000"/>
            </a:spcAft>
            <a:buNone/>
          </a:pPr>
          <a:r>
            <a:rPr lang="en-US" sz="2000" b="1" kern="1200" dirty="0">
              <a:solidFill>
                <a:schemeClr val="tx1"/>
              </a:solidFill>
            </a:rPr>
            <a:t>Buddy Reneau</a:t>
          </a:r>
          <a:br>
            <a:rPr lang="en-US" sz="2000" b="1" kern="1200" dirty="0">
              <a:solidFill>
                <a:schemeClr val="tx1"/>
              </a:solidFill>
            </a:rPr>
          </a:br>
          <a:r>
            <a:rPr lang="en-US" sz="1600" kern="1200" dirty="0">
              <a:solidFill>
                <a:schemeClr val="accent1">
                  <a:lumMod val="60000"/>
                  <a:lumOff val="40000"/>
                </a:schemeClr>
              </a:solidFill>
            </a:rPr>
            <a:t>Master of Business</a:t>
          </a:r>
        </a:p>
      </dsp:txBody>
      <dsp:txXfrm>
        <a:off x="11015454" y="1879298"/>
        <a:ext cx="986800" cy="774169"/>
      </dsp:txXfrm>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9/layout/CirclePictureHierarchy">
  <dgm:title val=""/>
  <dgm:desc val=""/>
  <dgm:catLst>
    <dgm:cat type="hierarchy" pri="1750"/>
    <dgm:cat type="picture" pri="23000"/>
    <dgm:cat type="pictureconvert" pri="2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5"/>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h" for="ch" forName="image" refType="h" fact="0.8"/>
              <dgm:constr type="w" for="ch" forName="image" refType="h" refFor="ch" refForName="image"/>
              <dgm:constr type="t" for="ch" forName="image" refType="h" fact="0.1"/>
              <dgm:constr type="l" for="ch" forName="image"/>
              <dgm:constr type="w" for="ch" forName="text" refType="w" fact="0.6"/>
              <dgm:constr type="h" for="ch" forName="text" refType="h" fact="0.8"/>
              <dgm:constr type="t" for="ch" forName="text" refType="w" fact="0.04"/>
              <dgm:constr type="l" for="ch" forName="text" refType="w" fact="0.4"/>
            </dgm:constrLst>
            <dgm:ruleLst/>
            <dgm:layoutNode name="image" styleLbl="node0">
              <dgm:alg type="sp"/>
              <dgm:shape xmlns:r="http://schemas.openxmlformats.org/officeDocument/2006/relationships" type="ellipse" r:blip="" blipPhldr="1">
                <dgm:adjLst/>
              </dgm:shape>
              <dgm:presOf/>
              <dgm:constrLst/>
              <dgm:ruleLst/>
            </dgm:layoutNode>
            <dgm:layoutNode name="text"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image"/>
                    <dgm:param type="dstNode" val="image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h" for="ch" forName="image2" refType="h" fact="0.8"/>
                      <dgm:constr type="w" for="ch" forName="image2" refType="h" refFor="ch" refForName="image2"/>
                      <dgm:constr type="t" for="ch" forName="image2" refType="h" fact="0.1"/>
                      <dgm:constr type="l" for="ch" forName="image2"/>
                      <dgm:constr type="w" for="ch" forName="text2" refType="w" fact="0.6"/>
                      <dgm:constr type="h" for="ch" forName="text2" refType="h" fact="0.8"/>
                      <dgm:constr type="t" for="ch" forName="text2" refType="w" fact="0.04"/>
                      <dgm:constr type="l" for="ch" forName="text2" refType="w" fact="0.4"/>
                    </dgm:constrLst>
                    <dgm:ruleLst/>
                    <dgm:layoutNode name="image2">
                      <dgm:alg type="sp"/>
                      <dgm:shape xmlns:r="http://schemas.openxmlformats.org/officeDocument/2006/relationships" type="ellipse" r:blip="" blipPhldr="1">
                        <dgm:adjLst/>
                      </dgm:shape>
                      <dgm:presOf/>
                      <dgm:constrLst/>
                      <dgm:ruleLst/>
                    </dgm:layoutNode>
                    <dgm:layoutNode name="text2"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image2"/>
                            <dgm:param type="dstNode" val="image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h" for="ch" forName="image3" refType="h" fact="0.8"/>
                              <dgm:constr type="w" for="ch" forName="image3" refType="h" refFor="ch" refForName="image3"/>
                              <dgm:constr type="t" for="ch" forName="image3" refType="h" fact="0.1"/>
                              <dgm:constr type="l" for="ch" forName="image3"/>
                              <dgm:constr type="w" for="ch" forName="text3" refType="w" fact="0.6"/>
                              <dgm:constr type="h" for="ch" forName="text3" refType="h" fact="0.8"/>
                              <dgm:constr type="t" for="ch" forName="text3" refType="w" fact="0.04"/>
                              <dgm:constr type="l" for="ch" forName="text3" refType="w" fact="0.4"/>
                            </dgm:constrLst>
                            <dgm:ruleLst/>
                            <dgm:layoutNode name="image3">
                              <dgm:alg type="sp"/>
                              <dgm:shape xmlns:r="http://schemas.openxmlformats.org/officeDocument/2006/relationships" type="ellipse" r:blip="" blipPhldr="1">
                                <dgm:adjLst/>
                              </dgm:shape>
                              <dgm:presOf/>
                              <dgm:constrLst/>
                              <dgm:ruleLst/>
                            </dgm:layoutNode>
                            <dgm:layoutNode name="text3"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image3"/>
                                        <dgm:param type="dstNode" val="image4"/>
                                      </dgm:alg>
                                    </dgm:if>
                                    <dgm:else name="Name26">
                                      <dgm:alg type="conn">
                                        <dgm:param type="dim" val="1D"/>
                                        <dgm:param type="endSty" val="noArr"/>
                                        <dgm:param type="connRout" val="bend"/>
                                        <dgm:param type="bendPt" val="end"/>
                                        <dgm:param type="begPts" val="bCtr"/>
                                        <dgm:param type="endPts" val="tCtr"/>
                                        <dgm:param type="srcNode" val="image4"/>
                                        <dgm:param type="dstNode" val="image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h" for="ch" forName="image4" refType="h" fact="0.8"/>
                                      <dgm:constr type="w" for="ch" forName="image4" refType="h" refFor="ch" refForName="image4"/>
                                      <dgm:constr type="t" for="ch" forName="image4" refType="h" fact="0.1"/>
                                      <dgm:constr type="l" for="ch" forName="image4"/>
                                      <dgm:constr type="w" for="ch" forName="text4" refType="w" fact="0.6"/>
                                      <dgm:constr type="h" for="ch" forName="text4" refType="h" fact="0.8"/>
                                      <dgm:constr type="t" for="ch" forName="text4" refType="w" fact="0.04"/>
                                      <dgm:constr type="l" for="ch" forName="text4" refType="w" fact="0.4"/>
                                    </dgm:constrLst>
                                    <dgm:ruleLst/>
                                    <dgm:layoutNode name="image4">
                                      <dgm:alg type="sp"/>
                                      <dgm:shape xmlns:r="http://schemas.openxmlformats.org/officeDocument/2006/relationships" type="ellipse" r:blip="" blipPhldr="1">
                                        <dgm:adjLst/>
                                      </dgm:shape>
                                      <dgm:presOf/>
                                      <dgm:constrLst/>
                                      <dgm:ruleLst/>
                                    </dgm:layoutNode>
                                    <dgm:layoutNode name="text4"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43238" cy="465138"/>
          </a:xfrm>
          <a:prstGeom prst="rect">
            <a:avLst/>
          </a:prstGeom>
        </p:spPr>
        <p:txBody>
          <a:bodyPr vert="horz" lIns="91394" tIns="45698" rIns="91394" bIns="45698" rtlCol="0"/>
          <a:lstStyle>
            <a:lvl1pPr algn="l">
              <a:defRPr sz="1200"/>
            </a:lvl1pPr>
          </a:lstStyle>
          <a:p>
            <a:endParaRPr lang="en-US"/>
          </a:p>
        </p:txBody>
      </p:sp>
      <p:sp>
        <p:nvSpPr>
          <p:cNvPr id="3" name="Date Placeholder 2"/>
          <p:cNvSpPr>
            <a:spLocks noGrp="1"/>
          </p:cNvSpPr>
          <p:nvPr>
            <p:ph type="dt" sz="quarter" idx="1"/>
          </p:nvPr>
        </p:nvSpPr>
        <p:spPr>
          <a:xfrm>
            <a:off x="3978275" y="1"/>
            <a:ext cx="3043238" cy="465138"/>
          </a:xfrm>
          <a:prstGeom prst="rect">
            <a:avLst/>
          </a:prstGeom>
        </p:spPr>
        <p:txBody>
          <a:bodyPr vert="horz" lIns="91394" tIns="45698" rIns="91394" bIns="45698" rtlCol="0"/>
          <a:lstStyle>
            <a:lvl1pPr algn="r">
              <a:defRPr sz="1200"/>
            </a:lvl1pPr>
          </a:lstStyle>
          <a:p>
            <a:fld id="{D8A92125-33F0-415B-907A-427D77C3FBB4}" type="datetimeFigureOut">
              <a:rPr lang="en-US" smtClean="0"/>
              <a:t>12/1/2025</a:t>
            </a:fld>
            <a:endParaRPr lang="en-US"/>
          </a:p>
        </p:txBody>
      </p:sp>
      <p:sp>
        <p:nvSpPr>
          <p:cNvPr id="4" name="Footer Placeholder 3"/>
          <p:cNvSpPr>
            <a:spLocks noGrp="1"/>
          </p:cNvSpPr>
          <p:nvPr>
            <p:ph type="ftr" sz="quarter" idx="2"/>
          </p:nvPr>
        </p:nvSpPr>
        <p:spPr>
          <a:xfrm>
            <a:off x="1" y="8842377"/>
            <a:ext cx="3043238" cy="465138"/>
          </a:xfrm>
          <a:prstGeom prst="rect">
            <a:avLst/>
          </a:prstGeom>
        </p:spPr>
        <p:txBody>
          <a:bodyPr vert="horz" lIns="91394" tIns="45698" rIns="91394" bIns="45698" rtlCol="0" anchor="b"/>
          <a:lstStyle>
            <a:lvl1pPr algn="l">
              <a:defRPr sz="1200"/>
            </a:lvl1pPr>
          </a:lstStyle>
          <a:p>
            <a:endParaRPr lang="en-US"/>
          </a:p>
        </p:txBody>
      </p:sp>
      <p:sp>
        <p:nvSpPr>
          <p:cNvPr id="5" name="Slide Number Placeholder 4"/>
          <p:cNvSpPr>
            <a:spLocks noGrp="1"/>
          </p:cNvSpPr>
          <p:nvPr>
            <p:ph type="sldNum" sz="quarter" idx="3"/>
          </p:nvPr>
        </p:nvSpPr>
        <p:spPr>
          <a:xfrm>
            <a:off x="3978275" y="8842377"/>
            <a:ext cx="3043238" cy="465138"/>
          </a:xfrm>
          <a:prstGeom prst="rect">
            <a:avLst/>
          </a:prstGeom>
        </p:spPr>
        <p:txBody>
          <a:bodyPr vert="horz" lIns="91394" tIns="45698" rIns="91394" bIns="45698" rtlCol="0" anchor="b"/>
          <a:lstStyle>
            <a:lvl1pPr algn="r">
              <a:defRPr sz="1200"/>
            </a:lvl1pPr>
          </a:lstStyle>
          <a:p>
            <a:fld id="{BC7A5247-F649-4C26-BA2A-965EFBE8AC3F}" type="slidenum">
              <a:rPr lang="en-US" smtClean="0"/>
              <a:t>‹#›</a:t>
            </a:fld>
            <a:endParaRPr lang="en-US"/>
          </a:p>
        </p:txBody>
      </p:sp>
    </p:spTree>
    <p:extLst>
      <p:ext uri="{BB962C8B-B14F-4D97-AF65-F5344CB8AC3E}">
        <p14:creationId xmlns:p14="http://schemas.microsoft.com/office/powerpoint/2010/main" val="3697410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43343" cy="465455"/>
          </a:xfrm>
          <a:prstGeom prst="rect">
            <a:avLst/>
          </a:prstGeom>
        </p:spPr>
        <p:txBody>
          <a:bodyPr vert="horz" lIns="93277" tIns="46638" rIns="93277" bIns="46638" rtlCol="0"/>
          <a:lstStyle>
            <a:lvl1pPr algn="l">
              <a:defRPr sz="1200"/>
            </a:lvl1pPr>
          </a:lstStyle>
          <a:p>
            <a:endParaRPr lang="en-US"/>
          </a:p>
        </p:txBody>
      </p:sp>
      <p:sp>
        <p:nvSpPr>
          <p:cNvPr id="3" name="Date Placeholder 2"/>
          <p:cNvSpPr>
            <a:spLocks noGrp="1"/>
          </p:cNvSpPr>
          <p:nvPr>
            <p:ph type="dt" idx="1"/>
          </p:nvPr>
        </p:nvSpPr>
        <p:spPr>
          <a:xfrm>
            <a:off x="3978135" y="2"/>
            <a:ext cx="3043343" cy="465455"/>
          </a:xfrm>
          <a:prstGeom prst="rect">
            <a:avLst/>
          </a:prstGeom>
        </p:spPr>
        <p:txBody>
          <a:bodyPr vert="horz" lIns="93277" tIns="46638" rIns="93277" bIns="46638" rtlCol="0"/>
          <a:lstStyle>
            <a:lvl1pPr algn="r">
              <a:defRPr sz="1200"/>
            </a:lvl1pPr>
          </a:lstStyle>
          <a:p>
            <a:fld id="{66B48B4E-0509-4EEB-96DF-88E992371793}" type="datetimeFigureOut">
              <a:rPr lang="en-US" smtClean="0"/>
              <a:t>12/1/2025</a:t>
            </a:fld>
            <a:endParaRPr lang="en-US"/>
          </a:p>
        </p:txBody>
      </p:sp>
      <p:sp>
        <p:nvSpPr>
          <p:cNvPr id="4" name="Slide Image Placeholder 3"/>
          <p:cNvSpPr>
            <a:spLocks noGrp="1" noRot="1" noChangeAspect="1"/>
          </p:cNvSpPr>
          <p:nvPr>
            <p:ph type="sldImg" idx="2"/>
          </p:nvPr>
        </p:nvSpPr>
        <p:spPr>
          <a:xfrm>
            <a:off x="409575" y="696913"/>
            <a:ext cx="6205538" cy="3490912"/>
          </a:xfrm>
          <a:prstGeom prst="rect">
            <a:avLst/>
          </a:prstGeom>
          <a:noFill/>
          <a:ln w="12700">
            <a:solidFill>
              <a:prstClr val="black"/>
            </a:solidFill>
          </a:ln>
        </p:spPr>
        <p:txBody>
          <a:bodyPr vert="horz" lIns="93277" tIns="46638" rIns="93277" bIns="46638" rtlCol="0" anchor="ctr"/>
          <a:lstStyle/>
          <a:p>
            <a:endParaRPr lang="en-US"/>
          </a:p>
        </p:txBody>
      </p:sp>
      <p:sp>
        <p:nvSpPr>
          <p:cNvPr id="5" name="Notes Placeholder 4"/>
          <p:cNvSpPr>
            <a:spLocks noGrp="1"/>
          </p:cNvSpPr>
          <p:nvPr>
            <p:ph type="body" sz="quarter" idx="3"/>
          </p:nvPr>
        </p:nvSpPr>
        <p:spPr>
          <a:xfrm>
            <a:off x="702310" y="4421825"/>
            <a:ext cx="5618480" cy="4189095"/>
          </a:xfrm>
          <a:prstGeom prst="rect">
            <a:avLst/>
          </a:prstGeom>
        </p:spPr>
        <p:txBody>
          <a:bodyPr vert="horz" lIns="93277" tIns="46638" rIns="93277" bIns="4663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42032"/>
            <a:ext cx="3043343" cy="465455"/>
          </a:xfrm>
          <a:prstGeom prst="rect">
            <a:avLst/>
          </a:prstGeom>
        </p:spPr>
        <p:txBody>
          <a:bodyPr vert="horz" lIns="93277" tIns="46638" rIns="93277" bIns="46638" rtlCol="0" anchor="b"/>
          <a:lstStyle>
            <a:lvl1pPr algn="l">
              <a:defRPr sz="1200"/>
            </a:lvl1pPr>
          </a:lstStyle>
          <a:p>
            <a:endParaRPr lang="en-US"/>
          </a:p>
        </p:txBody>
      </p:sp>
      <p:sp>
        <p:nvSpPr>
          <p:cNvPr id="7" name="Slide Number Placeholder 6"/>
          <p:cNvSpPr>
            <a:spLocks noGrp="1"/>
          </p:cNvSpPr>
          <p:nvPr>
            <p:ph type="sldNum" sz="quarter" idx="5"/>
          </p:nvPr>
        </p:nvSpPr>
        <p:spPr>
          <a:xfrm>
            <a:off x="3978135" y="8842032"/>
            <a:ext cx="3043343" cy="465455"/>
          </a:xfrm>
          <a:prstGeom prst="rect">
            <a:avLst/>
          </a:prstGeom>
        </p:spPr>
        <p:txBody>
          <a:bodyPr vert="horz" lIns="93277" tIns="46638" rIns="93277" bIns="46638" rtlCol="0" anchor="b"/>
          <a:lstStyle>
            <a:lvl1pPr algn="r">
              <a:defRPr sz="1200"/>
            </a:lvl1pPr>
          </a:lstStyle>
          <a:p>
            <a:fld id="{CAB6FE45-C1D2-432E-8DD6-0699F566796D}" type="slidenum">
              <a:rPr lang="en-US" smtClean="0"/>
              <a:t>‹#›</a:t>
            </a:fld>
            <a:endParaRPr lang="en-US"/>
          </a:p>
        </p:txBody>
      </p:sp>
    </p:spTree>
    <p:extLst>
      <p:ext uri="{BB962C8B-B14F-4D97-AF65-F5344CB8AC3E}">
        <p14:creationId xmlns:p14="http://schemas.microsoft.com/office/powerpoint/2010/main" val="23396938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24">
              <a:defRPr/>
            </a:pPr>
            <a:r>
              <a:rPr lang="en-US" dirty="0">
                <a:latin typeface="Arial"/>
                <a:ea typeface="+mn-ea"/>
                <a:cs typeface="Arial"/>
              </a:rPr>
              <a:t>Add note to this slide</a:t>
            </a:r>
            <a:endParaRPr lang="en-US">
              <a:latin typeface="Arial"/>
              <a:ea typeface="+mn-ea"/>
              <a:cs typeface="Arial"/>
            </a:endParaRPr>
          </a:p>
          <a:p>
            <a:endParaRPr lang="en-US" dirty="0"/>
          </a:p>
        </p:txBody>
      </p:sp>
      <p:sp>
        <p:nvSpPr>
          <p:cNvPr id="4" name="Slide Number Placeholder 3"/>
          <p:cNvSpPr>
            <a:spLocks noGrp="1"/>
          </p:cNvSpPr>
          <p:nvPr>
            <p:ph type="sldNum" sz="quarter" idx="5"/>
          </p:nvPr>
        </p:nvSpPr>
        <p:spPr/>
        <p:txBody>
          <a:bodyPr/>
          <a:lstStyle/>
          <a:p>
            <a:pPr defTabSz="914224">
              <a:defRPr/>
            </a:pPr>
            <a:fld id="{1787F914-CB59-4D40-9DDC-044A8D75208F}" type="slidenum">
              <a:rPr lang="en-US">
                <a:solidFill>
                  <a:prstClr val="black"/>
                </a:solidFill>
                <a:latin typeface="Arial" panose="020B0604020202020204" pitchFamily="34" charset="0"/>
              </a:rPr>
              <a:pPr defTabSz="914224">
                <a:defRPr/>
              </a:pPr>
              <a:t>1</a:t>
            </a:fld>
            <a:endParaRPr lang="en-US">
              <a:solidFill>
                <a:prstClr val="black"/>
              </a:solidFill>
              <a:latin typeface="Arial" panose="020B0604020202020204" pitchFamily="34" charset="0"/>
            </a:endParaRPr>
          </a:p>
        </p:txBody>
      </p:sp>
    </p:spTree>
    <p:extLst>
      <p:ext uri="{BB962C8B-B14F-4D97-AF65-F5344CB8AC3E}">
        <p14:creationId xmlns:p14="http://schemas.microsoft.com/office/powerpoint/2010/main" val="2523386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10</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19000976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24">
              <a:defRPr/>
            </a:pPr>
            <a:r>
              <a:rPr lang="en-US">
                <a:latin typeface="Arial"/>
                <a:ea typeface="+mn-ea"/>
                <a:cs typeface="Arial"/>
              </a:rPr>
              <a:t>Add note to this slide</a:t>
            </a:r>
          </a:p>
        </p:txBody>
      </p:sp>
      <p:sp>
        <p:nvSpPr>
          <p:cNvPr id="4" name="Slide Number Placeholder 3"/>
          <p:cNvSpPr>
            <a:spLocks noGrp="1"/>
          </p:cNvSpPr>
          <p:nvPr>
            <p:ph type="sldNum" sz="quarter" idx="5"/>
          </p:nvPr>
        </p:nvSpPr>
        <p:spPr/>
        <p:txBody>
          <a:bodyPr/>
          <a:lstStyle/>
          <a:p>
            <a:pPr marL="0" marR="0" lvl="0" indent="0" algn="r" defTabSz="914224" rtl="0" eaLnBrk="1" fontAlgn="auto" latinLnBrk="0" hangingPunct="1">
              <a:lnSpc>
                <a:spcPct val="100000"/>
              </a:lnSpc>
              <a:spcBef>
                <a:spcPts val="0"/>
              </a:spcBef>
              <a:spcAft>
                <a:spcPts val="0"/>
              </a:spcAft>
              <a:buClrTx/>
              <a:buSzTx/>
              <a:buFontTx/>
              <a:buNone/>
              <a:tabLst/>
              <a:defRPr/>
            </a:pPr>
            <a:fld id="{1787F914-CB59-4D40-9DDC-044A8D75208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22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972088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12</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40566740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13</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38628015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5050" eaLnBrk="0" hangingPunct="0">
              <a:defRPr kumimoji="1" sz="2000">
                <a:solidFill>
                  <a:schemeClr val="tx2"/>
                </a:solidFill>
                <a:latin typeface="Arial" pitchFamily="34" charset="0"/>
                <a:ea typeface="MS PGothic" pitchFamily="34" charset="-128"/>
              </a:defRPr>
            </a:lvl1pPr>
            <a:lvl2pPr marL="771518" indent="-296737" defTabSz="905050" eaLnBrk="0" hangingPunct="0">
              <a:defRPr kumimoji="1" sz="2000">
                <a:solidFill>
                  <a:schemeClr val="tx2"/>
                </a:solidFill>
                <a:latin typeface="Arial" pitchFamily="34" charset="0"/>
                <a:ea typeface="MS PGothic" pitchFamily="34" charset="-128"/>
              </a:defRPr>
            </a:lvl2pPr>
            <a:lvl3pPr marL="1186951" indent="-237389" defTabSz="905050" eaLnBrk="0" hangingPunct="0">
              <a:defRPr kumimoji="1" sz="2000">
                <a:solidFill>
                  <a:schemeClr val="tx2"/>
                </a:solidFill>
                <a:latin typeface="Arial" pitchFamily="34" charset="0"/>
                <a:ea typeface="MS PGothic" pitchFamily="34" charset="-128"/>
              </a:defRPr>
            </a:lvl3pPr>
            <a:lvl4pPr marL="1661731" indent="-237389" defTabSz="905050" eaLnBrk="0" hangingPunct="0">
              <a:defRPr kumimoji="1" sz="2000">
                <a:solidFill>
                  <a:schemeClr val="tx2"/>
                </a:solidFill>
                <a:latin typeface="Arial" pitchFamily="34" charset="0"/>
                <a:ea typeface="MS PGothic" pitchFamily="34" charset="-128"/>
              </a:defRPr>
            </a:lvl4pPr>
            <a:lvl5pPr marL="2136513" indent="-237389" defTabSz="905050" eaLnBrk="0" hangingPunct="0">
              <a:defRPr kumimoji="1" sz="2000">
                <a:solidFill>
                  <a:schemeClr val="tx2"/>
                </a:solidFill>
                <a:latin typeface="Arial" pitchFamily="34" charset="0"/>
                <a:ea typeface="MS PGothic" pitchFamily="34" charset="-128"/>
              </a:defRPr>
            </a:lvl5pPr>
            <a:lvl6pPr marL="2611292"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6073"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853"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5636"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5050"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5050" rtl="0" eaLnBrk="1" fontAlgn="auto" latinLnBrk="0" hangingPunct="1">
                <a:lnSpc>
                  <a:spcPct val="100000"/>
                </a:lnSpc>
                <a:spcBef>
                  <a:spcPts val="0"/>
                </a:spcBef>
                <a:spcAft>
                  <a:spcPts val="0"/>
                </a:spcAft>
                <a:buClrTx/>
                <a:buSzTx/>
                <a:buFontTx/>
                <a:buNone/>
                <a:tabLst/>
                <a:defRPr/>
              </a:pPr>
              <a:t>14</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39738" y="704850"/>
            <a:ext cx="6275387" cy="3530600"/>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17376912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15</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25226206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16</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7901483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17</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21209620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18</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1063427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24">
              <a:defRPr/>
            </a:pPr>
            <a:r>
              <a:rPr lang="en-US">
                <a:latin typeface="Arial"/>
                <a:ea typeface="+mn-ea"/>
                <a:cs typeface="Arial"/>
              </a:rPr>
              <a:t>Add note to this slide</a:t>
            </a:r>
          </a:p>
        </p:txBody>
      </p:sp>
      <p:sp>
        <p:nvSpPr>
          <p:cNvPr id="4" name="Slide Number Placeholder 3"/>
          <p:cNvSpPr>
            <a:spLocks noGrp="1"/>
          </p:cNvSpPr>
          <p:nvPr>
            <p:ph type="sldNum" sz="quarter" idx="5"/>
          </p:nvPr>
        </p:nvSpPr>
        <p:spPr/>
        <p:txBody>
          <a:bodyPr/>
          <a:lstStyle/>
          <a:p>
            <a:pPr marL="0" marR="0" lvl="0" indent="0" algn="r" defTabSz="914224" rtl="0" eaLnBrk="1" fontAlgn="auto" latinLnBrk="0" hangingPunct="1">
              <a:lnSpc>
                <a:spcPct val="100000"/>
              </a:lnSpc>
              <a:spcBef>
                <a:spcPts val="0"/>
              </a:spcBef>
              <a:spcAft>
                <a:spcPts val="0"/>
              </a:spcAft>
              <a:buClrTx/>
              <a:buSzTx/>
              <a:buFontTx/>
              <a:buNone/>
              <a:tabLst/>
              <a:defRPr/>
            </a:pPr>
            <a:fld id="{1787F914-CB59-4D40-9DDC-044A8D75208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22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48666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9BFC49-76DD-760F-72D6-1521BEF700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66378A-597D-6C62-E5CE-298F2FD04A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2EDBAA-3C37-4E9D-9DB0-F422773AB1AF}"/>
              </a:ext>
            </a:extLst>
          </p:cNvPr>
          <p:cNvSpPr>
            <a:spLocks noGrp="1"/>
          </p:cNvSpPr>
          <p:nvPr>
            <p:ph type="body" idx="1"/>
          </p:nvPr>
        </p:nvSpPr>
        <p:spPr/>
        <p:txBody>
          <a:bodyPr/>
          <a:lstStyle/>
          <a:p>
            <a:pPr defTabSz="882762">
              <a:defRPr/>
            </a:pPr>
            <a:r>
              <a:rPr lang="en-US" dirty="0">
                <a:latin typeface="Arial"/>
                <a:ea typeface="+mn-ea"/>
                <a:cs typeface="Arial"/>
              </a:rPr>
              <a:t>Add note to this slide</a:t>
            </a:r>
            <a:endParaRPr lang="en-US">
              <a:latin typeface="Arial"/>
              <a:ea typeface="+mn-ea"/>
              <a:cs typeface="Arial"/>
            </a:endParaRPr>
          </a:p>
        </p:txBody>
      </p:sp>
      <p:sp>
        <p:nvSpPr>
          <p:cNvPr id="4" name="Slide Number Placeholder 3">
            <a:extLst>
              <a:ext uri="{FF2B5EF4-FFF2-40B4-BE49-F238E27FC236}">
                <a16:creationId xmlns:a16="http://schemas.microsoft.com/office/drawing/2014/main" id="{D1DF4860-6BCE-709C-4D3A-7C5A5F5F0D35}"/>
              </a:ext>
            </a:extLst>
          </p:cNvPr>
          <p:cNvSpPr>
            <a:spLocks noGrp="1"/>
          </p:cNvSpPr>
          <p:nvPr>
            <p:ph type="sldNum" sz="quarter" idx="5"/>
          </p:nvPr>
        </p:nvSpPr>
        <p:spPr/>
        <p:txBody>
          <a:bodyPr/>
          <a:lstStyle/>
          <a:p>
            <a:pPr marL="0" marR="0" lvl="0" indent="0" algn="r" defTabSz="882762" rtl="0" eaLnBrk="1" fontAlgn="auto" latinLnBrk="0" hangingPunct="1">
              <a:lnSpc>
                <a:spcPct val="100000"/>
              </a:lnSpc>
              <a:spcBef>
                <a:spcPts val="0"/>
              </a:spcBef>
              <a:spcAft>
                <a:spcPts val="0"/>
              </a:spcAft>
              <a:buClrTx/>
              <a:buSzTx/>
              <a:buFontTx/>
              <a:buNone/>
              <a:tabLst/>
              <a:defRPr/>
            </a:pPr>
            <a:fld id="{1787F914-CB59-4D40-9DDC-044A8D75208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88276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184548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20</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15122477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21</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36859186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22</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32030954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23</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extLst>
      <p:ext uri="{BB962C8B-B14F-4D97-AF65-F5344CB8AC3E}">
        <p14:creationId xmlns:p14="http://schemas.microsoft.com/office/powerpoint/2010/main" val="16778427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24">
              <a:defRPr/>
            </a:pPr>
            <a:r>
              <a:rPr lang="en-US">
                <a:latin typeface="Arial"/>
                <a:ea typeface="+mn-ea"/>
                <a:cs typeface="Arial"/>
              </a:rPr>
              <a:t>Add note to this slide</a:t>
            </a:r>
          </a:p>
        </p:txBody>
      </p:sp>
      <p:sp>
        <p:nvSpPr>
          <p:cNvPr id="4" name="Slide Number Placeholder 3"/>
          <p:cNvSpPr>
            <a:spLocks noGrp="1"/>
          </p:cNvSpPr>
          <p:nvPr>
            <p:ph type="sldNum" sz="quarter" idx="5"/>
          </p:nvPr>
        </p:nvSpPr>
        <p:spPr/>
        <p:txBody>
          <a:bodyPr/>
          <a:lstStyle/>
          <a:p>
            <a:pPr marL="0" marR="0" lvl="0" indent="0" algn="r" defTabSz="914224" rtl="0" eaLnBrk="1" fontAlgn="auto" latinLnBrk="0" hangingPunct="1">
              <a:lnSpc>
                <a:spcPct val="100000"/>
              </a:lnSpc>
              <a:spcBef>
                <a:spcPts val="0"/>
              </a:spcBef>
              <a:spcAft>
                <a:spcPts val="0"/>
              </a:spcAft>
              <a:buClrTx/>
              <a:buSzTx/>
              <a:buFontTx/>
              <a:buNone/>
              <a:tabLst/>
              <a:defRPr/>
            </a:pPr>
            <a:fld id="{1787F914-CB59-4D40-9DDC-044A8D75208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22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443212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25</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33351841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5050" eaLnBrk="0" hangingPunct="0">
              <a:defRPr kumimoji="1" sz="2000">
                <a:solidFill>
                  <a:schemeClr val="tx2"/>
                </a:solidFill>
                <a:latin typeface="Arial" pitchFamily="34" charset="0"/>
                <a:ea typeface="MS PGothic" pitchFamily="34" charset="-128"/>
              </a:defRPr>
            </a:lvl1pPr>
            <a:lvl2pPr marL="771518" indent="-296737" defTabSz="905050" eaLnBrk="0" hangingPunct="0">
              <a:defRPr kumimoji="1" sz="2000">
                <a:solidFill>
                  <a:schemeClr val="tx2"/>
                </a:solidFill>
                <a:latin typeface="Arial" pitchFamily="34" charset="0"/>
                <a:ea typeface="MS PGothic" pitchFamily="34" charset="-128"/>
              </a:defRPr>
            </a:lvl2pPr>
            <a:lvl3pPr marL="1186951" indent="-237389" defTabSz="905050" eaLnBrk="0" hangingPunct="0">
              <a:defRPr kumimoji="1" sz="2000">
                <a:solidFill>
                  <a:schemeClr val="tx2"/>
                </a:solidFill>
                <a:latin typeface="Arial" pitchFamily="34" charset="0"/>
                <a:ea typeface="MS PGothic" pitchFamily="34" charset="-128"/>
              </a:defRPr>
            </a:lvl3pPr>
            <a:lvl4pPr marL="1661731" indent="-237389" defTabSz="905050" eaLnBrk="0" hangingPunct="0">
              <a:defRPr kumimoji="1" sz="2000">
                <a:solidFill>
                  <a:schemeClr val="tx2"/>
                </a:solidFill>
                <a:latin typeface="Arial" pitchFamily="34" charset="0"/>
                <a:ea typeface="MS PGothic" pitchFamily="34" charset="-128"/>
              </a:defRPr>
            </a:lvl4pPr>
            <a:lvl5pPr marL="2136513" indent="-237389" defTabSz="905050" eaLnBrk="0" hangingPunct="0">
              <a:defRPr kumimoji="1" sz="2000">
                <a:solidFill>
                  <a:schemeClr val="tx2"/>
                </a:solidFill>
                <a:latin typeface="Arial" pitchFamily="34" charset="0"/>
                <a:ea typeface="MS PGothic" pitchFamily="34" charset="-128"/>
              </a:defRPr>
            </a:lvl5pPr>
            <a:lvl6pPr marL="2611292"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6073"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853"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5636"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5050"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5050" rtl="0" eaLnBrk="1" fontAlgn="auto" latinLnBrk="0" hangingPunct="1">
                <a:lnSpc>
                  <a:spcPct val="100000"/>
                </a:lnSpc>
                <a:spcBef>
                  <a:spcPts val="0"/>
                </a:spcBef>
                <a:spcAft>
                  <a:spcPts val="0"/>
                </a:spcAft>
                <a:buClrTx/>
                <a:buSzTx/>
                <a:buFontTx/>
                <a:buNone/>
                <a:tabLst/>
                <a:defRPr/>
              </a:pPr>
              <a:t>26</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39738" y="704850"/>
            <a:ext cx="6275387" cy="3530600"/>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38290465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27</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16565618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28</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24690807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29</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extLst>
      <p:ext uri="{BB962C8B-B14F-4D97-AF65-F5344CB8AC3E}">
        <p14:creationId xmlns:p14="http://schemas.microsoft.com/office/powerpoint/2010/main" val="2416994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3</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40547146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24">
              <a:defRPr/>
            </a:pPr>
            <a:r>
              <a:rPr lang="en-US">
                <a:latin typeface="Arial"/>
                <a:ea typeface="+mn-ea"/>
                <a:cs typeface="Arial"/>
              </a:rPr>
              <a:t>Add note to this slide</a:t>
            </a:r>
          </a:p>
        </p:txBody>
      </p:sp>
      <p:sp>
        <p:nvSpPr>
          <p:cNvPr id="4" name="Slide Number Placeholder 3"/>
          <p:cNvSpPr>
            <a:spLocks noGrp="1"/>
          </p:cNvSpPr>
          <p:nvPr>
            <p:ph type="sldNum" sz="quarter" idx="5"/>
          </p:nvPr>
        </p:nvSpPr>
        <p:spPr/>
        <p:txBody>
          <a:bodyPr/>
          <a:lstStyle/>
          <a:p>
            <a:pPr defTabSz="914224">
              <a:defRPr/>
            </a:pPr>
            <a:fld id="{1787F914-CB59-4D40-9DDC-044A8D75208F}" type="slidenum">
              <a:rPr lang="en-US">
                <a:solidFill>
                  <a:prstClr val="black"/>
                </a:solidFill>
                <a:latin typeface="Arial" panose="020B0604020202020204" pitchFamily="34" charset="0"/>
              </a:rPr>
              <a:pPr defTabSz="914224">
                <a:defRPr/>
              </a:pPr>
              <a:t>30</a:t>
            </a:fld>
            <a:endParaRPr lang="en-US">
              <a:solidFill>
                <a:prstClr val="black"/>
              </a:solidFill>
              <a:latin typeface="Arial" panose="020B0604020202020204" pitchFamily="34" charset="0"/>
            </a:endParaRPr>
          </a:p>
        </p:txBody>
      </p:sp>
    </p:spTree>
    <p:extLst>
      <p:ext uri="{BB962C8B-B14F-4D97-AF65-F5344CB8AC3E}">
        <p14:creationId xmlns:p14="http://schemas.microsoft.com/office/powerpoint/2010/main" val="37405108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31</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20699409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5050" eaLnBrk="0" hangingPunct="0">
              <a:defRPr kumimoji="1" sz="2000">
                <a:solidFill>
                  <a:schemeClr val="tx2"/>
                </a:solidFill>
                <a:latin typeface="Arial" pitchFamily="34" charset="0"/>
                <a:ea typeface="MS PGothic" pitchFamily="34" charset="-128"/>
              </a:defRPr>
            </a:lvl1pPr>
            <a:lvl2pPr marL="771518" indent="-296737" defTabSz="905050" eaLnBrk="0" hangingPunct="0">
              <a:defRPr kumimoji="1" sz="2000">
                <a:solidFill>
                  <a:schemeClr val="tx2"/>
                </a:solidFill>
                <a:latin typeface="Arial" pitchFamily="34" charset="0"/>
                <a:ea typeface="MS PGothic" pitchFamily="34" charset="-128"/>
              </a:defRPr>
            </a:lvl2pPr>
            <a:lvl3pPr marL="1186951" indent="-237389" defTabSz="905050" eaLnBrk="0" hangingPunct="0">
              <a:defRPr kumimoji="1" sz="2000">
                <a:solidFill>
                  <a:schemeClr val="tx2"/>
                </a:solidFill>
                <a:latin typeface="Arial" pitchFamily="34" charset="0"/>
                <a:ea typeface="MS PGothic" pitchFamily="34" charset="-128"/>
              </a:defRPr>
            </a:lvl3pPr>
            <a:lvl4pPr marL="1661731" indent="-237389" defTabSz="905050" eaLnBrk="0" hangingPunct="0">
              <a:defRPr kumimoji="1" sz="2000">
                <a:solidFill>
                  <a:schemeClr val="tx2"/>
                </a:solidFill>
                <a:latin typeface="Arial" pitchFamily="34" charset="0"/>
                <a:ea typeface="MS PGothic" pitchFamily="34" charset="-128"/>
              </a:defRPr>
            </a:lvl4pPr>
            <a:lvl5pPr marL="2136513" indent="-237389" defTabSz="905050" eaLnBrk="0" hangingPunct="0">
              <a:defRPr kumimoji="1" sz="2000">
                <a:solidFill>
                  <a:schemeClr val="tx2"/>
                </a:solidFill>
                <a:latin typeface="Arial" pitchFamily="34" charset="0"/>
                <a:ea typeface="MS PGothic" pitchFamily="34" charset="-128"/>
              </a:defRPr>
            </a:lvl5pPr>
            <a:lvl6pPr marL="2611292"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6073"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853"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5636"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5050"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5050" rtl="0" eaLnBrk="1" fontAlgn="auto" latinLnBrk="0" hangingPunct="1">
                <a:lnSpc>
                  <a:spcPct val="100000"/>
                </a:lnSpc>
                <a:spcBef>
                  <a:spcPts val="0"/>
                </a:spcBef>
                <a:spcAft>
                  <a:spcPts val="0"/>
                </a:spcAft>
                <a:buClrTx/>
                <a:buSzTx/>
                <a:buFontTx/>
                <a:buNone/>
                <a:tabLst/>
                <a:defRPr/>
              </a:pPr>
              <a:t>32</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39738" y="704850"/>
            <a:ext cx="6275387" cy="3530600"/>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3994658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33</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3654443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A9F96-7FEE-A27C-296A-8676E59009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A1CFF0-5268-2F2C-922D-F2639E4971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0BC35B-9487-E338-2F97-9DE45CDE64B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298A9E7-627B-B342-FDC2-E83A2DB7E3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B6FE45-C1D2-432E-8DD6-0699F566796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281510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A9F96-7FEE-A27C-296A-8676E59009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A1CFF0-5268-2F2C-922D-F2639E4971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0BC35B-9487-E338-2F97-9DE45CDE64B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298A9E7-627B-B342-FDC2-E83A2DB7E3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B6FE45-C1D2-432E-8DD6-0699F566796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550498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36</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31661077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24">
              <a:defRPr/>
            </a:pPr>
            <a:r>
              <a:rPr lang="en-US">
                <a:latin typeface="Arial"/>
                <a:ea typeface="+mn-ea"/>
                <a:cs typeface="Arial"/>
              </a:rPr>
              <a:t>Add note to this slide</a:t>
            </a:r>
          </a:p>
        </p:txBody>
      </p:sp>
      <p:sp>
        <p:nvSpPr>
          <p:cNvPr id="4" name="Slide Number Placeholder 3"/>
          <p:cNvSpPr>
            <a:spLocks noGrp="1"/>
          </p:cNvSpPr>
          <p:nvPr>
            <p:ph type="sldNum" sz="quarter" idx="5"/>
          </p:nvPr>
        </p:nvSpPr>
        <p:spPr/>
        <p:txBody>
          <a:bodyPr/>
          <a:lstStyle/>
          <a:p>
            <a:pPr marL="0" marR="0" lvl="0" indent="0" algn="r" defTabSz="914224" rtl="0" eaLnBrk="1" fontAlgn="auto" latinLnBrk="0" hangingPunct="1">
              <a:lnSpc>
                <a:spcPct val="100000"/>
              </a:lnSpc>
              <a:spcBef>
                <a:spcPts val="0"/>
              </a:spcBef>
              <a:spcAft>
                <a:spcPts val="0"/>
              </a:spcAft>
              <a:buClrTx/>
              <a:buSzTx/>
              <a:buFontTx/>
              <a:buNone/>
              <a:tabLst/>
              <a:defRPr/>
            </a:pPr>
            <a:fld id="{1787F914-CB59-4D40-9DDC-044A8D75208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224"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015720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38</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41896279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5050" eaLnBrk="0" hangingPunct="0">
              <a:defRPr kumimoji="1" sz="2000">
                <a:solidFill>
                  <a:schemeClr val="tx2"/>
                </a:solidFill>
                <a:latin typeface="Arial" pitchFamily="34" charset="0"/>
                <a:ea typeface="MS PGothic" pitchFamily="34" charset="-128"/>
              </a:defRPr>
            </a:lvl1pPr>
            <a:lvl2pPr marL="771518" indent="-296737" defTabSz="905050" eaLnBrk="0" hangingPunct="0">
              <a:defRPr kumimoji="1" sz="2000">
                <a:solidFill>
                  <a:schemeClr val="tx2"/>
                </a:solidFill>
                <a:latin typeface="Arial" pitchFamily="34" charset="0"/>
                <a:ea typeface="MS PGothic" pitchFamily="34" charset="-128"/>
              </a:defRPr>
            </a:lvl2pPr>
            <a:lvl3pPr marL="1186951" indent="-237389" defTabSz="905050" eaLnBrk="0" hangingPunct="0">
              <a:defRPr kumimoji="1" sz="2000">
                <a:solidFill>
                  <a:schemeClr val="tx2"/>
                </a:solidFill>
                <a:latin typeface="Arial" pitchFamily="34" charset="0"/>
                <a:ea typeface="MS PGothic" pitchFamily="34" charset="-128"/>
              </a:defRPr>
            </a:lvl3pPr>
            <a:lvl4pPr marL="1661731" indent="-237389" defTabSz="905050" eaLnBrk="0" hangingPunct="0">
              <a:defRPr kumimoji="1" sz="2000">
                <a:solidFill>
                  <a:schemeClr val="tx2"/>
                </a:solidFill>
                <a:latin typeface="Arial" pitchFamily="34" charset="0"/>
                <a:ea typeface="MS PGothic" pitchFamily="34" charset="-128"/>
              </a:defRPr>
            </a:lvl4pPr>
            <a:lvl5pPr marL="2136513" indent="-237389" defTabSz="905050" eaLnBrk="0" hangingPunct="0">
              <a:defRPr kumimoji="1" sz="2000">
                <a:solidFill>
                  <a:schemeClr val="tx2"/>
                </a:solidFill>
                <a:latin typeface="Arial" pitchFamily="34" charset="0"/>
                <a:ea typeface="MS PGothic" pitchFamily="34" charset="-128"/>
              </a:defRPr>
            </a:lvl5pPr>
            <a:lvl6pPr marL="2611292"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6073"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853"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5636"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5050"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5050" rtl="0" eaLnBrk="1" fontAlgn="auto" latinLnBrk="0" hangingPunct="1">
                <a:lnSpc>
                  <a:spcPct val="100000"/>
                </a:lnSpc>
                <a:spcBef>
                  <a:spcPts val="0"/>
                </a:spcBef>
                <a:spcAft>
                  <a:spcPts val="0"/>
                </a:spcAft>
                <a:buClrTx/>
                <a:buSzTx/>
                <a:buFontTx/>
                <a:buNone/>
                <a:tabLst/>
                <a:defRPr/>
              </a:pPr>
              <a:t>39</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39738" y="704850"/>
            <a:ext cx="6275387" cy="3530600"/>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1279411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4</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16908361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40</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17459252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41</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15474040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42</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22356564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24">
              <a:defRPr/>
            </a:pPr>
            <a:r>
              <a:rPr lang="en-US">
                <a:latin typeface="Arial"/>
                <a:ea typeface="+mn-ea"/>
                <a:cs typeface="Arial"/>
              </a:rPr>
              <a:t>Add note to this slide</a:t>
            </a:r>
          </a:p>
        </p:txBody>
      </p:sp>
      <p:sp>
        <p:nvSpPr>
          <p:cNvPr id="4" name="Slide Number Placeholder 3"/>
          <p:cNvSpPr>
            <a:spLocks noGrp="1"/>
          </p:cNvSpPr>
          <p:nvPr>
            <p:ph type="sldNum" sz="quarter" idx="5"/>
          </p:nvPr>
        </p:nvSpPr>
        <p:spPr/>
        <p:txBody>
          <a:bodyPr/>
          <a:lstStyle/>
          <a:p>
            <a:pPr defTabSz="914224">
              <a:defRPr/>
            </a:pPr>
            <a:fld id="{1787F914-CB59-4D40-9DDC-044A8D75208F}" type="slidenum">
              <a:rPr lang="en-US">
                <a:solidFill>
                  <a:prstClr val="black"/>
                </a:solidFill>
                <a:latin typeface="Arial" panose="020B0604020202020204" pitchFamily="34" charset="0"/>
              </a:rPr>
              <a:pPr defTabSz="914224">
                <a:defRPr/>
              </a:pPr>
              <a:t>5</a:t>
            </a:fld>
            <a:endParaRPr lang="en-US">
              <a:solidFill>
                <a:prstClr val="black"/>
              </a:solidFill>
              <a:latin typeface="Arial" panose="020B0604020202020204" pitchFamily="34" charset="0"/>
            </a:endParaRPr>
          </a:p>
        </p:txBody>
      </p:sp>
    </p:spTree>
    <p:extLst>
      <p:ext uri="{BB962C8B-B14F-4D97-AF65-F5344CB8AC3E}">
        <p14:creationId xmlns:p14="http://schemas.microsoft.com/office/powerpoint/2010/main" val="3156599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6</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32236858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5050" eaLnBrk="0" hangingPunct="0">
              <a:defRPr kumimoji="1" sz="2000">
                <a:solidFill>
                  <a:schemeClr val="tx2"/>
                </a:solidFill>
                <a:latin typeface="Arial" pitchFamily="34" charset="0"/>
                <a:ea typeface="MS PGothic" pitchFamily="34" charset="-128"/>
              </a:defRPr>
            </a:lvl1pPr>
            <a:lvl2pPr marL="771518" indent="-296737" defTabSz="905050" eaLnBrk="0" hangingPunct="0">
              <a:defRPr kumimoji="1" sz="2000">
                <a:solidFill>
                  <a:schemeClr val="tx2"/>
                </a:solidFill>
                <a:latin typeface="Arial" pitchFamily="34" charset="0"/>
                <a:ea typeface="MS PGothic" pitchFamily="34" charset="-128"/>
              </a:defRPr>
            </a:lvl2pPr>
            <a:lvl3pPr marL="1186951" indent="-237389" defTabSz="905050" eaLnBrk="0" hangingPunct="0">
              <a:defRPr kumimoji="1" sz="2000">
                <a:solidFill>
                  <a:schemeClr val="tx2"/>
                </a:solidFill>
                <a:latin typeface="Arial" pitchFamily="34" charset="0"/>
                <a:ea typeface="MS PGothic" pitchFamily="34" charset="-128"/>
              </a:defRPr>
            </a:lvl3pPr>
            <a:lvl4pPr marL="1661731" indent="-237389" defTabSz="905050" eaLnBrk="0" hangingPunct="0">
              <a:defRPr kumimoji="1" sz="2000">
                <a:solidFill>
                  <a:schemeClr val="tx2"/>
                </a:solidFill>
                <a:latin typeface="Arial" pitchFamily="34" charset="0"/>
                <a:ea typeface="MS PGothic" pitchFamily="34" charset="-128"/>
              </a:defRPr>
            </a:lvl4pPr>
            <a:lvl5pPr marL="2136513" indent="-237389" defTabSz="905050" eaLnBrk="0" hangingPunct="0">
              <a:defRPr kumimoji="1" sz="2000">
                <a:solidFill>
                  <a:schemeClr val="tx2"/>
                </a:solidFill>
                <a:latin typeface="Arial" pitchFamily="34" charset="0"/>
                <a:ea typeface="MS PGothic" pitchFamily="34" charset="-128"/>
              </a:defRPr>
            </a:lvl5pPr>
            <a:lvl6pPr marL="2611292"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6073"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853"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5636" indent="-237389" defTabSz="905050"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5050"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5050" rtl="0" eaLnBrk="1" fontAlgn="auto" latinLnBrk="0" hangingPunct="1">
                <a:lnSpc>
                  <a:spcPct val="100000"/>
                </a:lnSpc>
                <a:spcBef>
                  <a:spcPts val="0"/>
                </a:spcBef>
                <a:spcAft>
                  <a:spcPts val="0"/>
                </a:spcAft>
                <a:buClrTx/>
                <a:buSzTx/>
                <a:buFontTx/>
                <a:buNone/>
                <a:tabLst/>
                <a:defRPr/>
              </a:pPr>
              <a:t>7</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39738" y="704850"/>
            <a:ext cx="6275387" cy="3530600"/>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extLst>
      <p:ext uri="{BB962C8B-B14F-4D97-AF65-F5344CB8AC3E}">
        <p14:creationId xmlns:p14="http://schemas.microsoft.com/office/powerpoint/2010/main" val="529325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8</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38603011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eaLnBrk="0" hangingPunct="0">
              <a:defRPr kumimoji="1" sz="2000">
                <a:solidFill>
                  <a:schemeClr val="tx2"/>
                </a:solidFill>
                <a:latin typeface="Arial" pitchFamily="34" charset="0"/>
                <a:ea typeface="MS PGothic" pitchFamily="34" charset="-128"/>
              </a:defRPr>
            </a:lvl1pPr>
            <a:lvl2pPr marL="771370" indent="-296680" defTabSz="904875" eaLnBrk="0" hangingPunct="0">
              <a:defRPr kumimoji="1" sz="2000">
                <a:solidFill>
                  <a:schemeClr val="tx2"/>
                </a:solidFill>
                <a:latin typeface="Arial" pitchFamily="34" charset="0"/>
                <a:ea typeface="MS PGothic" pitchFamily="34" charset="-128"/>
              </a:defRPr>
            </a:lvl2pPr>
            <a:lvl3pPr marL="1186722" indent="-237343" defTabSz="904875" eaLnBrk="0" hangingPunct="0">
              <a:defRPr kumimoji="1" sz="2000">
                <a:solidFill>
                  <a:schemeClr val="tx2"/>
                </a:solidFill>
                <a:latin typeface="Arial" pitchFamily="34" charset="0"/>
                <a:ea typeface="MS PGothic" pitchFamily="34" charset="-128"/>
              </a:defRPr>
            </a:lvl3pPr>
            <a:lvl4pPr marL="1661410" indent="-237343" defTabSz="904875" eaLnBrk="0" hangingPunct="0">
              <a:defRPr kumimoji="1" sz="2000">
                <a:solidFill>
                  <a:schemeClr val="tx2"/>
                </a:solidFill>
                <a:latin typeface="Arial" pitchFamily="34" charset="0"/>
                <a:ea typeface="MS PGothic" pitchFamily="34" charset="-128"/>
              </a:defRPr>
            </a:lvl4pPr>
            <a:lvl5pPr marL="2136101" indent="-237343" defTabSz="904875" eaLnBrk="0" hangingPunct="0">
              <a:defRPr kumimoji="1" sz="2000">
                <a:solidFill>
                  <a:schemeClr val="tx2"/>
                </a:solidFill>
                <a:latin typeface="Arial" pitchFamily="34" charset="0"/>
                <a:ea typeface="MS PGothic" pitchFamily="34" charset="-128"/>
              </a:defRPr>
            </a:lvl5pPr>
            <a:lvl6pPr marL="2610788"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6pPr>
            <a:lvl7pPr marL="308547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7pPr>
            <a:lvl8pPr marL="3560166"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8pPr>
            <a:lvl9pPr marL="4034857" indent="-237343" defTabSz="904875" eaLnBrk="0" fontAlgn="base" hangingPunct="0">
              <a:spcBef>
                <a:spcPct val="0"/>
              </a:spcBef>
              <a:spcAft>
                <a:spcPct val="0"/>
              </a:spcAft>
              <a:defRPr kumimoji="1" sz="2000">
                <a:solidFill>
                  <a:schemeClr val="tx2"/>
                </a:solidFill>
                <a:latin typeface="Arial" pitchFamily="34" charset="0"/>
                <a:ea typeface="MS PGothic" pitchFamily="34" charset="-128"/>
              </a:defRPr>
            </a:lvl9pPr>
          </a:lstStyle>
          <a:p>
            <a:pPr marL="0" marR="0" lvl="0" indent="0" algn="r" defTabSz="904875" rtl="0" eaLnBrk="1" fontAlgn="auto" latinLnBrk="0" hangingPunct="1">
              <a:lnSpc>
                <a:spcPct val="100000"/>
              </a:lnSpc>
              <a:spcBef>
                <a:spcPts val="0"/>
              </a:spcBef>
              <a:spcAft>
                <a:spcPts val="0"/>
              </a:spcAft>
              <a:buClrTx/>
              <a:buSzTx/>
              <a:buFontTx/>
              <a:buNone/>
              <a:tabLst/>
              <a:defRPr/>
            </a:pPr>
            <a:fld id="{67B52889-4E1C-45E5-A1AE-D69167DD3E90}" type="slidenum">
              <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rPr>
              <a:pPr marL="0" marR="0" lvl="0" indent="0" algn="r" defTabSz="904875" rtl="0" eaLnBrk="1" fontAlgn="auto" latinLnBrk="0" hangingPunct="1">
                <a:lnSpc>
                  <a:spcPct val="100000"/>
                </a:lnSpc>
                <a:spcBef>
                  <a:spcPts val="0"/>
                </a:spcBef>
                <a:spcAft>
                  <a:spcPts val="0"/>
                </a:spcAft>
                <a:buClrTx/>
                <a:buSzTx/>
                <a:buFontTx/>
                <a:buNone/>
                <a:tabLst/>
                <a:defRPr/>
              </a:pPr>
              <a:t>9</a:t>
            </a:fld>
            <a:endParaRPr kumimoji="1" lang="en-US" altLang="ja-JP"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175107" name="Rectangle 2"/>
          <p:cNvSpPr>
            <a:spLocks noGrp="1" noRot="1" noChangeAspect="1" noChangeArrowheads="1" noTextEdit="1"/>
          </p:cNvSpPr>
          <p:nvPr>
            <p:ph type="sldImg"/>
          </p:nvPr>
        </p:nvSpPr>
        <p:spPr>
          <a:xfrm>
            <a:off x="441325" y="704850"/>
            <a:ext cx="6272213" cy="3529013"/>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26426273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12.png"/><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2.png"/><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2.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2.png"/><Relationship Id="rId4"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12.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2.png"/><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2.png"/><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2.png"/><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9.png"/><Relationship Id="rId5" Type="http://schemas.openxmlformats.org/officeDocument/2006/relationships/image" Target="../media/image13.jpeg"/><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12.png"/><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12.png"/><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1.xml"/><Relationship Id="rId5" Type="http://schemas.openxmlformats.org/officeDocument/2006/relationships/image" Target="../media/image14.png"/><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2.xml"/><Relationship Id="rId5" Type="http://schemas.openxmlformats.org/officeDocument/2006/relationships/image" Target="../media/image12.png"/><Relationship Id="rId4" Type="http://schemas.openxmlformats.org/officeDocument/2006/relationships/image" Target="../media/image6.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3.xml"/><Relationship Id="rId5" Type="http://schemas.openxmlformats.org/officeDocument/2006/relationships/image" Target="../media/image12.png"/><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4.xml"/><Relationship Id="rId5" Type="http://schemas.openxmlformats.org/officeDocument/2006/relationships/image" Target="../media/image15.png"/><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6.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6.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7.xml"/><Relationship Id="rId5" Type="http://schemas.openxmlformats.org/officeDocument/2006/relationships/image" Target="../media/image17.png"/><Relationship Id="rId4" Type="http://schemas.openxmlformats.org/officeDocument/2006/relationships/image" Target="../media/image6.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6.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6.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0.xml"/><Relationship Id="rId6" Type="http://schemas.openxmlformats.org/officeDocument/2006/relationships/image" Target="../media/image19.jpg"/><Relationship Id="rId5" Type="http://schemas.openxmlformats.org/officeDocument/2006/relationships/image" Target="../media/image4.png"/><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6.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6.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4.xml"/><Relationship Id="rId5" Type="http://schemas.openxmlformats.org/officeDocument/2006/relationships/image" Target="../media/image20.png"/><Relationship Id="rId4" Type="http://schemas.openxmlformats.org/officeDocument/2006/relationships/image" Target="../media/image6.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6.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6.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7.xml"/><Relationship Id="rId5" Type="http://schemas.openxmlformats.org/officeDocument/2006/relationships/image" Target="../media/image18.png"/><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8.xml"/><Relationship Id="rId6" Type="http://schemas.openxmlformats.org/officeDocument/2006/relationships/image" Target="../media/image21.png"/><Relationship Id="rId5" Type="http://schemas.openxmlformats.org/officeDocument/2006/relationships/image" Target="../media/image10.jpeg"/><Relationship Id="rId4" Type="http://schemas.openxmlformats.org/officeDocument/2006/relationships/image" Target="../media/image6.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9.xml"/><Relationship Id="rId5" Type="http://schemas.openxmlformats.org/officeDocument/2006/relationships/image" Target="../media/image18.png"/><Relationship Id="rId4" Type="http://schemas.openxmlformats.org/officeDocument/2006/relationships/image" Target="../media/image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50.xml"/><Relationship Id="rId5" Type="http://schemas.openxmlformats.org/officeDocument/2006/relationships/image" Target="../media/image18.png"/><Relationship Id="rId4" Type="http://schemas.openxmlformats.org/officeDocument/2006/relationships/image" Target="../media/image6.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51.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52.xml"/><Relationship Id="rId5" Type="http://schemas.openxmlformats.org/officeDocument/2006/relationships/image" Target="../media/image18.png"/><Relationship Id="rId4" Type="http://schemas.openxmlformats.org/officeDocument/2006/relationships/image" Target="../media/image6.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53.xml"/><Relationship Id="rId5" Type="http://schemas.openxmlformats.org/officeDocument/2006/relationships/image" Target="../media/image22.png"/><Relationship Id="rId4" Type="http://schemas.openxmlformats.org/officeDocument/2006/relationships/image" Target="../media/image6.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54.xml"/><Relationship Id="rId4" Type="http://schemas.openxmlformats.org/officeDocument/2006/relationships/image" Target="../media/image6.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55.xml"/><Relationship Id="rId5" Type="http://schemas.openxmlformats.org/officeDocument/2006/relationships/image" Target="../media/image22.png"/><Relationship Id="rId4" Type="http://schemas.openxmlformats.org/officeDocument/2006/relationships/image" Target="../media/image6.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56.xml"/><Relationship Id="rId5" Type="http://schemas.openxmlformats.org/officeDocument/2006/relationships/image" Target="../media/image22.png"/><Relationship Id="rId4" Type="http://schemas.openxmlformats.org/officeDocument/2006/relationships/image" Target="../media/image6.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57.xml"/><Relationship Id="rId5" Type="http://schemas.openxmlformats.org/officeDocument/2006/relationships/image" Target="../media/image22.png"/><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22.png"/><Relationship Id="rId4" Type="http://schemas.openxmlformats.org/officeDocument/2006/relationships/image" Target="../media/image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3.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60.xml"/><Relationship Id="rId5" Type="http://schemas.openxmlformats.org/officeDocument/2006/relationships/image" Target="../media/image22.png"/><Relationship Id="rId4" Type="http://schemas.openxmlformats.org/officeDocument/2006/relationships/image" Target="../media/image3.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61.xml"/><Relationship Id="rId5" Type="http://schemas.openxmlformats.org/officeDocument/2006/relationships/image" Target="../media/image22.png"/><Relationship Id="rId4" Type="http://schemas.openxmlformats.org/officeDocument/2006/relationships/image" Target="../media/image3.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62.xml"/><Relationship Id="rId4" Type="http://schemas.openxmlformats.org/officeDocument/2006/relationships/image" Target="../media/image3.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63.xml"/><Relationship Id="rId5" Type="http://schemas.openxmlformats.org/officeDocument/2006/relationships/image" Target="../media/image22.png"/><Relationship Id="rId4" Type="http://schemas.openxmlformats.org/officeDocument/2006/relationships/image" Target="../media/image3.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64.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65.xml"/><Relationship Id="rId6" Type="http://schemas.openxmlformats.org/officeDocument/2006/relationships/image" Target="../media/image18.png"/><Relationship Id="rId5" Type="http://schemas.openxmlformats.org/officeDocument/2006/relationships/image" Target="../media/image13.jpeg"/><Relationship Id="rId4" Type="http://schemas.openxmlformats.org/officeDocument/2006/relationships/image" Target="../media/image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66.xml"/><Relationship Id="rId4" Type="http://schemas.openxmlformats.org/officeDocument/2006/relationships/image" Target="../media/image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67.xml"/><Relationship Id="rId5" Type="http://schemas.openxmlformats.org/officeDocument/2006/relationships/image" Target="../media/image22.png"/><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6.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68.xml"/><Relationship Id="rId5" Type="http://schemas.openxmlformats.org/officeDocument/2006/relationships/image" Target="../media/image22.png"/><Relationship Id="rId4" Type="http://schemas.openxmlformats.org/officeDocument/2006/relationships/image" Target="../media/image3.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69.xml"/><Relationship Id="rId5" Type="http://schemas.openxmlformats.org/officeDocument/2006/relationships/image" Target="../media/image23.png"/><Relationship Id="rId4" Type="http://schemas.openxmlformats.org/officeDocument/2006/relationships/image" Target="../media/image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70.xml"/><Relationship Id="rId5" Type="http://schemas.openxmlformats.org/officeDocument/2006/relationships/image" Target="../media/image22.png"/><Relationship Id="rId4" Type="http://schemas.openxmlformats.org/officeDocument/2006/relationships/image" Target="../media/image6.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71.xml"/><Relationship Id="rId5" Type="http://schemas.openxmlformats.org/officeDocument/2006/relationships/image" Target="../media/image22.png"/><Relationship Id="rId4" Type="http://schemas.openxmlformats.org/officeDocument/2006/relationships/image" Target="../media/image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72.xml"/><Relationship Id="rId5" Type="http://schemas.openxmlformats.org/officeDocument/2006/relationships/image" Target="../media/image24.png"/><Relationship Id="rId4" Type="http://schemas.openxmlformats.org/officeDocument/2006/relationships/image" Target="../media/image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73.xml"/><Relationship Id="rId4" Type="http://schemas.openxmlformats.org/officeDocument/2006/relationships/image" Target="../media/image6.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74.xml"/><Relationship Id="rId6" Type="http://schemas.openxmlformats.org/officeDocument/2006/relationships/image" Target="../media/image17.png"/><Relationship Id="rId5" Type="http://schemas.openxmlformats.org/officeDocument/2006/relationships/image" Target="../media/image25.jpg"/><Relationship Id="rId4" Type="http://schemas.openxmlformats.org/officeDocument/2006/relationships/image" Target="../media/image6.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75.xml"/><Relationship Id="rId5" Type="http://schemas.openxmlformats.org/officeDocument/2006/relationships/image" Target="../media/image17.png"/><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8.png"/><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i="0">
                <a:solidFill>
                  <a:schemeClr val="tx1"/>
                </a:solidFill>
              </a:defRPr>
            </a:lvl1pPr>
          </a:lstStyle>
          <a:p>
            <a:r>
              <a:rPr lang="en-US"/>
              <a:t>Click to edit Master title style</a:t>
            </a:r>
          </a:p>
        </p:txBody>
      </p:sp>
      <p:sp>
        <p:nvSpPr>
          <p:cNvPr id="3" name="Content Placeholder 2"/>
          <p:cNvSpPr>
            <a:spLocks noGrp="1"/>
          </p:cNvSpPr>
          <p:nvPr>
            <p:ph idx="1"/>
          </p:nvPr>
        </p:nvSpPr>
        <p:spPr>
          <a:xfrm>
            <a:off x="609600" y="1447800"/>
            <a:ext cx="10972800" cy="4876800"/>
          </a:xfrm>
          <a:prstGeom prst="rect">
            <a:avLst/>
          </a:prstGeom>
        </p:spPr>
        <p:txBody>
          <a:bodyPr/>
          <a:lstStyle>
            <a:lvl1pPr marL="342900" indent="-342900" algn="l" defTabSz="914400" rtl="0" eaLnBrk="1" latinLnBrk="0" hangingPunct="1">
              <a:spcBef>
                <a:spcPct val="20000"/>
              </a:spcBef>
              <a:buFont typeface="Wingdings" panose="05000000000000000000" pitchFamily="2" charset="2"/>
              <a:buChar char="Ø"/>
              <a:defRPr lang="en-US" sz="2200" b="1" kern="1200" dirty="0">
                <a:solidFill>
                  <a:schemeClr val="tx1"/>
                </a:solidFill>
                <a:latin typeface="+mn-lt"/>
                <a:ea typeface="+mn-ea"/>
                <a:cs typeface="+mn-cs"/>
              </a:defRPr>
            </a:lvl1pPr>
            <a:lvl2pPr marL="742950" indent="-285750" algn="l" defTabSz="914400" rtl="0" eaLnBrk="1" latinLnBrk="0" hangingPunct="1">
              <a:spcBef>
                <a:spcPct val="20000"/>
              </a:spcBef>
              <a:buFont typeface="Wingdings" panose="05000000000000000000" pitchFamily="2" charset="2"/>
              <a:buChar char="§"/>
              <a:defRPr lang="en-US" sz="2200" b="0" kern="1200" dirty="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lang="en-US" sz="2200" b="0" kern="1200" dirty="0">
                <a:solidFill>
                  <a:schemeClr val="tx2"/>
                </a:solidFill>
                <a:latin typeface="+mn-lt"/>
                <a:ea typeface="+mn-ea"/>
                <a:cs typeface="+mn-cs"/>
              </a:defRPr>
            </a:lvl3pPr>
            <a:lvl4pPr algn="l" defTabSz="914400" rtl="0" eaLnBrk="1" latinLnBrk="0" hangingPunct="1">
              <a:spcBef>
                <a:spcPct val="20000"/>
              </a:spcBef>
              <a:defRPr lang="en-US" sz="2200" b="0" kern="1200" dirty="0">
                <a:solidFill>
                  <a:schemeClr val="accent6"/>
                </a:solidFill>
                <a:latin typeface="+mn-lt"/>
                <a:ea typeface="+mn-ea"/>
                <a:cs typeface="+mn-cs"/>
              </a:defRPr>
            </a:lvl4pPr>
            <a:lvl5pPr algn="l" defTabSz="914400" rtl="0" eaLnBrk="1" latinLnBrk="0" hangingPunct="1">
              <a:spcBef>
                <a:spcPct val="20000"/>
              </a:spcBef>
              <a:defRPr lang="en-US" sz="2200" b="0" kern="1200" dirty="0">
                <a:solidFill>
                  <a:srgbClr val="00B0F0"/>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9"/>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lvl1pPr algn="ctr">
              <a:defRPr sz="1000" b="1" i="1">
                <a:solidFill>
                  <a:schemeClr val="tx1">
                    <a:tint val="75000"/>
                  </a:schemeClr>
                </a:solidFill>
              </a:defRPr>
            </a:lvl1pPr>
          </a:lstStyle>
          <a:p>
            <a:fld id="{77B53D6F-C4CB-420C-A086-675310C7E811}" type="slidenum">
              <a:rPr lang="en-US" smtClean="0"/>
              <a:pPr/>
              <a:t>‹#›</a:t>
            </a:fld>
            <a:endParaRPr lang="en-US"/>
          </a:p>
        </p:txBody>
      </p:sp>
    </p:spTree>
    <p:extLst>
      <p:ext uri="{BB962C8B-B14F-4D97-AF65-F5344CB8AC3E}">
        <p14:creationId xmlns:p14="http://schemas.microsoft.com/office/powerpoint/2010/main" val="22580647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ample Layout_2">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2487858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0EFA4354-41DA-1597-0206-839792F64998}"/>
              </a:ext>
            </a:extLst>
          </p:cNvPr>
          <p:cNvSpPr>
            <a:spLocks noGrp="1"/>
          </p:cNvSpPr>
          <p:nvPr userDrawn="1">
            <p:ph type="pic" sz="quarter" idx="10"/>
          </p:nvPr>
        </p:nvSpPr>
        <p:spPr>
          <a:xfrm>
            <a:off x="612" y="1131532"/>
            <a:ext cx="5754688" cy="4594225"/>
          </a:xfrm>
          <a:custGeom>
            <a:avLst/>
            <a:gdLst>
              <a:gd name="connsiteX0" fmla="*/ 4165287 w 5754688"/>
              <a:gd name="connsiteY0" fmla="*/ 709 h 4594225"/>
              <a:gd name="connsiteX1" fmla="*/ 4165287 w 5754688"/>
              <a:gd name="connsiteY1" fmla="*/ 1590109 h 4594225"/>
              <a:gd name="connsiteX2" fmla="*/ 5754687 w 5754688"/>
              <a:gd name="connsiteY2" fmla="*/ 1590109 h 4594225"/>
              <a:gd name="connsiteX3" fmla="*/ 5754687 w 5754688"/>
              <a:gd name="connsiteY3" fmla="*/ 709 h 4594225"/>
              <a:gd name="connsiteX4" fmla="*/ 0 w 5754688"/>
              <a:gd name="connsiteY4" fmla="*/ 0 h 4594225"/>
              <a:gd name="connsiteX5" fmla="*/ 5754688 w 5754688"/>
              <a:gd name="connsiteY5" fmla="*/ 0 h 4594225"/>
              <a:gd name="connsiteX6" fmla="*/ 5754688 w 5754688"/>
              <a:gd name="connsiteY6" fmla="*/ 1590110 h 4594225"/>
              <a:gd name="connsiteX7" fmla="*/ 4952388 w 5754688"/>
              <a:gd name="connsiteY7" fmla="*/ 1590110 h 4594225"/>
              <a:gd name="connsiteX8" fmla="*/ 4952388 w 5754688"/>
              <a:gd name="connsiteY8" fmla="*/ 2392048 h 4594225"/>
              <a:gd name="connsiteX9" fmla="*/ 5754688 w 5754688"/>
              <a:gd name="connsiteY9" fmla="*/ 2392048 h 4594225"/>
              <a:gd name="connsiteX10" fmla="*/ 5754688 w 5754688"/>
              <a:gd name="connsiteY10" fmla="*/ 4594225 h 4594225"/>
              <a:gd name="connsiteX11" fmla="*/ 0 w 5754688"/>
              <a:gd name="connsiteY11" fmla="*/ 4594225 h 459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54688" h="4594225">
                <a:moveTo>
                  <a:pt x="4165287" y="709"/>
                </a:moveTo>
                <a:lnTo>
                  <a:pt x="4165287" y="1590109"/>
                </a:lnTo>
                <a:lnTo>
                  <a:pt x="5754687" y="1590109"/>
                </a:lnTo>
                <a:lnTo>
                  <a:pt x="5754687" y="709"/>
                </a:lnTo>
                <a:close/>
                <a:moveTo>
                  <a:pt x="0" y="0"/>
                </a:moveTo>
                <a:lnTo>
                  <a:pt x="5754688" y="0"/>
                </a:lnTo>
                <a:lnTo>
                  <a:pt x="5754688" y="1590110"/>
                </a:lnTo>
                <a:lnTo>
                  <a:pt x="4952388" y="1590110"/>
                </a:lnTo>
                <a:lnTo>
                  <a:pt x="4952388" y="2392048"/>
                </a:lnTo>
                <a:lnTo>
                  <a:pt x="5754688" y="2392048"/>
                </a:lnTo>
                <a:lnTo>
                  <a:pt x="5754688" y="4594225"/>
                </a:lnTo>
                <a:lnTo>
                  <a:pt x="0" y="4594225"/>
                </a:lnTo>
                <a:close/>
              </a:path>
            </a:pathLst>
          </a:custGeom>
          <a:solidFill>
            <a:schemeClr val="tx2"/>
          </a:solidFill>
        </p:spPr>
        <p:txBody>
          <a:bodyPr wrap="square">
            <a:noAutofit/>
          </a:bodyPr>
          <a:lstStyle/>
          <a:p>
            <a:endParaRPr lang="en-US"/>
          </a:p>
        </p:txBody>
      </p:sp>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Google Shape;166;p4">
            <a:extLst>
              <a:ext uri="{FF2B5EF4-FFF2-40B4-BE49-F238E27FC236}">
                <a16:creationId xmlns:a16="http://schemas.microsoft.com/office/drawing/2014/main" id="{457E12B5-AB60-10AC-05A5-6B61517FAE59}"/>
              </a:ext>
            </a:extLst>
          </p:cNvPr>
          <p:cNvSpPr/>
          <p:nvPr userDrawn="1"/>
        </p:nvSpPr>
        <p:spPr>
          <a:xfrm>
            <a:off x="5755342" y="3523579"/>
            <a:ext cx="5684626" cy="2202178"/>
          </a:xfrm>
          <a:prstGeom prst="rect">
            <a:avLst/>
          </a:prstGeom>
          <a:solidFill>
            <a:schemeClr val="accent2">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 name="Picture 10" descr="A logo with a black background&#10;&#10;Description automatically generated">
            <a:extLst>
              <a:ext uri="{FF2B5EF4-FFF2-40B4-BE49-F238E27FC236}">
                <a16:creationId xmlns:a16="http://schemas.microsoft.com/office/drawing/2014/main" id="{E2623AC6-603C-F9C8-4821-953B0FED22C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212222" y="276399"/>
            <a:ext cx="1631436" cy="689552"/>
          </a:xfrm>
          <a:prstGeom prst="rect">
            <a:avLst/>
          </a:prstGeom>
        </p:spPr>
      </p:pic>
      <p:sp>
        <p:nvSpPr>
          <p:cNvPr id="20" name="Title 19">
            <a:extLst>
              <a:ext uri="{FF2B5EF4-FFF2-40B4-BE49-F238E27FC236}">
                <a16:creationId xmlns:a16="http://schemas.microsoft.com/office/drawing/2014/main" id="{751CD9D8-A94A-D51A-C527-526678CA2091}"/>
              </a:ext>
            </a:extLst>
          </p:cNvPr>
          <p:cNvSpPr>
            <a:spLocks noGrp="1"/>
          </p:cNvSpPr>
          <p:nvPr>
            <p:ph type="title"/>
          </p:nvPr>
        </p:nvSpPr>
        <p:spPr>
          <a:xfrm>
            <a:off x="6437837" y="1943179"/>
            <a:ext cx="5002213" cy="954088"/>
          </a:xfrm>
        </p:spPr>
        <p:txBody>
          <a:bodyPr vert="horz" anchor="t">
            <a:normAutofit/>
          </a:bodyPr>
          <a:lstStyle>
            <a:lvl1pPr>
              <a:defRPr sz="2800"/>
            </a:lvl1pPr>
          </a:lstStyle>
          <a:p>
            <a:r>
              <a:rPr lang="en-US"/>
              <a:t>Click to edit Master title style</a:t>
            </a:r>
          </a:p>
        </p:txBody>
      </p:sp>
      <p:sp>
        <p:nvSpPr>
          <p:cNvPr id="26" name="Text Placeholder 25">
            <a:extLst>
              <a:ext uri="{FF2B5EF4-FFF2-40B4-BE49-F238E27FC236}">
                <a16:creationId xmlns:a16="http://schemas.microsoft.com/office/drawing/2014/main" id="{CCC60EFA-DFB8-13B5-F9A0-DCC9045377DC}"/>
              </a:ext>
            </a:extLst>
          </p:cNvPr>
          <p:cNvSpPr>
            <a:spLocks noGrp="1"/>
          </p:cNvSpPr>
          <p:nvPr>
            <p:ph type="body" sz="quarter" idx="11" hasCustomPrompt="1"/>
          </p:nvPr>
        </p:nvSpPr>
        <p:spPr>
          <a:xfrm>
            <a:off x="6437313" y="1635175"/>
            <a:ext cx="5002213" cy="307975"/>
          </a:xfrm>
        </p:spPr>
        <p:txBody>
          <a:bodyPr/>
          <a:lstStyle>
            <a:lvl1pPr marL="0" indent="0">
              <a:buNone/>
              <a:defRPr sz="1400"/>
            </a:lvl1pPr>
            <a:lvl2pPr>
              <a:defRPr sz="1400"/>
            </a:lvl2pPr>
            <a:lvl3pPr>
              <a:defRPr sz="1400"/>
            </a:lvl3pPr>
            <a:lvl4pPr>
              <a:defRPr sz="1400"/>
            </a:lvl4pPr>
            <a:lvl5pPr>
              <a:defRPr sz="1400"/>
            </a:lvl5pPr>
          </a:lstStyle>
          <a:p>
            <a:pPr lvl="0"/>
            <a:r>
              <a:rPr lang="en-US"/>
              <a:t>Sub Title</a:t>
            </a:r>
          </a:p>
        </p:txBody>
      </p:sp>
      <p:sp>
        <p:nvSpPr>
          <p:cNvPr id="28" name="Text Placeholder 27">
            <a:extLst>
              <a:ext uri="{FF2B5EF4-FFF2-40B4-BE49-F238E27FC236}">
                <a16:creationId xmlns:a16="http://schemas.microsoft.com/office/drawing/2014/main" id="{99E22D92-8E8B-DD04-95FA-56F2AB30CAAD}"/>
              </a:ext>
            </a:extLst>
          </p:cNvPr>
          <p:cNvSpPr>
            <a:spLocks noGrp="1"/>
          </p:cNvSpPr>
          <p:nvPr>
            <p:ph type="body" sz="quarter" idx="12"/>
          </p:nvPr>
        </p:nvSpPr>
        <p:spPr>
          <a:xfrm>
            <a:off x="6436660" y="3932101"/>
            <a:ext cx="4102100" cy="120015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Footer Placeholder 28">
            <a:extLst>
              <a:ext uri="{FF2B5EF4-FFF2-40B4-BE49-F238E27FC236}">
                <a16:creationId xmlns:a16="http://schemas.microsoft.com/office/drawing/2014/main" id="{F0E955D9-73A9-DDEB-D394-D7A1E52F7370}"/>
              </a:ext>
            </a:extLst>
          </p:cNvPr>
          <p:cNvSpPr>
            <a:spLocks noGrp="1"/>
          </p:cNvSpPr>
          <p:nvPr>
            <p:ph type="ftr" sz="quarter" idx="13"/>
          </p:nvPr>
        </p:nvSpPr>
        <p:spPr/>
        <p:txBody>
          <a:bodyPr/>
          <a:lstStyle/>
          <a:p>
            <a:endParaRPr lang="en-US"/>
          </a:p>
        </p:txBody>
      </p:sp>
      <p:sp>
        <p:nvSpPr>
          <p:cNvPr id="9" name="Google Shape;170;p4">
            <a:extLst>
              <a:ext uri="{FF2B5EF4-FFF2-40B4-BE49-F238E27FC236}">
                <a16:creationId xmlns:a16="http://schemas.microsoft.com/office/drawing/2014/main" id="{D388E7C9-3C21-A3C7-C3BC-A8892E560A3B}"/>
              </a:ext>
            </a:extLst>
          </p:cNvPr>
          <p:cNvSpPr/>
          <p:nvPr userDrawn="1"/>
        </p:nvSpPr>
        <p:spPr>
          <a:xfrm>
            <a:off x="4165899" y="1132241"/>
            <a:ext cx="1589400" cy="15894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 name="Google Shape;171;p4">
            <a:extLst>
              <a:ext uri="{FF2B5EF4-FFF2-40B4-BE49-F238E27FC236}">
                <a16:creationId xmlns:a16="http://schemas.microsoft.com/office/drawing/2014/main" id="{2B7C80A3-E909-680C-CD22-CD16717C1CBE}"/>
              </a:ext>
            </a:extLst>
          </p:cNvPr>
          <p:cNvSpPr/>
          <p:nvPr userDrawn="1"/>
        </p:nvSpPr>
        <p:spPr>
          <a:xfrm>
            <a:off x="4953000" y="2721642"/>
            <a:ext cx="802342" cy="801938"/>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15858037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ample Layout_3">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48047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0AF5A7B-9D65-2518-2E1E-A33D6DB7C1D5}"/>
              </a:ext>
            </a:extLst>
          </p:cNvPr>
          <p:cNvSpPr/>
          <p:nvPr userDrawn="1"/>
        </p:nvSpPr>
        <p:spPr>
          <a:xfrm>
            <a:off x="9507537" y="330200"/>
            <a:ext cx="2392363" cy="723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Google Shape;177;p5">
            <a:extLst>
              <a:ext uri="{FF2B5EF4-FFF2-40B4-BE49-F238E27FC236}">
                <a16:creationId xmlns:a16="http://schemas.microsoft.com/office/drawing/2014/main" id="{DCCAFB1A-B414-64A7-D5F8-BAAFFC0D33CF}"/>
              </a:ext>
            </a:extLst>
          </p:cNvPr>
          <p:cNvSpPr/>
          <p:nvPr userDrawn="1"/>
        </p:nvSpPr>
        <p:spPr>
          <a:xfrm>
            <a:off x="5369442" y="0"/>
            <a:ext cx="6822558" cy="3429000"/>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 name="Google Shape;184;p5">
            <a:extLst>
              <a:ext uri="{FF2B5EF4-FFF2-40B4-BE49-F238E27FC236}">
                <a16:creationId xmlns:a16="http://schemas.microsoft.com/office/drawing/2014/main" id="{94BF57C2-6973-64CF-CBDC-840AB76DF7B3}"/>
              </a:ext>
            </a:extLst>
          </p:cNvPr>
          <p:cNvPicPr preferRelativeResize="0">
            <a:picLocks/>
          </p:cNvPicPr>
          <p:nvPr userDrawn="1"/>
        </p:nvPicPr>
        <p:blipFill rotWithShape="1">
          <a:blip r:embed="rId5" cstate="screen">
            <a:alphaModFix/>
            <a:extLst>
              <a:ext uri="{28A0092B-C50C-407E-A947-70E740481C1C}">
                <a14:useLocalDpi xmlns:a14="http://schemas.microsoft.com/office/drawing/2010/main"/>
              </a:ext>
            </a:extLst>
          </a:blip>
          <a:srcRect/>
          <a:stretch/>
        </p:blipFill>
        <p:spPr>
          <a:xfrm>
            <a:off x="4208243" y="446568"/>
            <a:ext cx="2371062" cy="5380076"/>
          </a:xfrm>
          <a:prstGeom prst="rect">
            <a:avLst/>
          </a:prstGeom>
          <a:solidFill>
            <a:schemeClr val="lt1"/>
          </a:solidFill>
          <a:ln>
            <a:noFill/>
          </a:ln>
        </p:spPr>
      </p:pic>
      <p:cxnSp>
        <p:nvCxnSpPr>
          <p:cNvPr id="10" name="Google Shape;187;p5">
            <a:extLst>
              <a:ext uri="{FF2B5EF4-FFF2-40B4-BE49-F238E27FC236}">
                <a16:creationId xmlns:a16="http://schemas.microsoft.com/office/drawing/2014/main" id="{8D1BB031-ABF0-9E1D-8848-32EB72783775}"/>
              </a:ext>
            </a:extLst>
          </p:cNvPr>
          <p:cNvCxnSpPr/>
          <p:nvPr userDrawn="1"/>
        </p:nvCxnSpPr>
        <p:spPr>
          <a:xfrm>
            <a:off x="4208250" y="6205259"/>
            <a:ext cx="2527200" cy="0"/>
          </a:xfrm>
          <a:prstGeom prst="straightConnector1">
            <a:avLst/>
          </a:prstGeom>
          <a:noFill/>
          <a:ln w="28575" cap="flat" cmpd="sng">
            <a:solidFill>
              <a:schemeClr val="accent4"/>
            </a:solidFill>
            <a:prstDash val="solid"/>
            <a:miter lim="800000"/>
            <a:headEnd type="none" w="sm" len="sm"/>
            <a:tailEnd type="none" w="sm" len="sm"/>
          </a:ln>
        </p:spPr>
      </p:cxnSp>
      <p:pic>
        <p:nvPicPr>
          <p:cNvPr id="11" name="Picture 10" descr="A logo with a black background&#10;&#10;Description automatically generated">
            <a:extLst>
              <a:ext uri="{FF2B5EF4-FFF2-40B4-BE49-F238E27FC236}">
                <a16:creationId xmlns:a16="http://schemas.microsoft.com/office/drawing/2014/main" id="{CFD9705C-F571-22EF-6C84-210B16D303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99348" y="5404871"/>
            <a:ext cx="1928542" cy="815129"/>
          </a:xfrm>
          <a:prstGeom prst="rect">
            <a:avLst/>
          </a:prstGeom>
        </p:spPr>
      </p:pic>
      <p:sp>
        <p:nvSpPr>
          <p:cNvPr id="14" name="Title 13">
            <a:extLst>
              <a:ext uri="{FF2B5EF4-FFF2-40B4-BE49-F238E27FC236}">
                <a16:creationId xmlns:a16="http://schemas.microsoft.com/office/drawing/2014/main" id="{A673A221-64B7-6C07-6B8A-335E94ACCB34}"/>
              </a:ext>
            </a:extLst>
          </p:cNvPr>
          <p:cNvSpPr>
            <a:spLocks noGrp="1"/>
          </p:cNvSpPr>
          <p:nvPr>
            <p:ph type="title"/>
          </p:nvPr>
        </p:nvSpPr>
        <p:spPr>
          <a:xfrm>
            <a:off x="556142" y="1246667"/>
            <a:ext cx="3254375" cy="1816100"/>
          </a:xfrm>
        </p:spPr>
        <p:txBody>
          <a:bodyPr vert="horz" anchor="t">
            <a:normAutofit/>
          </a:bodyPr>
          <a:lstStyle>
            <a:lvl1pPr>
              <a:defRPr sz="2800"/>
            </a:lvl1pPr>
          </a:lstStyle>
          <a:p>
            <a:r>
              <a:rPr lang="en-US"/>
              <a:t>Click to edit Master title style</a:t>
            </a:r>
          </a:p>
        </p:txBody>
      </p:sp>
      <p:sp>
        <p:nvSpPr>
          <p:cNvPr id="20" name="Text Placeholder 19">
            <a:extLst>
              <a:ext uri="{FF2B5EF4-FFF2-40B4-BE49-F238E27FC236}">
                <a16:creationId xmlns:a16="http://schemas.microsoft.com/office/drawing/2014/main" id="{027B5FA3-F499-591E-960C-DEB026DB8D2A}"/>
              </a:ext>
            </a:extLst>
          </p:cNvPr>
          <p:cNvSpPr>
            <a:spLocks noGrp="1"/>
          </p:cNvSpPr>
          <p:nvPr>
            <p:ph type="body" sz="quarter" idx="10"/>
          </p:nvPr>
        </p:nvSpPr>
        <p:spPr>
          <a:xfrm>
            <a:off x="555625" y="3616170"/>
            <a:ext cx="3254375" cy="923925"/>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9">
            <a:extLst>
              <a:ext uri="{FF2B5EF4-FFF2-40B4-BE49-F238E27FC236}">
                <a16:creationId xmlns:a16="http://schemas.microsoft.com/office/drawing/2014/main" id="{AC2F2943-42D6-3AFB-75D9-9E6DF5FDE90F}"/>
              </a:ext>
            </a:extLst>
          </p:cNvPr>
          <p:cNvSpPr>
            <a:spLocks noGrp="1"/>
          </p:cNvSpPr>
          <p:nvPr>
            <p:ph type="body" sz="quarter" idx="11" hasCustomPrompt="1"/>
          </p:nvPr>
        </p:nvSpPr>
        <p:spPr>
          <a:xfrm>
            <a:off x="555625" y="940536"/>
            <a:ext cx="3254375" cy="306388"/>
          </a:xfrm>
        </p:spPr>
        <p:txBody>
          <a:bodyPr/>
          <a:lstStyle>
            <a:lvl1pPr marL="0" indent="0">
              <a:buNone/>
              <a:defRPr/>
            </a:lvl1pPr>
          </a:lstStyle>
          <a:p>
            <a:pPr lvl="0"/>
            <a:r>
              <a:rPr lang="en-US"/>
              <a:t>Sub Tile</a:t>
            </a:r>
          </a:p>
        </p:txBody>
      </p:sp>
      <p:sp>
        <p:nvSpPr>
          <p:cNvPr id="24" name="Picture Placeholder 22">
            <a:extLst>
              <a:ext uri="{FF2B5EF4-FFF2-40B4-BE49-F238E27FC236}">
                <a16:creationId xmlns:a16="http://schemas.microsoft.com/office/drawing/2014/main" id="{966A59D6-7A41-5E90-A100-40CBA9588B6E}"/>
              </a:ext>
            </a:extLst>
          </p:cNvPr>
          <p:cNvSpPr>
            <a:spLocks noGrp="1"/>
          </p:cNvSpPr>
          <p:nvPr>
            <p:ph type="pic" sz="quarter" idx="12"/>
          </p:nvPr>
        </p:nvSpPr>
        <p:spPr>
          <a:xfrm>
            <a:off x="6730383" y="446565"/>
            <a:ext cx="4895850" cy="5773436"/>
          </a:xfrm>
          <a:solidFill>
            <a:schemeClr val="tx2"/>
          </a:solidFill>
        </p:spPr>
        <p:txBody>
          <a:bodyPr/>
          <a:lstStyle/>
          <a:p>
            <a:endParaRPr lang="en-US"/>
          </a:p>
        </p:txBody>
      </p:sp>
      <p:sp>
        <p:nvSpPr>
          <p:cNvPr id="27" name="Picture Placeholder 25">
            <a:extLst>
              <a:ext uri="{FF2B5EF4-FFF2-40B4-BE49-F238E27FC236}">
                <a16:creationId xmlns:a16="http://schemas.microsoft.com/office/drawing/2014/main" id="{C11459DD-1971-4512-5E86-651446F7A2DD}"/>
              </a:ext>
            </a:extLst>
          </p:cNvPr>
          <p:cNvSpPr>
            <a:spLocks noGrp="1"/>
          </p:cNvSpPr>
          <p:nvPr>
            <p:ph type="pic" sz="quarter" idx="13"/>
          </p:nvPr>
        </p:nvSpPr>
        <p:spPr>
          <a:xfrm>
            <a:off x="4186942" y="446606"/>
            <a:ext cx="2392363" cy="5380038"/>
          </a:xfrm>
          <a:solidFill>
            <a:schemeClr val="tx2"/>
          </a:solidFill>
        </p:spPr>
        <p:txBody>
          <a:bodyPr/>
          <a:lstStyle/>
          <a:p>
            <a:endParaRPr lang="en-US"/>
          </a:p>
        </p:txBody>
      </p:sp>
      <p:sp>
        <p:nvSpPr>
          <p:cNvPr id="28" name="Footer Placeholder 27">
            <a:extLst>
              <a:ext uri="{FF2B5EF4-FFF2-40B4-BE49-F238E27FC236}">
                <a16:creationId xmlns:a16="http://schemas.microsoft.com/office/drawing/2014/main" id="{47FA8EA1-6A44-836C-AC0B-C3C10C51E367}"/>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1622294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ample Layout_4">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552351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192;p6">
            <a:extLst>
              <a:ext uri="{FF2B5EF4-FFF2-40B4-BE49-F238E27FC236}">
                <a16:creationId xmlns:a16="http://schemas.microsoft.com/office/drawing/2014/main" id="{89CBF38B-B01E-FC42-30C8-4BF517FCDF4A}"/>
              </a:ext>
            </a:extLst>
          </p:cNvPr>
          <p:cNvSpPr/>
          <p:nvPr userDrawn="1"/>
        </p:nvSpPr>
        <p:spPr>
          <a:xfrm>
            <a:off x="6317117" y="0"/>
            <a:ext cx="1051208" cy="10974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 name="Google Shape;193;p6">
            <a:extLst>
              <a:ext uri="{FF2B5EF4-FFF2-40B4-BE49-F238E27FC236}">
                <a16:creationId xmlns:a16="http://schemas.microsoft.com/office/drawing/2014/main" id="{F26928DD-45A0-B4AD-C176-0E85CFFDB70C}"/>
              </a:ext>
            </a:extLst>
          </p:cNvPr>
          <p:cNvSpPr/>
          <p:nvPr userDrawn="1"/>
        </p:nvSpPr>
        <p:spPr>
          <a:xfrm>
            <a:off x="1443903" y="1097280"/>
            <a:ext cx="4873214" cy="5760720"/>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 name="Picture 8" descr="A logo with a black background&#10;&#10;Description automatically generated">
            <a:extLst>
              <a:ext uri="{FF2B5EF4-FFF2-40B4-BE49-F238E27FC236}">
                <a16:creationId xmlns:a16="http://schemas.microsoft.com/office/drawing/2014/main" id="{CF8D9EA7-F49D-BDD1-31ED-040842F1B8D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212222" y="276399"/>
            <a:ext cx="1631436" cy="689552"/>
          </a:xfrm>
          <a:prstGeom prst="rect">
            <a:avLst/>
          </a:prstGeom>
        </p:spPr>
      </p:pic>
      <p:sp>
        <p:nvSpPr>
          <p:cNvPr id="11" name="Title 10">
            <a:extLst>
              <a:ext uri="{FF2B5EF4-FFF2-40B4-BE49-F238E27FC236}">
                <a16:creationId xmlns:a16="http://schemas.microsoft.com/office/drawing/2014/main" id="{97464F2F-ACE7-6D0F-1AB5-58A2679010A5}"/>
              </a:ext>
            </a:extLst>
          </p:cNvPr>
          <p:cNvSpPr>
            <a:spLocks noGrp="1"/>
          </p:cNvSpPr>
          <p:nvPr>
            <p:ph type="title" hasCustomPrompt="1"/>
          </p:nvPr>
        </p:nvSpPr>
        <p:spPr>
          <a:xfrm>
            <a:off x="7310437" y="2642058"/>
            <a:ext cx="4462463" cy="954088"/>
          </a:xfrm>
        </p:spPr>
        <p:txBody>
          <a:bodyPr vert="horz">
            <a:normAutofit/>
          </a:bodyPr>
          <a:lstStyle>
            <a:lvl1pPr>
              <a:defRPr sz="2800"/>
            </a:lvl1pPr>
          </a:lstStyle>
          <a:p>
            <a:r>
              <a:rPr lang="en-US"/>
              <a:t>Click to edit Master </a:t>
            </a:r>
            <a:br>
              <a:rPr lang="en-US"/>
            </a:br>
            <a:r>
              <a:rPr lang="en-US"/>
              <a:t>title style</a:t>
            </a:r>
          </a:p>
        </p:txBody>
      </p:sp>
      <p:sp>
        <p:nvSpPr>
          <p:cNvPr id="17" name="Text Placeholder 16">
            <a:extLst>
              <a:ext uri="{FF2B5EF4-FFF2-40B4-BE49-F238E27FC236}">
                <a16:creationId xmlns:a16="http://schemas.microsoft.com/office/drawing/2014/main" id="{2939D011-F998-39B6-5EF9-4124CCB75B00}"/>
              </a:ext>
            </a:extLst>
          </p:cNvPr>
          <p:cNvSpPr>
            <a:spLocks noGrp="1"/>
          </p:cNvSpPr>
          <p:nvPr>
            <p:ph type="body" sz="quarter" idx="10" hasCustomPrompt="1"/>
          </p:nvPr>
        </p:nvSpPr>
        <p:spPr>
          <a:xfrm>
            <a:off x="7310438" y="2334104"/>
            <a:ext cx="4462463" cy="307975"/>
          </a:xfrm>
        </p:spPr>
        <p:txBody>
          <a:bodyPr/>
          <a:lstStyle>
            <a:lvl1pPr marL="0" indent="0">
              <a:buNone/>
              <a:defRPr sz="1400"/>
            </a:lvl1pPr>
            <a:lvl2pPr>
              <a:defRPr sz="1400"/>
            </a:lvl2pPr>
            <a:lvl3pPr>
              <a:defRPr sz="1400"/>
            </a:lvl3pPr>
            <a:lvl4pPr>
              <a:defRPr sz="1400"/>
            </a:lvl4pPr>
            <a:lvl5pPr>
              <a:defRPr sz="1400"/>
            </a:lvl5pPr>
          </a:lstStyle>
          <a:p>
            <a:pPr lvl="0"/>
            <a:r>
              <a:rPr lang="en-US"/>
              <a:t>Sub Title</a:t>
            </a:r>
          </a:p>
        </p:txBody>
      </p:sp>
      <p:sp>
        <p:nvSpPr>
          <p:cNvPr id="19" name="Text Placeholder 18">
            <a:extLst>
              <a:ext uri="{FF2B5EF4-FFF2-40B4-BE49-F238E27FC236}">
                <a16:creationId xmlns:a16="http://schemas.microsoft.com/office/drawing/2014/main" id="{DEB66AD6-594E-6DA4-D4C9-7C1E594A9003}"/>
              </a:ext>
            </a:extLst>
          </p:cNvPr>
          <p:cNvSpPr>
            <a:spLocks noGrp="1"/>
          </p:cNvSpPr>
          <p:nvPr>
            <p:ph type="body" sz="quarter" idx="11"/>
          </p:nvPr>
        </p:nvSpPr>
        <p:spPr>
          <a:xfrm>
            <a:off x="7310437" y="3977778"/>
            <a:ext cx="4462463" cy="120015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Picture Placeholder 21">
            <a:extLst>
              <a:ext uri="{FF2B5EF4-FFF2-40B4-BE49-F238E27FC236}">
                <a16:creationId xmlns:a16="http://schemas.microsoft.com/office/drawing/2014/main" id="{F473E3B9-AF66-2275-93A2-0832CDCD4C4D}"/>
              </a:ext>
            </a:extLst>
          </p:cNvPr>
          <p:cNvSpPr>
            <a:spLocks noGrp="1"/>
          </p:cNvSpPr>
          <p:nvPr>
            <p:ph type="pic" sz="quarter" idx="12"/>
          </p:nvPr>
        </p:nvSpPr>
        <p:spPr>
          <a:xfrm>
            <a:off x="776280" y="0"/>
            <a:ext cx="4732338" cy="6145213"/>
          </a:xfrm>
          <a:solidFill>
            <a:schemeClr val="tx2"/>
          </a:solidFill>
        </p:spPr>
        <p:txBody>
          <a:bodyPr/>
          <a:lstStyle/>
          <a:p>
            <a:endParaRPr lang="en-US"/>
          </a:p>
        </p:txBody>
      </p:sp>
    </p:spTree>
    <p:extLst>
      <p:ext uri="{BB962C8B-B14F-4D97-AF65-F5344CB8AC3E}">
        <p14:creationId xmlns:p14="http://schemas.microsoft.com/office/powerpoint/2010/main" val="2105553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ample Layout_5">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2357718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214;p8">
            <a:extLst>
              <a:ext uri="{FF2B5EF4-FFF2-40B4-BE49-F238E27FC236}">
                <a16:creationId xmlns:a16="http://schemas.microsoft.com/office/drawing/2014/main" id="{9B4A2655-19B4-07E8-7654-D1B0BB80BC09}"/>
              </a:ext>
            </a:extLst>
          </p:cNvPr>
          <p:cNvSpPr/>
          <p:nvPr userDrawn="1"/>
        </p:nvSpPr>
        <p:spPr>
          <a:xfrm>
            <a:off x="0" y="0"/>
            <a:ext cx="12192000" cy="4189227"/>
          </a:xfrm>
          <a:prstGeom prst="rect">
            <a:avLst/>
          </a:prstGeom>
          <a:solidFill>
            <a:schemeClr val="accent3">
              <a:lumMod val="20000"/>
              <a:lumOff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 name="Picture Placeholder 12">
            <a:extLst>
              <a:ext uri="{FF2B5EF4-FFF2-40B4-BE49-F238E27FC236}">
                <a16:creationId xmlns:a16="http://schemas.microsoft.com/office/drawing/2014/main" id="{152581EB-D4E7-928E-0C09-E4AD7B391CBB}"/>
              </a:ext>
            </a:extLst>
          </p:cNvPr>
          <p:cNvSpPr>
            <a:spLocks noGrp="1"/>
          </p:cNvSpPr>
          <p:nvPr>
            <p:ph type="pic" sz="quarter" idx="10"/>
          </p:nvPr>
        </p:nvSpPr>
        <p:spPr>
          <a:xfrm>
            <a:off x="942976" y="988826"/>
            <a:ext cx="11249025" cy="3200400"/>
          </a:xfrm>
          <a:solidFill>
            <a:schemeClr val="tx2"/>
          </a:solidFill>
        </p:spPr>
        <p:txBody>
          <a:bodyPr/>
          <a:lstStyle/>
          <a:p>
            <a:endParaRPr lang="en-US"/>
          </a:p>
        </p:txBody>
      </p:sp>
      <p:sp>
        <p:nvSpPr>
          <p:cNvPr id="15" name="Title 14">
            <a:extLst>
              <a:ext uri="{FF2B5EF4-FFF2-40B4-BE49-F238E27FC236}">
                <a16:creationId xmlns:a16="http://schemas.microsoft.com/office/drawing/2014/main" id="{43685072-EFF9-38CC-DF15-978AC1B85D94}"/>
              </a:ext>
            </a:extLst>
          </p:cNvPr>
          <p:cNvSpPr>
            <a:spLocks noGrp="1"/>
          </p:cNvSpPr>
          <p:nvPr>
            <p:ph type="title"/>
          </p:nvPr>
        </p:nvSpPr>
        <p:spPr>
          <a:xfrm>
            <a:off x="942975" y="4652963"/>
            <a:ext cx="4505325" cy="1200150"/>
          </a:xfrm>
        </p:spPr>
        <p:txBody>
          <a:bodyPr vert="horz">
            <a:normAutofit/>
          </a:bodyPr>
          <a:lstStyle>
            <a:lvl1pPr>
              <a:defRPr sz="2800"/>
            </a:lvl1pPr>
          </a:lstStyle>
          <a:p>
            <a:r>
              <a:rPr lang="en-US"/>
              <a:t>Click to edit Master title style</a:t>
            </a:r>
          </a:p>
        </p:txBody>
      </p:sp>
      <p:sp>
        <p:nvSpPr>
          <p:cNvPr id="22" name="Text Placeholder 21">
            <a:extLst>
              <a:ext uri="{FF2B5EF4-FFF2-40B4-BE49-F238E27FC236}">
                <a16:creationId xmlns:a16="http://schemas.microsoft.com/office/drawing/2014/main" id="{9C4CEB76-4455-3CF8-E3C6-8E60F637B33C}"/>
              </a:ext>
            </a:extLst>
          </p:cNvPr>
          <p:cNvSpPr>
            <a:spLocks noGrp="1"/>
          </p:cNvSpPr>
          <p:nvPr>
            <p:ph type="body" sz="quarter" idx="11" hasCustomPrompt="1"/>
          </p:nvPr>
        </p:nvSpPr>
        <p:spPr>
          <a:xfrm>
            <a:off x="5699042" y="4652963"/>
            <a:ext cx="2640013" cy="1200150"/>
          </a:xfrm>
        </p:spPr>
        <p:txBody>
          <a:bodyPr/>
          <a:lstStyle>
            <a:lvl1pPr marL="0" indent="0">
              <a:lnSpc>
                <a:spcPct val="150000"/>
              </a:lnSpc>
              <a:buNone/>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a:t>
            </a:r>
          </a:p>
        </p:txBody>
      </p:sp>
      <p:sp>
        <p:nvSpPr>
          <p:cNvPr id="23" name="Text Placeholder 21">
            <a:extLst>
              <a:ext uri="{FF2B5EF4-FFF2-40B4-BE49-F238E27FC236}">
                <a16:creationId xmlns:a16="http://schemas.microsoft.com/office/drawing/2014/main" id="{D255BAB9-B681-0A97-E34F-4C0D0754A775}"/>
              </a:ext>
            </a:extLst>
          </p:cNvPr>
          <p:cNvSpPr>
            <a:spLocks noGrp="1"/>
          </p:cNvSpPr>
          <p:nvPr>
            <p:ph type="body" sz="quarter" idx="12" hasCustomPrompt="1"/>
          </p:nvPr>
        </p:nvSpPr>
        <p:spPr>
          <a:xfrm>
            <a:off x="8861342" y="4652963"/>
            <a:ext cx="2640013" cy="1200150"/>
          </a:xfrm>
        </p:spPr>
        <p:txBody>
          <a:bodyPr/>
          <a:lstStyle>
            <a:lvl1pPr marL="0" indent="0">
              <a:lnSpc>
                <a:spcPct val="150000"/>
              </a:lnSpc>
              <a:buNone/>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a:t>
            </a:r>
          </a:p>
        </p:txBody>
      </p:sp>
      <p:sp>
        <p:nvSpPr>
          <p:cNvPr id="27" name="Footer Placeholder 26">
            <a:extLst>
              <a:ext uri="{FF2B5EF4-FFF2-40B4-BE49-F238E27FC236}">
                <a16:creationId xmlns:a16="http://schemas.microsoft.com/office/drawing/2014/main" id="{114FEC0F-5076-0FF4-8484-6310F02BAE41}"/>
              </a:ext>
            </a:extLst>
          </p:cNvPr>
          <p:cNvSpPr>
            <a:spLocks noGrp="1"/>
          </p:cNvSpPr>
          <p:nvPr>
            <p:ph type="ftr" sz="quarter" idx="13"/>
          </p:nvPr>
        </p:nvSpPr>
        <p:spPr/>
        <p:txBody>
          <a:bodyPr/>
          <a:lstStyle/>
          <a:p>
            <a:endParaRPr lang="en-US"/>
          </a:p>
        </p:txBody>
      </p:sp>
      <p:pic>
        <p:nvPicPr>
          <p:cNvPr id="30" name="Picture 29" descr="A logo with a black background&#10;&#10;Description automatically generated">
            <a:extLst>
              <a:ext uri="{FF2B5EF4-FFF2-40B4-BE49-F238E27FC236}">
                <a16:creationId xmlns:a16="http://schemas.microsoft.com/office/drawing/2014/main" id="{281EA6A8-9704-915F-34FA-0E34FF4FE2F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92451" y="276399"/>
            <a:ext cx="1631436" cy="689552"/>
          </a:xfrm>
          <a:prstGeom prst="rect">
            <a:avLst/>
          </a:prstGeom>
        </p:spPr>
      </p:pic>
    </p:spTree>
    <p:extLst>
      <p:ext uri="{BB962C8B-B14F-4D97-AF65-F5344CB8AC3E}">
        <p14:creationId xmlns:p14="http://schemas.microsoft.com/office/powerpoint/2010/main" val="28015016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ample Layout_6">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322229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2" name="Picture Placeholder 51">
            <a:extLst>
              <a:ext uri="{FF2B5EF4-FFF2-40B4-BE49-F238E27FC236}">
                <a16:creationId xmlns:a16="http://schemas.microsoft.com/office/drawing/2014/main" id="{FC799741-BAE8-08ED-6DFA-02FF49A495F5}"/>
              </a:ext>
            </a:extLst>
          </p:cNvPr>
          <p:cNvSpPr>
            <a:spLocks noGrp="1"/>
          </p:cNvSpPr>
          <p:nvPr>
            <p:ph type="pic" sz="quarter" idx="10"/>
          </p:nvPr>
        </p:nvSpPr>
        <p:spPr>
          <a:xfrm>
            <a:off x="0" y="0"/>
            <a:ext cx="12192000" cy="6858000"/>
          </a:xfrm>
          <a:custGeom>
            <a:avLst/>
            <a:gdLst>
              <a:gd name="connsiteX0" fmla="*/ 3859618 w 12192000"/>
              <a:gd name="connsiteY0" fmla="*/ 3536162 h 6858000"/>
              <a:gd name="connsiteX1" fmla="*/ 3859618 w 12192000"/>
              <a:gd name="connsiteY1" fmla="*/ 6412269 h 6858000"/>
              <a:gd name="connsiteX2" fmla="*/ 6735725 w 12192000"/>
              <a:gd name="connsiteY2" fmla="*/ 6412269 h 6858000"/>
              <a:gd name="connsiteX3" fmla="*/ 6735725 w 12192000"/>
              <a:gd name="connsiteY3" fmla="*/ 3536162 h 6858000"/>
              <a:gd name="connsiteX4" fmla="*/ 765544 w 12192000"/>
              <a:gd name="connsiteY4" fmla="*/ 3536162 h 6858000"/>
              <a:gd name="connsiteX5" fmla="*/ 765544 w 12192000"/>
              <a:gd name="connsiteY5" fmla="*/ 6412269 h 6858000"/>
              <a:gd name="connsiteX6" fmla="*/ 3641651 w 12192000"/>
              <a:gd name="connsiteY6" fmla="*/ 6412269 h 6858000"/>
              <a:gd name="connsiteX7" fmla="*/ 3641651 w 12192000"/>
              <a:gd name="connsiteY7" fmla="*/ 3536162 h 6858000"/>
              <a:gd name="connsiteX8" fmla="*/ 765544 w 12192000"/>
              <a:gd name="connsiteY8" fmla="*/ 445732 h 6858000"/>
              <a:gd name="connsiteX9" fmla="*/ 765544 w 12192000"/>
              <a:gd name="connsiteY9" fmla="*/ 3321839 h 6858000"/>
              <a:gd name="connsiteX10" fmla="*/ 3641651 w 12192000"/>
              <a:gd name="connsiteY10" fmla="*/ 3321839 h 6858000"/>
              <a:gd name="connsiteX11" fmla="*/ 3641651 w 12192000"/>
              <a:gd name="connsiteY11" fmla="*/ 445732 h 6858000"/>
              <a:gd name="connsiteX12" fmla="*/ 0 w 12192000"/>
              <a:gd name="connsiteY12" fmla="*/ 0 h 6858000"/>
              <a:gd name="connsiteX13" fmla="*/ 12192000 w 12192000"/>
              <a:gd name="connsiteY13" fmla="*/ 0 h 6858000"/>
              <a:gd name="connsiteX14" fmla="*/ 12192000 w 12192000"/>
              <a:gd name="connsiteY14" fmla="*/ 6858000 h 6858000"/>
              <a:gd name="connsiteX15" fmla="*/ 0 w 12192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3859618" y="3536162"/>
                </a:moveTo>
                <a:lnTo>
                  <a:pt x="3859618" y="6412269"/>
                </a:lnTo>
                <a:lnTo>
                  <a:pt x="6735725" y="6412269"/>
                </a:lnTo>
                <a:lnTo>
                  <a:pt x="6735725" y="3536162"/>
                </a:lnTo>
                <a:close/>
                <a:moveTo>
                  <a:pt x="765544" y="3536162"/>
                </a:moveTo>
                <a:lnTo>
                  <a:pt x="765544" y="6412269"/>
                </a:lnTo>
                <a:lnTo>
                  <a:pt x="3641651" y="6412269"/>
                </a:lnTo>
                <a:lnTo>
                  <a:pt x="3641651" y="3536162"/>
                </a:lnTo>
                <a:close/>
                <a:moveTo>
                  <a:pt x="765544" y="445732"/>
                </a:moveTo>
                <a:lnTo>
                  <a:pt x="765544" y="3321839"/>
                </a:lnTo>
                <a:lnTo>
                  <a:pt x="3641651" y="3321839"/>
                </a:lnTo>
                <a:lnTo>
                  <a:pt x="3641651" y="445732"/>
                </a:lnTo>
                <a:close/>
                <a:moveTo>
                  <a:pt x="0" y="0"/>
                </a:moveTo>
                <a:lnTo>
                  <a:pt x="12192000" y="0"/>
                </a:lnTo>
                <a:lnTo>
                  <a:pt x="12192000" y="6858000"/>
                </a:lnTo>
                <a:lnTo>
                  <a:pt x="0" y="6858000"/>
                </a:lnTo>
                <a:close/>
              </a:path>
            </a:pathLst>
          </a:custGeom>
          <a:solidFill>
            <a:schemeClr val="tx2"/>
          </a:solidFill>
        </p:spPr>
        <p:txBody>
          <a:bodyPr wrap="square">
            <a:noAutofit/>
          </a:bodyPr>
          <a:lstStyle/>
          <a:p>
            <a:endParaRPr lang="en-US"/>
          </a:p>
        </p:txBody>
      </p:sp>
      <p:sp>
        <p:nvSpPr>
          <p:cNvPr id="8" name="Google Shape;230;p9">
            <a:extLst>
              <a:ext uri="{FF2B5EF4-FFF2-40B4-BE49-F238E27FC236}">
                <a16:creationId xmlns:a16="http://schemas.microsoft.com/office/drawing/2014/main" id="{2DD6333C-5656-9111-00CE-C05A81E34ED3}"/>
              </a:ext>
            </a:extLst>
          </p:cNvPr>
          <p:cNvSpPr/>
          <p:nvPr userDrawn="1"/>
        </p:nvSpPr>
        <p:spPr>
          <a:xfrm>
            <a:off x="765544" y="445732"/>
            <a:ext cx="2876107" cy="2876107"/>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 name="Google Shape;231;p9">
            <a:extLst>
              <a:ext uri="{FF2B5EF4-FFF2-40B4-BE49-F238E27FC236}">
                <a16:creationId xmlns:a16="http://schemas.microsoft.com/office/drawing/2014/main" id="{BB00E1E6-F723-1042-D088-E76A03AA52BE}"/>
              </a:ext>
            </a:extLst>
          </p:cNvPr>
          <p:cNvSpPr/>
          <p:nvPr userDrawn="1"/>
        </p:nvSpPr>
        <p:spPr>
          <a:xfrm>
            <a:off x="765544" y="3536162"/>
            <a:ext cx="2876107" cy="2876107"/>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ea typeface="Calibri"/>
              <a:cs typeface="Calibri"/>
              <a:sym typeface="Calibri"/>
            </a:endParaRPr>
          </a:p>
        </p:txBody>
      </p:sp>
      <p:sp>
        <p:nvSpPr>
          <p:cNvPr id="10" name="Google Shape;232;p9">
            <a:extLst>
              <a:ext uri="{FF2B5EF4-FFF2-40B4-BE49-F238E27FC236}">
                <a16:creationId xmlns:a16="http://schemas.microsoft.com/office/drawing/2014/main" id="{22D1AC87-DC94-CEC2-F3A8-4BDE91BA2B01}"/>
              </a:ext>
            </a:extLst>
          </p:cNvPr>
          <p:cNvSpPr/>
          <p:nvPr userDrawn="1"/>
        </p:nvSpPr>
        <p:spPr>
          <a:xfrm>
            <a:off x="3859618" y="3536162"/>
            <a:ext cx="2876107" cy="287610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 name="Picture 16" descr="A logo with white text&#10;&#10;Description automatically generated">
            <a:extLst>
              <a:ext uri="{FF2B5EF4-FFF2-40B4-BE49-F238E27FC236}">
                <a16:creationId xmlns:a16="http://schemas.microsoft.com/office/drawing/2014/main" id="{C5951699-4A5D-0DDD-AAD0-5A15330F2893}"/>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369550" y="423452"/>
            <a:ext cx="1367631" cy="416840"/>
          </a:xfrm>
          <a:prstGeom prst="rect">
            <a:avLst/>
          </a:prstGeom>
        </p:spPr>
      </p:pic>
      <p:sp>
        <p:nvSpPr>
          <p:cNvPr id="28" name="Title 23">
            <a:extLst>
              <a:ext uri="{FF2B5EF4-FFF2-40B4-BE49-F238E27FC236}">
                <a16:creationId xmlns:a16="http://schemas.microsoft.com/office/drawing/2014/main" id="{CBBB3651-12CE-239E-B867-BC1710E2B786}"/>
              </a:ext>
            </a:extLst>
          </p:cNvPr>
          <p:cNvSpPr>
            <a:spLocks noGrp="1"/>
          </p:cNvSpPr>
          <p:nvPr userDrawn="1">
            <p:ph type="title" hasCustomPrompt="1"/>
          </p:nvPr>
        </p:nvSpPr>
        <p:spPr>
          <a:xfrm>
            <a:off x="4436494" y="1541257"/>
            <a:ext cx="4491038" cy="1200150"/>
          </a:xfrm>
        </p:spPr>
        <p:txBody>
          <a:bodyPr vert="horz">
            <a:normAutofit/>
          </a:bodyPr>
          <a:lstStyle>
            <a:lvl1pPr>
              <a:defRPr sz="3600">
                <a:solidFill>
                  <a:schemeClr val="bg1"/>
                </a:solidFill>
              </a:defRPr>
            </a:lvl1pPr>
          </a:lstStyle>
          <a:p>
            <a:r>
              <a:rPr lang="da-DK"/>
              <a:t>LOREM IPSUM DOLOR SIT AMET</a:t>
            </a:r>
          </a:p>
        </p:txBody>
      </p:sp>
      <p:sp>
        <p:nvSpPr>
          <p:cNvPr id="29" name="Text Placeholder 29">
            <a:extLst>
              <a:ext uri="{FF2B5EF4-FFF2-40B4-BE49-F238E27FC236}">
                <a16:creationId xmlns:a16="http://schemas.microsoft.com/office/drawing/2014/main" id="{5F3243A0-1330-BB78-1046-4C7D4779F623}"/>
              </a:ext>
            </a:extLst>
          </p:cNvPr>
          <p:cNvSpPr>
            <a:spLocks noGrp="1"/>
          </p:cNvSpPr>
          <p:nvPr userDrawn="1">
            <p:ph type="body" sz="quarter" idx="11" hasCustomPrompt="1"/>
          </p:nvPr>
        </p:nvSpPr>
        <p:spPr>
          <a:xfrm>
            <a:off x="4435928" y="1233144"/>
            <a:ext cx="4491038" cy="307975"/>
          </a:xfrm>
        </p:spPr>
        <p:txBody>
          <a:bodyPr>
            <a:noAutofit/>
          </a:bodyPr>
          <a:lstStyle>
            <a:lvl1pPr marL="0" indent="0">
              <a:buNone/>
              <a:defRPr sz="1600">
                <a:solidFill>
                  <a:schemeClr val="bg1"/>
                </a:solidFill>
              </a:defRPr>
            </a:lvl1pPr>
          </a:lstStyle>
          <a:p>
            <a:pPr lvl="0"/>
            <a:r>
              <a:rPr lang="en-US"/>
              <a:t>Our Features</a:t>
            </a:r>
          </a:p>
        </p:txBody>
      </p:sp>
      <p:sp>
        <p:nvSpPr>
          <p:cNvPr id="30" name="Text Placeholder 36">
            <a:extLst>
              <a:ext uri="{FF2B5EF4-FFF2-40B4-BE49-F238E27FC236}">
                <a16:creationId xmlns:a16="http://schemas.microsoft.com/office/drawing/2014/main" id="{5A7229FF-1657-8F0C-90D0-5BE6BFE5628F}"/>
              </a:ext>
            </a:extLst>
          </p:cNvPr>
          <p:cNvSpPr>
            <a:spLocks noGrp="1"/>
          </p:cNvSpPr>
          <p:nvPr userDrawn="1">
            <p:ph type="body" sz="quarter" idx="15" hasCustomPrompt="1"/>
          </p:nvPr>
        </p:nvSpPr>
        <p:spPr>
          <a:xfrm>
            <a:off x="1224879" y="5063877"/>
            <a:ext cx="1911350" cy="449261"/>
          </a:xfrm>
        </p:spPr>
        <p:txBody>
          <a:bodyPr>
            <a:normAutofit/>
          </a:bodyPr>
          <a:lstStyle>
            <a:lvl1pPr marL="0" indent="0">
              <a:buNone/>
              <a:defRPr sz="1400" b="1">
                <a:solidFill>
                  <a:schemeClr val="bg1"/>
                </a:solidFill>
              </a:defRPr>
            </a:lvl1pPr>
          </a:lstStyle>
          <a:p>
            <a:pPr lvl="0"/>
            <a:r>
              <a:rPr lang="en-US"/>
              <a:t>LOREM IPSUM DOLOR SIT</a:t>
            </a:r>
          </a:p>
        </p:txBody>
      </p:sp>
      <p:sp>
        <p:nvSpPr>
          <p:cNvPr id="32" name="Text Placeholder 40">
            <a:extLst>
              <a:ext uri="{FF2B5EF4-FFF2-40B4-BE49-F238E27FC236}">
                <a16:creationId xmlns:a16="http://schemas.microsoft.com/office/drawing/2014/main" id="{6547EC64-3639-1A28-A173-66CD872F95F7}"/>
              </a:ext>
            </a:extLst>
          </p:cNvPr>
          <p:cNvSpPr>
            <a:spLocks noGrp="1"/>
          </p:cNvSpPr>
          <p:nvPr userDrawn="1">
            <p:ph type="body" sz="quarter" idx="18" hasCustomPrompt="1"/>
          </p:nvPr>
        </p:nvSpPr>
        <p:spPr>
          <a:xfrm>
            <a:off x="1224879" y="5571997"/>
            <a:ext cx="1925638" cy="369888"/>
          </a:xfrm>
        </p:spPr>
        <p:txBody>
          <a:bodyPr>
            <a:noAutofit/>
          </a:bodyPr>
          <a:lstStyle>
            <a:lvl1pPr marL="0" indent="0">
              <a:buNone/>
              <a:defRPr sz="1200">
                <a:solidFill>
                  <a:schemeClr val="bg1"/>
                </a:solidFill>
              </a:defRPr>
            </a:lvl1pPr>
          </a:lstStyle>
          <a:p>
            <a:pPr lvl="0"/>
            <a:r>
              <a:rPr lang="en-US"/>
              <a:t>Lorem ipsum dolor sit</a:t>
            </a:r>
          </a:p>
        </p:txBody>
      </p:sp>
      <p:sp>
        <p:nvSpPr>
          <p:cNvPr id="35" name="Text Placeholder 36">
            <a:extLst>
              <a:ext uri="{FF2B5EF4-FFF2-40B4-BE49-F238E27FC236}">
                <a16:creationId xmlns:a16="http://schemas.microsoft.com/office/drawing/2014/main" id="{75F6AACE-5876-A939-3696-6B1CFCC94D29}"/>
              </a:ext>
            </a:extLst>
          </p:cNvPr>
          <p:cNvSpPr>
            <a:spLocks noGrp="1"/>
          </p:cNvSpPr>
          <p:nvPr userDrawn="1">
            <p:ph type="body" sz="quarter" idx="19" hasCustomPrompt="1"/>
          </p:nvPr>
        </p:nvSpPr>
        <p:spPr>
          <a:xfrm>
            <a:off x="1224879" y="1990818"/>
            <a:ext cx="1911350" cy="449261"/>
          </a:xfrm>
        </p:spPr>
        <p:txBody>
          <a:bodyPr>
            <a:normAutofit/>
          </a:bodyPr>
          <a:lstStyle>
            <a:lvl1pPr marL="0" indent="0">
              <a:buNone/>
              <a:defRPr sz="1400" b="1">
                <a:solidFill>
                  <a:schemeClr val="bg1"/>
                </a:solidFill>
              </a:defRPr>
            </a:lvl1pPr>
          </a:lstStyle>
          <a:p>
            <a:pPr lvl="0"/>
            <a:r>
              <a:rPr lang="en-US"/>
              <a:t>LOREM IPSUM DOLOR SIT</a:t>
            </a:r>
          </a:p>
        </p:txBody>
      </p:sp>
      <p:sp>
        <p:nvSpPr>
          <p:cNvPr id="36" name="Text Placeholder 40">
            <a:extLst>
              <a:ext uri="{FF2B5EF4-FFF2-40B4-BE49-F238E27FC236}">
                <a16:creationId xmlns:a16="http://schemas.microsoft.com/office/drawing/2014/main" id="{895A21DB-A253-C577-09FE-67721EC88D14}"/>
              </a:ext>
            </a:extLst>
          </p:cNvPr>
          <p:cNvSpPr>
            <a:spLocks noGrp="1"/>
          </p:cNvSpPr>
          <p:nvPr userDrawn="1">
            <p:ph type="body" sz="quarter" idx="20" hasCustomPrompt="1"/>
          </p:nvPr>
        </p:nvSpPr>
        <p:spPr>
          <a:xfrm>
            <a:off x="1224879" y="2498938"/>
            <a:ext cx="1925638" cy="369888"/>
          </a:xfrm>
        </p:spPr>
        <p:txBody>
          <a:bodyPr>
            <a:noAutofit/>
          </a:bodyPr>
          <a:lstStyle>
            <a:lvl1pPr marL="0" indent="0">
              <a:buNone/>
              <a:defRPr sz="1200">
                <a:solidFill>
                  <a:schemeClr val="bg1"/>
                </a:solidFill>
              </a:defRPr>
            </a:lvl1pPr>
          </a:lstStyle>
          <a:p>
            <a:pPr lvl="0"/>
            <a:r>
              <a:rPr lang="en-US"/>
              <a:t>Lorem ipsum dolor sit</a:t>
            </a:r>
          </a:p>
        </p:txBody>
      </p:sp>
      <p:sp>
        <p:nvSpPr>
          <p:cNvPr id="39" name="Text Placeholder 36">
            <a:extLst>
              <a:ext uri="{FF2B5EF4-FFF2-40B4-BE49-F238E27FC236}">
                <a16:creationId xmlns:a16="http://schemas.microsoft.com/office/drawing/2014/main" id="{7AD7E6E3-3217-8552-FBA0-2F9B466BEBC5}"/>
              </a:ext>
            </a:extLst>
          </p:cNvPr>
          <p:cNvSpPr>
            <a:spLocks noGrp="1"/>
          </p:cNvSpPr>
          <p:nvPr userDrawn="1">
            <p:ph type="body" sz="quarter" idx="21" hasCustomPrompt="1"/>
          </p:nvPr>
        </p:nvSpPr>
        <p:spPr>
          <a:xfrm>
            <a:off x="4304629" y="5063877"/>
            <a:ext cx="1911350" cy="449261"/>
          </a:xfrm>
        </p:spPr>
        <p:txBody>
          <a:bodyPr>
            <a:normAutofit/>
          </a:bodyPr>
          <a:lstStyle>
            <a:lvl1pPr marL="0" indent="0">
              <a:buNone/>
              <a:defRPr sz="1400" b="1">
                <a:solidFill>
                  <a:schemeClr val="bg1"/>
                </a:solidFill>
              </a:defRPr>
            </a:lvl1pPr>
          </a:lstStyle>
          <a:p>
            <a:pPr lvl="0"/>
            <a:r>
              <a:rPr lang="en-US"/>
              <a:t>LOREM IPSUM DOLOR SIT</a:t>
            </a:r>
          </a:p>
        </p:txBody>
      </p:sp>
      <p:sp>
        <p:nvSpPr>
          <p:cNvPr id="40" name="Text Placeholder 40">
            <a:extLst>
              <a:ext uri="{FF2B5EF4-FFF2-40B4-BE49-F238E27FC236}">
                <a16:creationId xmlns:a16="http://schemas.microsoft.com/office/drawing/2014/main" id="{AC7A943F-666C-0FF9-CCB2-5940CF6314D0}"/>
              </a:ext>
            </a:extLst>
          </p:cNvPr>
          <p:cNvSpPr>
            <a:spLocks noGrp="1"/>
          </p:cNvSpPr>
          <p:nvPr userDrawn="1">
            <p:ph type="body" sz="quarter" idx="22" hasCustomPrompt="1"/>
          </p:nvPr>
        </p:nvSpPr>
        <p:spPr>
          <a:xfrm>
            <a:off x="4304629" y="5571997"/>
            <a:ext cx="1925638" cy="369888"/>
          </a:xfrm>
        </p:spPr>
        <p:txBody>
          <a:bodyPr>
            <a:noAutofit/>
          </a:bodyPr>
          <a:lstStyle>
            <a:lvl1pPr marL="0" indent="0">
              <a:buNone/>
              <a:defRPr sz="1200">
                <a:solidFill>
                  <a:schemeClr val="bg1"/>
                </a:solidFill>
              </a:defRPr>
            </a:lvl1pPr>
          </a:lstStyle>
          <a:p>
            <a:pPr lvl="0"/>
            <a:r>
              <a:rPr lang="en-US"/>
              <a:t>Lorem ipsum dolor sit</a:t>
            </a:r>
          </a:p>
        </p:txBody>
      </p:sp>
    </p:spTree>
    <p:extLst>
      <p:ext uri="{BB962C8B-B14F-4D97-AF65-F5344CB8AC3E}">
        <p14:creationId xmlns:p14="http://schemas.microsoft.com/office/powerpoint/2010/main" val="18209541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ample Layout_7">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2046717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41">
            <a:extLst>
              <a:ext uri="{FF2B5EF4-FFF2-40B4-BE49-F238E27FC236}">
                <a16:creationId xmlns:a16="http://schemas.microsoft.com/office/drawing/2014/main" id="{3B5E5F30-076A-36AF-E4F2-4A92337EABE1}"/>
              </a:ext>
            </a:extLst>
          </p:cNvPr>
          <p:cNvSpPr>
            <a:spLocks noGrp="1"/>
          </p:cNvSpPr>
          <p:nvPr>
            <p:ph type="pic" sz="quarter" idx="19"/>
          </p:nvPr>
        </p:nvSpPr>
        <p:spPr>
          <a:xfrm>
            <a:off x="4611800" y="2997692"/>
            <a:ext cx="2965450" cy="2360613"/>
          </a:xfrm>
          <a:custGeom>
            <a:avLst/>
            <a:gdLst>
              <a:gd name="connsiteX0" fmla="*/ 581498 w 2965450"/>
              <a:gd name="connsiteY0" fmla="*/ 0 h 2360613"/>
              <a:gd name="connsiteX1" fmla="*/ 2965450 w 2965450"/>
              <a:gd name="connsiteY1" fmla="*/ 0 h 2360613"/>
              <a:gd name="connsiteX2" fmla="*/ 2965450 w 2965450"/>
              <a:gd name="connsiteY2" fmla="*/ 2360613 h 2360613"/>
              <a:gd name="connsiteX3" fmla="*/ 0 w 2965450"/>
              <a:gd name="connsiteY3" fmla="*/ 2360613 h 2360613"/>
              <a:gd name="connsiteX4" fmla="*/ 0 w 2965450"/>
              <a:gd name="connsiteY4" fmla="*/ 581498 h 2360613"/>
              <a:gd name="connsiteX5" fmla="*/ 581498 w 2965450"/>
              <a:gd name="connsiteY5" fmla="*/ 581498 h 236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5450" h="2360613">
                <a:moveTo>
                  <a:pt x="581498" y="0"/>
                </a:moveTo>
                <a:lnTo>
                  <a:pt x="2965450" y="0"/>
                </a:lnTo>
                <a:lnTo>
                  <a:pt x="2965450" y="2360613"/>
                </a:lnTo>
                <a:lnTo>
                  <a:pt x="0" y="2360613"/>
                </a:lnTo>
                <a:lnTo>
                  <a:pt x="0" y="581498"/>
                </a:lnTo>
                <a:lnTo>
                  <a:pt x="581498" y="581498"/>
                </a:lnTo>
                <a:close/>
              </a:path>
            </a:pathLst>
          </a:custGeom>
          <a:solidFill>
            <a:schemeClr val="tx2"/>
          </a:solidFill>
        </p:spPr>
        <p:txBody>
          <a:bodyPr wrap="square">
            <a:noAutofit/>
          </a:bodyPr>
          <a:lstStyle/>
          <a:p>
            <a:endParaRPr lang="en-US"/>
          </a:p>
        </p:txBody>
      </p:sp>
      <p:sp>
        <p:nvSpPr>
          <p:cNvPr id="7" name="Picture Placeholder 41">
            <a:extLst>
              <a:ext uri="{FF2B5EF4-FFF2-40B4-BE49-F238E27FC236}">
                <a16:creationId xmlns:a16="http://schemas.microsoft.com/office/drawing/2014/main" id="{A9C9F523-427E-BB88-33E5-A836BDCF7C9D}"/>
              </a:ext>
            </a:extLst>
          </p:cNvPr>
          <p:cNvSpPr>
            <a:spLocks noGrp="1"/>
          </p:cNvSpPr>
          <p:nvPr>
            <p:ph type="pic" sz="quarter" idx="20"/>
          </p:nvPr>
        </p:nvSpPr>
        <p:spPr>
          <a:xfrm>
            <a:off x="8187917" y="2997692"/>
            <a:ext cx="2965450" cy="2360613"/>
          </a:xfrm>
          <a:custGeom>
            <a:avLst/>
            <a:gdLst>
              <a:gd name="connsiteX0" fmla="*/ 581498 w 2965450"/>
              <a:gd name="connsiteY0" fmla="*/ 0 h 2360613"/>
              <a:gd name="connsiteX1" fmla="*/ 2965450 w 2965450"/>
              <a:gd name="connsiteY1" fmla="*/ 0 h 2360613"/>
              <a:gd name="connsiteX2" fmla="*/ 2965450 w 2965450"/>
              <a:gd name="connsiteY2" fmla="*/ 2360613 h 2360613"/>
              <a:gd name="connsiteX3" fmla="*/ 0 w 2965450"/>
              <a:gd name="connsiteY3" fmla="*/ 2360613 h 2360613"/>
              <a:gd name="connsiteX4" fmla="*/ 0 w 2965450"/>
              <a:gd name="connsiteY4" fmla="*/ 581498 h 2360613"/>
              <a:gd name="connsiteX5" fmla="*/ 581498 w 2965450"/>
              <a:gd name="connsiteY5" fmla="*/ 581498 h 236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5450" h="2360613">
                <a:moveTo>
                  <a:pt x="581498" y="0"/>
                </a:moveTo>
                <a:lnTo>
                  <a:pt x="2965450" y="0"/>
                </a:lnTo>
                <a:lnTo>
                  <a:pt x="2965450" y="2360613"/>
                </a:lnTo>
                <a:lnTo>
                  <a:pt x="0" y="2360613"/>
                </a:lnTo>
                <a:lnTo>
                  <a:pt x="0" y="581498"/>
                </a:lnTo>
                <a:lnTo>
                  <a:pt x="581498" y="581498"/>
                </a:lnTo>
                <a:close/>
              </a:path>
            </a:pathLst>
          </a:custGeom>
          <a:solidFill>
            <a:schemeClr val="tx2"/>
          </a:solidFill>
        </p:spPr>
        <p:txBody>
          <a:bodyPr wrap="square">
            <a:noAutofit/>
          </a:bodyPr>
          <a:lstStyle/>
          <a:p>
            <a:endParaRPr lang="en-US"/>
          </a:p>
        </p:txBody>
      </p:sp>
      <p:sp>
        <p:nvSpPr>
          <p:cNvPr id="42" name="Picture Placeholder 41">
            <a:extLst>
              <a:ext uri="{FF2B5EF4-FFF2-40B4-BE49-F238E27FC236}">
                <a16:creationId xmlns:a16="http://schemas.microsoft.com/office/drawing/2014/main" id="{81D446EC-24E7-68E1-6568-522D76B8138A}"/>
              </a:ext>
            </a:extLst>
          </p:cNvPr>
          <p:cNvSpPr>
            <a:spLocks noGrp="1"/>
          </p:cNvSpPr>
          <p:nvPr>
            <p:ph type="pic" sz="quarter" idx="10"/>
          </p:nvPr>
        </p:nvSpPr>
        <p:spPr>
          <a:xfrm>
            <a:off x="1035683" y="2997692"/>
            <a:ext cx="2965450" cy="2360613"/>
          </a:xfrm>
          <a:custGeom>
            <a:avLst/>
            <a:gdLst>
              <a:gd name="connsiteX0" fmla="*/ 581498 w 2965450"/>
              <a:gd name="connsiteY0" fmla="*/ 0 h 2360613"/>
              <a:gd name="connsiteX1" fmla="*/ 2965450 w 2965450"/>
              <a:gd name="connsiteY1" fmla="*/ 0 h 2360613"/>
              <a:gd name="connsiteX2" fmla="*/ 2965450 w 2965450"/>
              <a:gd name="connsiteY2" fmla="*/ 2360613 h 2360613"/>
              <a:gd name="connsiteX3" fmla="*/ 0 w 2965450"/>
              <a:gd name="connsiteY3" fmla="*/ 2360613 h 2360613"/>
              <a:gd name="connsiteX4" fmla="*/ 0 w 2965450"/>
              <a:gd name="connsiteY4" fmla="*/ 581498 h 2360613"/>
              <a:gd name="connsiteX5" fmla="*/ 581498 w 2965450"/>
              <a:gd name="connsiteY5" fmla="*/ 581498 h 236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5450" h="2360613">
                <a:moveTo>
                  <a:pt x="581498" y="0"/>
                </a:moveTo>
                <a:lnTo>
                  <a:pt x="2965450" y="0"/>
                </a:lnTo>
                <a:lnTo>
                  <a:pt x="2965450" y="2360613"/>
                </a:lnTo>
                <a:lnTo>
                  <a:pt x="0" y="2360613"/>
                </a:lnTo>
                <a:lnTo>
                  <a:pt x="0" y="581498"/>
                </a:lnTo>
                <a:lnTo>
                  <a:pt x="581498" y="581498"/>
                </a:lnTo>
                <a:close/>
              </a:path>
            </a:pathLst>
          </a:custGeom>
          <a:solidFill>
            <a:schemeClr val="tx2"/>
          </a:solidFill>
        </p:spPr>
        <p:txBody>
          <a:bodyPr wrap="square">
            <a:noAutofit/>
          </a:bodyPr>
          <a:lstStyle/>
          <a:p>
            <a:endParaRPr lang="en-US"/>
          </a:p>
        </p:txBody>
      </p:sp>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Google Shape;250;p10">
            <a:extLst>
              <a:ext uri="{FF2B5EF4-FFF2-40B4-BE49-F238E27FC236}">
                <a16:creationId xmlns:a16="http://schemas.microsoft.com/office/drawing/2014/main" id="{89894639-889A-B708-F538-FFDF442EE70C}"/>
              </a:ext>
            </a:extLst>
          </p:cNvPr>
          <p:cNvSpPr/>
          <p:nvPr userDrawn="1"/>
        </p:nvSpPr>
        <p:spPr>
          <a:xfrm>
            <a:off x="8189907" y="1110"/>
            <a:ext cx="4002094" cy="2996057"/>
          </a:xfrm>
          <a:prstGeom prst="rect">
            <a:avLst/>
          </a:prstGeom>
          <a:solidFill>
            <a:schemeClr val="accent2">
              <a:alpha val="3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9" name="Google Shape;259;p10">
            <a:extLst>
              <a:ext uri="{FF2B5EF4-FFF2-40B4-BE49-F238E27FC236}">
                <a16:creationId xmlns:a16="http://schemas.microsoft.com/office/drawing/2014/main" id="{E8A0309B-4E6B-E2D7-20E7-C15E9A07DDF8}"/>
              </a:ext>
            </a:extLst>
          </p:cNvPr>
          <p:cNvCxnSpPr/>
          <p:nvPr userDrawn="1"/>
        </p:nvCxnSpPr>
        <p:spPr>
          <a:xfrm>
            <a:off x="10624718" y="871322"/>
            <a:ext cx="1567200" cy="3600"/>
          </a:xfrm>
          <a:prstGeom prst="straightConnector1">
            <a:avLst/>
          </a:prstGeom>
          <a:noFill/>
          <a:ln w="19050" cap="flat" cmpd="sng">
            <a:solidFill>
              <a:schemeClr val="accent2"/>
            </a:solidFill>
            <a:prstDash val="solid"/>
            <a:miter lim="800000"/>
            <a:headEnd type="none" w="sm" len="sm"/>
            <a:tailEnd type="none" w="sm" len="sm"/>
          </a:ln>
        </p:spPr>
      </p:cxnSp>
      <p:pic>
        <p:nvPicPr>
          <p:cNvPr id="20" name="Picture 19" descr="A logo with a black background&#10;&#10;Description automatically generated">
            <a:extLst>
              <a:ext uri="{FF2B5EF4-FFF2-40B4-BE49-F238E27FC236}">
                <a16:creationId xmlns:a16="http://schemas.microsoft.com/office/drawing/2014/main" id="{5832BE38-5225-25A6-BCBB-F690CB1BFC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916166" y="456388"/>
            <a:ext cx="1631436" cy="689552"/>
          </a:xfrm>
          <a:prstGeom prst="rect">
            <a:avLst/>
          </a:prstGeom>
        </p:spPr>
      </p:pic>
      <p:sp>
        <p:nvSpPr>
          <p:cNvPr id="24" name="Title 23">
            <a:extLst>
              <a:ext uri="{FF2B5EF4-FFF2-40B4-BE49-F238E27FC236}">
                <a16:creationId xmlns:a16="http://schemas.microsoft.com/office/drawing/2014/main" id="{8F5330A8-6F63-6056-70A9-30B2BCBA852E}"/>
              </a:ext>
            </a:extLst>
          </p:cNvPr>
          <p:cNvSpPr>
            <a:spLocks noGrp="1"/>
          </p:cNvSpPr>
          <p:nvPr>
            <p:ph type="title" hasCustomPrompt="1"/>
          </p:nvPr>
        </p:nvSpPr>
        <p:spPr>
          <a:xfrm>
            <a:off x="1035679" y="1047771"/>
            <a:ext cx="4414773" cy="1200150"/>
          </a:xfrm>
        </p:spPr>
        <p:txBody>
          <a:bodyPr vert="horz">
            <a:normAutofit/>
          </a:bodyPr>
          <a:lstStyle>
            <a:lvl1pPr>
              <a:defRPr sz="3600"/>
            </a:lvl1pPr>
          </a:lstStyle>
          <a:p>
            <a:r>
              <a:rPr lang="da-DK"/>
              <a:t>LOREM IPSUM DOLOR SIT AMET</a:t>
            </a:r>
          </a:p>
        </p:txBody>
      </p:sp>
      <p:sp>
        <p:nvSpPr>
          <p:cNvPr id="30" name="Text Placeholder 29">
            <a:extLst>
              <a:ext uri="{FF2B5EF4-FFF2-40B4-BE49-F238E27FC236}">
                <a16:creationId xmlns:a16="http://schemas.microsoft.com/office/drawing/2014/main" id="{67D78C7A-E997-8E6E-6922-D6DF6202BA15}"/>
              </a:ext>
            </a:extLst>
          </p:cNvPr>
          <p:cNvSpPr>
            <a:spLocks noGrp="1"/>
          </p:cNvSpPr>
          <p:nvPr>
            <p:ph type="body" sz="quarter" idx="11" hasCustomPrompt="1"/>
          </p:nvPr>
        </p:nvSpPr>
        <p:spPr>
          <a:xfrm>
            <a:off x="1035113" y="739658"/>
            <a:ext cx="4414773" cy="307975"/>
          </a:xfrm>
        </p:spPr>
        <p:txBody>
          <a:bodyPr>
            <a:normAutofit/>
          </a:bodyPr>
          <a:lstStyle>
            <a:lvl1pPr marL="0" indent="0">
              <a:buNone/>
              <a:defRPr sz="1400"/>
            </a:lvl1pPr>
          </a:lstStyle>
          <a:p>
            <a:pPr lvl="0"/>
            <a:r>
              <a:rPr lang="en-US"/>
              <a:t>Our Features</a:t>
            </a:r>
          </a:p>
        </p:txBody>
      </p:sp>
      <p:sp>
        <p:nvSpPr>
          <p:cNvPr id="32" name="Text Placeholder 31">
            <a:extLst>
              <a:ext uri="{FF2B5EF4-FFF2-40B4-BE49-F238E27FC236}">
                <a16:creationId xmlns:a16="http://schemas.microsoft.com/office/drawing/2014/main" id="{8556CFE2-D72D-5FEF-4B27-3FB87C3CDE1A}"/>
              </a:ext>
            </a:extLst>
          </p:cNvPr>
          <p:cNvSpPr>
            <a:spLocks noGrp="1"/>
          </p:cNvSpPr>
          <p:nvPr>
            <p:ph type="body" sz="quarter" idx="12" hasCustomPrompt="1"/>
          </p:nvPr>
        </p:nvSpPr>
        <p:spPr>
          <a:xfrm>
            <a:off x="1035681" y="5533369"/>
            <a:ext cx="2965450" cy="306388"/>
          </a:xfrm>
        </p:spPr>
        <p:txBody>
          <a:bodyPr>
            <a:normAutofit/>
          </a:bodyPr>
          <a:lstStyle>
            <a:lvl1pPr marL="0" indent="0">
              <a:buNone/>
              <a:defRPr sz="1400" b="1">
                <a:solidFill>
                  <a:schemeClr val="bg2"/>
                </a:solidFill>
              </a:defRPr>
            </a:lvl1pPr>
          </a:lstStyle>
          <a:p>
            <a:pPr lvl="0"/>
            <a:r>
              <a:rPr lang="en-US"/>
              <a:t>LOREM IPSUM DOLOR SIT</a:t>
            </a:r>
          </a:p>
        </p:txBody>
      </p:sp>
      <p:sp>
        <p:nvSpPr>
          <p:cNvPr id="34" name="Text Placeholder 33">
            <a:extLst>
              <a:ext uri="{FF2B5EF4-FFF2-40B4-BE49-F238E27FC236}">
                <a16:creationId xmlns:a16="http://schemas.microsoft.com/office/drawing/2014/main" id="{405846DE-9DEF-6AD8-BD73-45F7A950D920}"/>
              </a:ext>
            </a:extLst>
          </p:cNvPr>
          <p:cNvSpPr>
            <a:spLocks noGrp="1"/>
          </p:cNvSpPr>
          <p:nvPr>
            <p:ph type="body" sz="quarter" idx="13" hasCustomPrompt="1"/>
          </p:nvPr>
        </p:nvSpPr>
        <p:spPr>
          <a:xfrm>
            <a:off x="1035681" y="5840292"/>
            <a:ext cx="2965450" cy="277813"/>
          </a:xfrm>
        </p:spPr>
        <p:txBody>
          <a:bodyPr/>
          <a:lstStyle>
            <a:lvl1pPr marL="0" indent="0">
              <a:buNone/>
              <a:defRPr/>
            </a:lvl1pPr>
          </a:lstStyle>
          <a:p>
            <a:pPr lvl="0"/>
            <a:r>
              <a:rPr lang="en-US"/>
              <a:t>Lorem ipsum dolor sit</a:t>
            </a:r>
          </a:p>
        </p:txBody>
      </p:sp>
      <p:sp>
        <p:nvSpPr>
          <p:cNvPr id="35" name="Text Placeholder 31">
            <a:extLst>
              <a:ext uri="{FF2B5EF4-FFF2-40B4-BE49-F238E27FC236}">
                <a16:creationId xmlns:a16="http://schemas.microsoft.com/office/drawing/2014/main" id="{99416318-0725-8591-C0C8-A7B402B3DC81}"/>
              </a:ext>
            </a:extLst>
          </p:cNvPr>
          <p:cNvSpPr>
            <a:spLocks noGrp="1"/>
          </p:cNvSpPr>
          <p:nvPr>
            <p:ph type="body" sz="quarter" idx="14" hasCustomPrompt="1"/>
          </p:nvPr>
        </p:nvSpPr>
        <p:spPr>
          <a:xfrm>
            <a:off x="4611800" y="5533369"/>
            <a:ext cx="2965450" cy="306388"/>
          </a:xfrm>
        </p:spPr>
        <p:txBody>
          <a:bodyPr>
            <a:normAutofit/>
          </a:bodyPr>
          <a:lstStyle>
            <a:lvl1pPr marL="0" indent="0">
              <a:buNone/>
              <a:defRPr sz="1400" b="1">
                <a:solidFill>
                  <a:schemeClr val="bg2"/>
                </a:solidFill>
              </a:defRPr>
            </a:lvl1pPr>
          </a:lstStyle>
          <a:p>
            <a:pPr lvl="0"/>
            <a:r>
              <a:rPr lang="en-US"/>
              <a:t>LOREM IPSUM DOLOR SIT</a:t>
            </a:r>
          </a:p>
        </p:txBody>
      </p:sp>
      <p:sp>
        <p:nvSpPr>
          <p:cNvPr id="36" name="Text Placeholder 33">
            <a:extLst>
              <a:ext uri="{FF2B5EF4-FFF2-40B4-BE49-F238E27FC236}">
                <a16:creationId xmlns:a16="http://schemas.microsoft.com/office/drawing/2014/main" id="{36DD58D9-0FDC-DDE5-22AA-297143E72340}"/>
              </a:ext>
            </a:extLst>
          </p:cNvPr>
          <p:cNvSpPr>
            <a:spLocks noGrp="1"/>
          </p:cNvSpPr>
          <p:nvPr>
            <p:ph type="body" sz="quarter" idx="15" hasCustomPrompt="1"/>
          </p:nvPr>
        </p:nvSpPr>
        <p:spPr>
          <a:xfrm>
            <a:off x="4611800" y="5840292"/>
            <a:ext cx="2965450" cy="277813"/>
          </a:xfrm>
        </p:spPr>
        <p:txBody>
          <a:bodyPr/>
          <a:lstStyle>
            <a:lvl1pPr marL="0" indent="0">
              <a:buNone/>
              <a:defRPr/>
            </a:lvl1pPr>
          </a:lstStyle>
          <a:p>
            <a:pPr lvl="0"/>
            <a:r>
              <a:rPr lang="en-US"/>
              <a:t>Lorem ipsum dolor sit</a:t>
            </a:r>
          </a:p>
        </p:txBody>
      </p:sp>
      <p:sp>
        <p:nvSpPr>
          <p:cNvPr id="37" name="Text Placeholder 31">
            <a:extLst>
              <a:ext uri="{FF2B5EF4-FFF2-40B4-BE49-F238E27FC236}">
                <a16:creationId xmlns:a16="http://schemas.microsoft.com/office/drawing/2014/main" id="{64276B5E-44FA-918F-D94C-DCA6A419464C}"/>
              </a:ext>
            </a:extLst>
          </p:cNvPr>
          <p:cNvSpPr>
            <a:spLocks noGrp="1"/>
          </p:cNvSpPr>
          <p:nvPr>
            <p:ph type="body" sz="quarter" idx="16" hasCustomPrompt="1"/>
          </p:nvPr>
        </p:nvSpPr>
        <p:spPr>
          <a:xfrm>
            <a:off x="8189907" y="5533369"/>
            <a:ext cx="2965450" cy="306388"/>
          </a:xfrm>
        </p:spPr>
        <p:txBody>
          <a:bodyPr>
            <a:normAutofit/>
          </a:bodyPr>
          <a:lstStyle>
            <a:lvl1pPr marL="0" indent="0">
              <a:buNone/>
              <a:defRPr sz="1400" b="1">
                <a:solidFill>
                  <a:schemeClr val="bg2"/>
                </a:solidFill>
              </a:defRPr>
            </a:lvl1pPr>
          </a:lstStyle>
          <a:p>
            <a:pPr lvl="0"/>
            <a:r>
              <a:rPr lang="en-US"/>
              <a:t>LOREM IPSUM DOLOR SIT</a:t>
            </a:r>
          </a:p>
        </p:txBody>
      </p:sp>
      <p:sp>
        <p:nvSpPr>
          <p:cNvPr id="38" name="Text Placeholder 33">
            <a:extLst>
              <a:ext uri="{FF2B5EF4-FFF2-40B4-BE49-F238E27FC236}">
                <a16:creationId xmlns:a16="http://schemas.microsoft.com/office/drawing/2014/main" id="{29FA79C5-1EEA-503E-98A4-1D1C1F7B6392}"/>
              </a:ext>
            </a:extLst>
          </p:cNvPr>
          <p:cNvSpPr>
            <a:spLocks noGrp="1"/>
          </p:cNvSpPr>
          <p:nvPr>
            <p:ph type="body" sz="quarter" idx="17" hasCustomPrompt="1"/>
          </p:nvPr>
        </p:nvSpPr>
        <p:spPr>
          <a:xfrm>
            <a:off x="8189907" y="5840292"/>
            <a:ext cx="2965450" cy="277813"/>
          </a:xfrm>
        </p:spPr>
        <p:txBody>
          <a:bodyPr/>
          <a:lstStyle>
            <a:lvl1pPr marL="0" indent="0">
              <a:buNone/>
              <a:defRPr/>
            </a:lvl1pPr>
          </a:lstStyle>
          <a:p>
            <a:pPr lvl="0"/>
            <a:r>
              <a:rPr lang="en-US"/>
              <a:t>Lorem ipsum dolor sit</a:t>
            </a:r>
          </a:p>
        </p:txBody>
      </p:sp>
      <p:sp>
        <p:nvSpPr>
          <p:cNvPr id="40" name="Text Placeholder 39">
            <a:extLst>
              <a:ext uri="{FF2B5EF4-FFF2-40B4-BE49-F238E27FC236}">
                <a16:creationId xmlns:a16="http://schemas.microsoft.com/office/drawing/2014/main" id="{DDED04C7-A16D-34EC-C464-5F8892D25559}"/>
              </a:ext>
            </a:extLst>
          </p:cNvPr>
          <p:cNvSpPr>
            <a:spLocks noGrp="1"/>
          </p:cNvSpPr>
          <p:nvPr>
            <p:ph type="body" sz="quarter" idx="18" hasCustomPrompt="1"/>
          </p:nvPr>
        </p:nvSpPr>
        <p:spPr>
          <a:xfrm>
            <a:off x="1035683" y="2997641"/>
            <a:ext cx="581025" cy="581025"/>
          </a:xfrm>
          <a:solidFill>
            <a:schemeClr val="accent1"/>
          </a:solidFill>
        </p:spPr>
        <p:txBody>
          <a:bodyPr lIns="91440" anchor="ctr">
            <a:normAutofit/>
          </a:bodyPr>
          <a:lstStyle>
            <a:lvl1pPr marL="0" indent="0" algn="ctr">
              <a:buNone/>
              <a:defRPr sz="1600" b="1">
                <a:solidFill>
                  <a:schemeClr val="bg1"/>
                </a:solidFill>
              </a:defRPr>
            </a:lvl1pPr>
            <a:lvl2pPr marL="182880" indent="0">
              <a:buNone/>
              <a:defRPr>
                <a:solidFill>
                  <a:schemeClr val="bg1"/>
                </a:solidFill>
              </a:defRPr>
            </a:lvl2pPr>
            <a:lvl3pPr marL="365760" indent="0">
              <a:buNone/>
              <a:defRPr>
                <a:solidFill>
                  <a:schemeClr val="bg1"/>
                </a:solidFill>
              </a:defRPr>
            </a:lvl3pPr>
            <a:lvl4pPr marL="548640" indent="0">
              <a:buNone/>
              <a:defRPr>
                <a:solidFill>
                  <a:schemeClr val="bg1"/>
                </a:solidFill>
              </a:defRPr>
            </a:lvl4pPr>
            <a:lvl5pPr marL="731520" indent="0">
              <a:buNone/>
              <a:defRPr>
                <a:solidFill>
                  <a:schemeClr val="bg1"/>
                </a:solidFill>
              </a:defRPr>
            </a:lvl5pPr>
          </a:lstStyle>
          <a:p>
            <a:pPr lvl="0"/>
            <a:r>
              <a:rPr lang="en-US"/>
              <a:t>##</a:t>
            </a:r>
          </a:p>
        </p:txBody>
      </p:sp>
      <p:sp>
        <p:nvSpPr>
          <p:cNvPr id="12" name="Text Placeholder 39">
            <a:extLst>
              <a:ext uri="{FF2B5EF4-FFF2-40B4-BE49-F238E27FC236}">
                <a16:creationId xmlns:a16="http://schemas.microsoft.com/office/drawing/2014/main" id="{33DFDFA7-6D1E-2B69-A7EB-695286A61899}"/>
              </a:ext>
            </a:extLst>
          </p:cNvPr>
          <p:cNvSpPr>
            <a:spLocks noGrp="1"/>
          </p:cNvSpPr>
          <p:nvPr>
            <p:ph type="body" sz="quarter" idx="21" hasCustomPrompt="1"/>
          </p:nvPr>
        </p:nvSpPr>
        <p:spPr>
          <a:xfrm>
            <a:off x="4611800" y="2997641"/>
            <a:ext cx="581025" cy="581025"/>
          </a:xfrm>
          <a:solidFill>
            <a:schemeClr val="accent1"/>
          </a:solidFill>
        </p:spPr>
        <p:txBody>
          <a:bodyPr lIns="91440" anchor="ctr">
            <a:normAutofit/>
          </a:bodyPr>
          <a:lstStyle>
            <a:lvl1pPr marL="0" indent="0" algn="ctr">
              <a:buNone/>
              <a:defRPr sz="1600" b="1">
                <a:solidFill>
                  <a:schemeClr val="bg1"/>
                </a:solidFill>
              </a:defRPr>
            </a:lvl1pPr>
            <a:lvl2pPr marL="182880" indent="0">
              <a:buNone/>
              <a:defRPr>
                <a:solidFill>
                  <a:schemeClr val="bg1"/>
                </a:solidFill>
              </a:defRPr>
            </a:lvl2pPr>
            <a:lvl3pPr marL="365760" indent="0">
              <a:buNone/>
              <a:defRPr>
                <a:solidFill>
                  <a:schemeClr val="bg1"/>
                </a:solidFill>
              </a:defRPr>
            </a:lvl3pPr>
            <a:lvl4pPr marL="548640" indent="0">
              <a:buNone/>
              <a:defRPr>
                <a:solidFill>
                  <a:schemeClr val="bg1"/>
                </a:solidFill>
              </a:defRPr>
            </a:lvl4pPr>
            <a:lvl5pPr marL="731520" indent="0">
              <a:buNone/>
              <a:defRPr>
                <a:solidFill>
                  <a:schemeClr val="bg1"/>
                </a:solidFill>
              </a:defRPr>
            </a:lvl5pPr>
          </a:lstStyle>
          <a:p>
            <a:pPr lvl="0"/>
            <a:r>
              <a:rPr lang="en-US"/>
              <a:t>##</a:t>
            </a:r>
          </a:p>
        </p:txBody>
      </p:sp>
      <p:sp>
        <p:nvSpPr>
          <p:cNvPr id="13" name="Text Placeholder 39">
            <a:extLst>
              <a:ext uri="{FF2B5EF4-FFF2-40B4-BE49-F238E27FC236}">
                <a16:creationId xmlns:a16="http://schemas.microsoft.com/office/drawing/2014/main" id="{CFFC4E31-8579-495A-3021-112C768761D7}"/>
              </a:ext>
            </a:extLst>
          </p:cNvPr>
          <p:cNvSpPr>
            <a:spLocks noGrp="1"/>
          </p:cNvSpPr>
          <p:nvPr>
            <p:ph type="body" sz="quarter" idx="22" hasCustomPrompt="1"/>
          </p:nvPr>
        </p:nvSpPr>
        <p:spPr>
          <a:xfrm>
            <a:off x="8187917" y="2997641"/>
            <a:ext cx="581025" cy="581025"/>
          </a:xfrm>
          <a:solidFill>
            <a:schemeClr val="accent1"/>
          </a:solidFill>
        </p:spPr>
        <p:txBody>
          <a:bodyPr lIns="91440" anchor="ctr">
            <a:normAutofit/>
          </a:bodyPr>
          <a:lstStyle>
            <a:lvl1pPr marL="0" indent="0" algn="ctr">
              <a:buNone/>
              <a:defRPr sz="1600" b="1">
                <a:solidFill>
                  <a:schemeClr val="bg1"/>
                </a:solidFill>
              </a:defRPr>
            </a:lvl1pPr>
            <a:lvl2pPr marL="182880" indent="0">
              <a:buNone/>
              <a:defRPr>
                <a:solidFill>
                  <a:schemeClr val="bg1"/>
                </a:solidFill>
              </a:defRPr>
            </a:lvl2pPr>
            <a:lvl3pPr marL="365760" indent="0">
              <a:buNone/>
              <a:defRPr>
                <a:solidFill>
                  <a:schemeClr val="bg1"/>
                </a:solidFill>
              </a:defRPr>
            </a:lvl3pPr>
            <a:lvl4pPr marL="548640" indent="0">
              <a:buNone/>
              <a:defRPr>
                <a:solidFill>
                  <a:schemeClr val="bg1"/>
                </a:solidFill>
              </a:defRPr>
            </a:lvl4pPr>
            <a:lvl5pPr marL="731520" indent="0">
              <a:buNone/>
              <a:defRPr>
                <a:solidFill>
                  <a:schemeClr val="bg1"/>
                </a:solidFill>
              </a:defRPr>
            </a:lvl5pPr>
          </a:lstStyle>
          <a:p>
            <a:pPr lvl="0"/>
            <a:r>
              <a:rPr lang="en-US"/>
              <a:t>##</a:t>
            </a:r>
          </a:p>
        </p:txBody>
      </p:sp>
      <p:sp>
        <p:nvSpPr>
          <p:cNvPr id="2" name="Footer Placeholder 1">
            <a:extLst>
              <a:ext uri="{FF2B5EF4-FFF2-40B4-BE49-F238E27FC236}">
                <a16:creationId xmlns:a16="http://schemas.microsoft.com/office/drawing/2014/main" id="{93D14F87-4FA1-F9D2-6094-C867ED5FA3D6}"/>
              </a:ext>
            </a:extLst>
          </p:cNvPr>
          <p:cNvSpPr>
            <a:spLocks noGrp="1"/>
          </p:cNvSpPr>
          <p:nvPr>
            <p:ph type="ftr" sz="quarter" idx="25"/>
          </p:nvPr>
        </p:nvSpPr>
        <p:spPr/>
        <p:txBody>
          <a:bodyPr/>
          <a:lstStyle/>
          <a:p>
            <a:endParaRPr lang="en-US"/>
          </a:p>
        </p:txBody>
      </p:sp>
    </p:spTree>
    <p:extLst>
      <p:ext uri="{BB962C8B-B14F-4D97-AF65-F5344CB8AC3E}">
        <p14:creationId xmlns:p14="http://schemas.microsoft.com/office/powerpoint/2010/main" val="31029755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mple Layout_8">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2947915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279;p12">
            <a:extLst>
              <a:ext uri="{FF2B5EF4-FFF2-40B4-BE49-F238E27FC236}">
                <a16:creationId xmlns:a16="http://schemas.microsoft.com/office/drawing/2014/main" id="{8FEE283B-7C44-0C3F-A77C-40959FE363B6}"/>
              </a:ext>
            </a:extLst>
          </p:cNvPr>
          <p:cNvSpPr/>
          <p:nvPr userDrawn="1"/>
        </p:nvSpPr>
        <p:spPr>
          <a:xfrm>
            <a:off x="1" y="1"/>
            <a:ext cx="1839310" cy="183931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 name="Google Shape;280;p12">
            <a:extLst>
              <a:ext uri="{FF2B5EF4-FFF2-40B4-BE49-F238E27FC236}">
                <a16:creationId xmlns:a16="http://schemas.microsoft.com/office/drawing/2014/main" id="{F4B79B4D-5D5E-2BF7-B87D-4228EDA181D0}"/>
              </a:ext>
            </a:extLst>
          </p:cNvPr>
          <p:cNvSpPr/>
          <p:nvPr userDrawn="1"/>
        </p:nvSpPr>
        <p:spPr>
          <a:xfrm>
            <a:off x="1839309" y="4554908"/>
            <a:ext cx="767257" cy="767257"/>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 name="Google Shape;281;p12">
            <a:extLst>
              <a:ext uri="{FF2B5EF4-FFF2-40B4-BE49-F238E27FC236}">
                <a16:creationId xmlns:a16="http://schemas.microsoft.com/office/drawing/2014/main" id="{4202D1D0-5346-D88D-9D22-C45F4C04D4F5}"/>
              </a:ext>
            </a:extLst>
          </p:cNvPr>
          <p:cNvSpPr/>
          <p:nvPr userDrawn="1"/>
        </p:nvSpPr>
        <p:spPr>
          <a:xfrm>
            <a:off x="3901348" y="0"/>
            <a:ext cx="645150" cy="6451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 name="Google Shape;282;p12">
            <a:extLst>
              <a:ext uri="{FF2B5EF4-FFF2-40B4-BE49-F238E27FC236}">
                <a16:creationId xmlns:a16="http://schemas.microsoft.com/office/drawing/2014/main" id="{4C403456-75B6-88B3-7253-CE27D3A00A25}"/>
              </a:ext>
            </a:extLst>
          </p:cNvPr>
          <p:cNvSpPr/>
          <p:nvPr userDrawn="1"/>
        </p:nvSpPr>
        <p:spPr>
          <a:xfrm>
            <a:off x="4546498" y="3909758"/>
            <a:ext cx="645150" cy="64515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 name="Google Shape;283;p12">
            <a:extLst>
              <a:ext uri="{FF2B5EF4-FFF2-40B4-BE49-F238E27FC236}">
                <a16:creationId xmlns:a16="http://schemas.microsoft.com/office/drawing/2014/main" id="{5518B854-27B3-EA81-CCE1-B6C2C32C374F}"/>
              </a:ext>
            </a:extLst>
          </p:cNvPr>
          <p:cNvSpPr/>
          <p:nvPr userDrawn="1"/>
        </p:nvSpPr>
        <p:spPr>
          <a:xfrm>
            <a:off x="5732151" y="646383"/>
            <a:ext cx="1194157" cy="119415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 name="Google Shape;284;p12">
            <a:extLst>
              <a:ext uri="{FF2B5EF4-FFF2-40B4-BE49-F238E27FC236}">
                <a16:creationId xmlns:a16="http://schemas.microsoft.com/office/drawing/2014/main" id="{7CB6262D-B628-CE88-E04E-C9C9A6E67CD0}"/>
              </a:ext>
            </a:extLst>
          </p:cNvPr>
          <p:cNvSpPr/>
          <p:nvPr userDrawn="1"/>
        </p:nvSpPr>
        <p:spPr>
          <a:xfrm>
            <a:off x="750257" y="1839309"/>
            <a:ext cx="1088964" cy="1089052"/>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 name="Google Shape;285;p12">
            <a:extLst>
              <a:ext uri="{FF2B5EF4-FFF2-40B4-BE49-F238E27FC236}">
                <a16:creationId xmlns:a16="http://schemas.microsoft.com/office/drawing/2014/main" id="{38B547D1-4714-765B-AA4C-23F8F857109D}"/>
              </a:ext>
            </a:extLst>
          </p:cNvPr>
          <p:cNvSpPr/>
          <p:nvPr userDrawn="1"/>
        </p:nvSpPr>
        <p:spPr>
          <a:xfrm>
            <a:off x="2606522" y="4554908"/>
            <a:ext cx="1940021" cy="1940021"/>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 name="Picture 13" descr="A logo with a black background&#10;&#10;Description automatically generated">
            <a:extLst>
              <a:ext uri="{FF2B5EF4-FFF2-40B4-BE49-F238E27FC236}">
                <a16:creationId xmlns:a16="http://schemas.microsoft.com/office/drawing/2014/main" id="{FEA7A8E9-1A2D-E572-C346-13C16B89DD6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651751" y="4728895"/>
            <a:ext cx="2197848" cy="928955"/>
          </a:xfrm>
          <a:prstGeom prst="rect">
            <a:avLst/>
          </a:prstGeom>
        </p:spPr>
      </p:pic>
      <p:sp>
        <p:nvSpPr>
          <p:cNvPr id="19" name="Title 18">
            <a:extLst>
              <a:ext uri="{FF2B5EF4-FFF2-40B4-BE49-F238E27FC236}">
                <a16:creationId xmlns:a16="http://schemas.microsoft.com/office/drawing/2014/main" id="{0BF21579-6797-501A-1F1B-0A6F6FC78BFB}"/>
              </a:ext>
            </a:extLst>
          </p:cNvPr>
          <p:cNvSpPr>
            <a:spLocks noGrp="1"/>
          </p:cNvSpPr>
          <p:nvPr>
            <p:ph type="title" hasCustomPrompt="1"/>
          </p:nvPr>
        </p:nvSpPr>
        <p:spPr>
          <a:xfrm>
            <a:off x="7788684" y="1744759"/>
            <a:ext cx="3643313" cy="1077913"/>
          </a:xfrm>
        </p:spPr>
        <p:txBody>
          <a:bodyPr vert="horz">
            <a:normAutofit/>
          </a:bodyPr>
          <a:lstStyle>
            <a:lvl1pPr>
              <a:defRPr sz="3200"/>
            </a:lvl1pPr>
          </a:lstStyle>
          <a:p>
            <a:r>
              <a:rPr lang="da-DK"/>
              <a:t>LOREM IPSUM DOLOR SIT AMET</a:t>
            </a:r>
          </a:p>
        </p:txBody>
      </p:sp>
      <p:sp>
        <p:nvSpPr>
          <p:cNvPr id="25" name="Text Placeholder 24">
            <a:extLst>
              <a:ext uri="{FF2B5EF4-FFF2-40B4-BE49-F238E27FC236}">
                <a16:creationId xmlns:a16="http://schemas.microsoft.com/office/drawing/2014/main" id="{BF044090-B6A5-251E-F49E-FA4E9A5A8328}"/>
              </a:ext>
            </a:extLst>
          </p:cNvPr>
          <p:cNvSpPr>
            <a:spLocks noGrp="1"/>
          </p:cNvSpPr>
          <p:nvPr>
            <p:ph type="body" sz="quarter" idx="10" hasCustomPrompt="1"/>
          </p:nvPr>
        </p:nvSpPr>
        <p:spPr>
          <a:xfrm>
            <a:off x="7788275" y="1438579"/>
            <a:ext cx="3643313" cy="368300"/>
          </a:xfrm>
        </p:spPr>
        <p:txBody>
          <a:bodyPr>
            <a:noAutofit/>
          </a:bodyPr>
          <a:lstStyle>
            <a:lvl1pPr marL="0" indent="0">
              <a:buNone/>
              <a:defRPr sz="1800"/>
            </a:lvl1pPr>
            <a:lvl2pPr marL="182880" indent="0">
              <a:buNone/>
              <a:defRPr sz="1800"/>
            </a:lvl2pPr>
            <a:lvl3pPr marL="365760" indent="0">
              <a:buNone/>
              <a:defRPr sz="1800"/>
            </a:lvl3pPr>
            <a:lvl4pPr marL="548640" indent="0">
              <a:buNone/>
              <a:defRPr sz="1800"/>
            </a:lvl4pPr>
            <a:lvl5pPr marL="731520" indent="0">
              <a:buNone/>
              <a:defRPr sz="1800"/>
            </a:lvl5pPr>
          </a:lstStyle>
          <a:p>
            <a:pPr lvl="0"/>
            <a:r>
              <a:rPr lang="en-US"/>
              <a:t>Sample headline</a:t>
            </a:r>
          </a:p>
        </p:txBody>
      </p:sp>
      <p:sp>
        <p:nvSpPr>
          <p:cNvPr id="27" name="Text Placeholder 26">
            <a:extLst>
              <a:ext uri="{FF2B5EF4-FFF2-40B4-BE49-F238E27FC236}">
                <a16:creationId xmlns:a16="http://schemas.microsoft.com/office/drawing/2014/main" id="{86F1DB22-37E7-6E14-6C8E-60010FBDD26D}"/>
              </a:ext>
            </a:extLst>
          </p:cNvPr>
          <p:cNvSpPr>
            <a:spLocks noGrp="1"/>
          </p:cNvSpPr>
          <p:nvPr>
            <p:ph type="body" sz="quarter" idx="11"/>
          </p:nvPr>
        </p:nvSpPr>
        <p:spPr>
          <a:xfrm>
            <a:off x="7788275" y="3080925"/>
            <a:ext cx="3643313" cy="120015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Picture Placeholder 28">
            <a:extLst>
              <a:ext uri="{FF2B5EF4-FFF2-40B4-BE49-F238E27FC236}">
                <a16:creationId xmlns:a16="http://schemas.microsoft.com/office/drawing/2014/main" id="{D5A9B5D7-6FDF-0A0C-0BA1-C4CC785D233E}"/>
              </a:ext>
            </a:extLst>
          </p:cNvPr>
          <p:cNvSpPr>
            <a:spLocks noGrp="1"/>
          </p:cNvSpPr>
          <p:nvPr>
            <p:ph type="pic" sz="quarter" idx="12"/>
          </p:nvPr>
        </p:nvSpPr>
        <p:spPr>
          <a:xfrm>
            <a:off x="750283" y="5322192"/>
            <a:ext cx="1089025" cy="1089025"/>
          </a:xfrm>
          <a:solidFill>
            <a:schemeClr val="tx2"/>
          </a:solidFill>
        </p:spPr>
        <p:txBody>
          <a:bodyPr/>
          <a:lstStyle/>
          <a:p>
            <a:endParaRPr lang="en-US"/>
          </a:p>
        </p:txBody>
      </p:sp>
      <p:sp>
        <p:nvSpPr>
          <p:cNvPr id="33" name="Picture Placeholder 31">
            <a:extLst>
              <a:ext uri="{FF2B5EF4-FFF2-40B4-BE49-F238E27FC236}">
                <a16:creationId xmlns:a16="http://schemas.microsoft.com/office/drawing/2014/main" id="{ED39DD41-9A54-79E0-0B45-892654B0804A}"/>
              </a:ext>
            </a:extLst>
          </p:cNvPr>
          <p:cNvSpPr>
            <a:spLocks noGrp="1"/>
          </p:cNvSpPr>
          <p:nvPr>
            <p:ph type="pic" sz="quarter" idx="13"/>
          </p:nvPr>
        </p:nvSpPr>
        <p:spPr>
          <a:xfrm>
            <a:off x="1839810" y="1840283"/>
            <a:ext cx="2706688" cy="2714625"/>
          </a:xfrm>
          <a:solidFill>
            <a:schemeClr val="tx2"/>
          </a:solidFill>
        </p:spPr>
        <p:txBody>
          <a:bodyPr/>
          <a:lstStyle/>
          <a:p>
            <a:endParaRPr lang="en-US"/>
          </a:p>
        </p:txBody>
      </p:sp>
      <p:sp>
        <p:nvSpPr>
          <p:cNvPr id="36" name="Picture Placeholder 34">
            <a:extLst>
              <a:ext uri="{FF2B5EF4-FFF2-40B4-BE49-F238E27FC236}">
                <a16:creationId xmlns:a16="http://schemas.microsoft.com/office/drawing/2014/main" id="{876A4943-E603-2C55-FAFA-3AB78E898FC5}"/>
              </a:ext>
            </a:extLst>
          </p:cNvPr>
          <p:cNvSpPr>
            <a:spLocks noGrp="1"/>
          </p:cNvSpPr>
          <p:nvPr>
            <p:ph type="pic" sz="quarter" idx="14"/>
          </p:nvPr>
        </p:nvSpPr>
        <p:spPr>
          <a:xfrm>
            <a:off x="4546288" y="645152"/>
            <a:ext cx="1185863" cy="1195388"/>
          </a:xfrm>
          <a:solidFill>
            <a:schemeClr val="tx2"/>
          </a:solidFill>
        </p:spPr>
        <p:txBody>
          <a:bodyPr/>
          <a:lstStyle/>
          <a:p>
            <a:endParaRPr lang="en-US"/>
          </a:p>
        </p:txBody>
      </p:sp>
      <p:sp>
        <p:nvSpPr>
          <p:cNvPr id="39" name="Picture Placeholder 37">
            <a:extLst>
              <a:ext uri="{FF2B5EF4-FFF2-40B4-BE49-F238E27FC236}">
                <a16:creationId xmlns:a16="http://schemas.microsoft.com/office/drawing/2014/main" id="{18FA1BB2-F375-EE5A-42E6-DD2CCDDFDC48}"/>
              </a:ext>
            </a:extLst>
          </p:cNvPr>
          <p:cNvSpPr>
            <a:spLocks noGrp="1"/>
          </p:cNvSpPr>
          <p:nvPr>
            <p:ph type="pic" sz="quarter" idx="15"/>
          </p:nvPr>
        </p:nvSpPr>
        <p:spPr>
          <a:xfrm>
            <a:off x="4546417" y="4554694"/>
            <a:ext cx="2322513" cy="2322513"/>
          </a:xfrm>
          <a:solidFill>
            <a:schemeClr val="tx2"/>
          </a:solidFill>
        </p:spPr>
        <p:txBody>
          <a:bodyPr/>
          <a:lstStyle/>
          <a:p>
            <a:endParaRPr lang="en-US"/>
          </a:p>
        </p:txBody>
      </p:sp>
    </p:spTree>
    <p:extLst>
      <p:ext uri="{BB962C8B-B14F-4D97-AF65-F5344CB8AC3E}">
        <p14:creationId xmlns:p14="http://schemas.microsoft.com/office/powerpoint/2010/main" val="18534613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ample Layout_9">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2784221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C804D65-1E97-B709-DC11-F7CDADD4C567}"/>
              </a:ext>
            </a:extLst>
          </p:cNvPr>
          <p:cNvSpPr/>
          <p:nvPr userDrawn="1"/>
        </p:nvSpPr>
        <p:spPr>
          <a:xfrm>
            <a:off x="8658225" y="6281738"/>
            <a:ext cx="3287032" cy="3939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295;p13">
            <a:extLst>
              <a:ext uri="{FF2B5EF4-FFF2-40B4-BE49-F238E27FC236}">
                <a16:creationId xmlns:a16="http://schemas.microsoft.com/office/drawing/2014/main" id="{7F150611-AF57-029C-A322-C4D5FA9FDE0C}"/>
              </a:ext>
            </a:extLst>
          </p:cNvPr>
          <p:cNvSpPr/>
          <p:nvPr userDrawn="1"/>
        </p:nvSpPr>
        <p:spPr>
          <a:xfrm>
            <a:off x="6390933" y="3425825"/>
            <a:ext cx="2369100" cy="1832075"/>
          </a:xfrm>
          <a:prstGeom prst="rect">
            <a:avLst/>
          </a:prstGeom>
          <a:solidFill>
            <a:schemeClr val="accent2">
              <a:lumMod val="20000"/>
              <a:lumOff val="80000"/>
            </a:schemeClr>
          </a:solidFill>
          <a:ln w="9525"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 name="Google Shape;296;p13">
            <a:extLst>
              <a:ext uri="{FF2B5EF4-FFF2-40B4-BE49-F238E27FC236}">
                <a16:creationId xmlns:a16="http://schemas.microsoft.com/office/drawing/2014/main" id="{2BFCDAB7-D83E-49B7-0D7E-63EEDB8F86E8}"/>
              </a:ext>
            </a:extLst>
          </p:cNvPr>
          <p:cNvSpPr/>
          <p:nvPr userDrawn="1"/>
        </p:nvSpPr>
        <p:spPr>
          <a:xfrm>
            <a:off x="6390853" y="2235084"/>
            <a:ext cx="2369180" cy="1193916"/>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 name="Google Shape;301;p13">
            <a:extLst>
              <a:ext uri="{FF2B5EF4-FFF2-40B4-BE49-F238E27FC236}">
                <a16:creationId xmlns:a16="http://schemas.microsoft.com/office/drawing/2014/main" id="{8B6C4B6F-791E-D163-6473-59174E7E54DE}"/>
              </a:ext>
            </a:extLst>
          </p:cNvPr>
          <p:cNvSpPr/>
          <p:nvPr userDrawn="1"/>
        </p:nvSpPr>
        <p:spPr>
          <a:xfrm>
            <a:off x="6390853" y="4964091"/>
            <a:ext cx="2368972" cy="11938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3" name="Google Shape;307;p13">
            <a:extLst>
              <a:ext uri="{FF2B5EF4-FFF2-40B4-BE49-F238E27FC236}">
                <a16:creationId xmlns:a16="http://schemas.microsoft.com/office/drawing/2014/main" id="{A8A09181-432C-CE1C-2F2F-C63C80E453BC}"/>
              </a:ext>
            </a:extLst>
          </p:cNvPr>
          <p:cNvCxnSpPr/>
          <p:nvPr userDrawn="1"/>
        </p:nvCxnSpPr>
        <p:spPr>
          <a:xfrm>
            <a:off x="-12" y="1246090"/>
            <a:ext cx="1471200" cy="0"/>
          </a:xfrm>
          <a:prstGeom prst="straightConnector1">
            <a:avLst/>
          </a:prstGeom>
          <a:noFill/>
          <a:ln w="28575" cap="flat" cmpd="sng">
            <a:solidFill>
              <a:schemeClr val="accent4"/>
            </a:solidFill>
            <a:prstDash val="solid"/>
            <a:miter lim="800000"/>
            <a:headEnd type="none" w="sm" len="sm"/>
            <a:tailEnd type="none" w="sm" len="sm"/>
          </a:ln>
        </p:spPr>
      </p:cxnSp>
      <p:sp>
        <p:nvSpPr>
          <p:cNvPr id="19" name="Text Placeholder 36">
            <a:extLst>
              <a:ext uri="{FF2B5EF4-FFF2-40B4-BE49-F238E27FC236}">
                <a16:creationId xmlns:a16="http://schemas.microsoft.com/office/drawing/2014/main" id="{49E01793-04E8-4EA0-B6E1-F44894A3DFBC}"/>
              </a:ext>
            </a:extLst>
          </p:cNvPr>
          <p:cNvSpPr>
            <a:spLocks noGrp="1"/>
          </p:cNvSpPr>
          <p:nvPr>
            <p:ph type="body" sz="quarter" idx="14" hasCustomPrompt="1"/>
          </p:nvPr>
        </p:nvSpPr>
        <p:spPr>
          <a:xfrm>
            <a:off x="6648449" y="2538095"/>
            <a:ext cx="1810703" cy="369888"/>
          </a:xfrm>
        </p:spPr>
        <p:txBody>
          <a:bodyPr>
            <a:normAutofit/>
          </a:bodyPr>
          <a:lstStyle>
            <a:lvl1pPr marL="0" indent="0" algn="r">
              <a:buNone/>
              <a:defRPr sz="1800" b="1">
                <a:solidFill>
                  <a:schemeClr val="bg1"/>
                </a:solidFill>
              </a:defRPr>
            </a:lvl1pPr>
          </a:lstStyle>
          <a:p>
            <a:pPr lvl="0"/>
            <a:r>
              <a:rPr lang="en-US"/>
              <a:t>Sample</a:t>
            </a:r>
          </a:p>
        </p:txBody>
      </p:sp>
      <p:sp>
        <p:nvSpPr>
          <p:cNvPr id="20" name="Text Placeholder 40">
            <a:extLst>
              <a:ext uri="{FF2B5EF4-FFF2-40B4-BE49-F238E27FC236}">
                <a16:creationId xmlns:a16="http://schemas.microsoft.com/office/drawing/2014/main" id="{5C98D911-CB0A-97AD-ADFB-7BA8B64505D5}"/>
              </a:ext>
            </a:extLst>
          </p:cNvPr>
          <p:cNvSpPr>
            <a:spLocks noGrp="1"/>
          </p:cNvSpPr>
          <p:nvPr>
            <p:ph type="body" sz="quarter" idx="17" hasCustomPrompt="1"/>
          </p:nvPr>
        </p:nvSpPr>
        <p:spPr>
          <a:xfrm>
            <a:off x="6647924" y="2844325"/>
            <a:ext cx="1810703" cy="369888"/>
          </a:xfrm>
        </p:spPr>
        <p:txBody>
          <a:bodyPr>
            <a:noAutofit/>
          </a:bodyPr>
          <a:lstStyle>
            <a:lvl1pPr marL="0" indent="0" algn="r">
              <a:buNone/>
              <a:defRPr sz="1800">
                <a:solidFill>
                  <a:schemeClr val="bg1"/>
                </a:solidFill>
              </a:defRPr>
            </a:lvl1pPr>
          </a:lstStyle>
          <a:p>
            <a:pPr lvl="0"/>
            <a:r>
              <a:rPr lang="en-US"/>
              <a:t>Sample title</a:t>
            </a:r>
          </a:p>
        </p:txBody>
      </p:sp>
      <p:sp>
        <p:nvSpPr>
          <p:cNvPr id="23" name="Text Placeholder 36">
            <a:extLst>
              <a:ext uri="{FF2B5EF4-FFF2-40B4-BE49-F238E27FC236}">
                <a16:creationId xmlns:a16="http://schemas.microsoft.com/office/drawing/2014/main" id="{DDCFEC3F-8F9D-6E93-5503-DFF6AECD2303}"/>
              </a:ext>
            </a:extLst>
          </p:cNvPr>
          <p:cNvSpPr>
            <a:spLocks noGrp="1"/>
          </p:cNvSpPr>
          <p:nvPr>
            <p:ph type="body" sz="quarter" idx="18" hasCustomPrompt="1"/>
          </p:nvPr>
        </p:nvSpPr>
        <p:spPr>
          <a:xfrm>
            <a:off x="6648449" y="5235464"/>
            <a:ext cx="1810703" cy="369888"/>
          </a:xfrm>
        </p:spPr>
        <p:txBody>
          <a:bodyPr>
            <a:normAutofit/>
          </a:bodyPr>
          <a:lstStyle>
            <a:lvl1pPr marL="0" indent="0" algn="r">
              <a:buNone/>
              <a:defRPr sz="1800" b="1">
                <a:solidFill>
                  <a:schemeClr val="bg1"/>
                </a:solidFill>
              </a:defRPr>
            </a:lvl1pPr>
          </a:lstStyle>
          <a:p>
            <a:pPr lvl="0"/>
            <a:r>
              <a:rPr lang="en-US"/>
              <a:t>Sample</a:t>
            </a:r>
          </a:p>
        </p:txBody>
      </p:sp>
      <p:sp>
        <p:nvSpPr>
          <p:cNvPr id="24" name="Text Placeholder 40">
            <a:extLst>
              <a:ext uri="{FF2B5EF4-FFF2-40B4-BE49-F238E27FC236}">
                <a16:creationId xmlns:a16="http://schemas.microsoft.com/office/drawing/2014/main" id="{6CC53C61-5032-9E3C-C9AC-97EC9A7BCA14}"/>
              </a:ext>
            </a:extLst>
          </p:cNvPr>
          <p:cNvSpPr>
            <a:spLocks noGrp="1"/>
          </p:cNvSpPr>
          <p:nvPr>
            <p:ph type="body" sz="quarter" idx="19" hasCustomPrompt="1"/>
          </p:nvPr>
        </p:nvSpPr>
        <p:spPr>
          <a:xfrm>
            <a:off x="6647924" y="5541694"/>
            <a:ext cx="1810703" cy="369888"/>
          </a:xfrm>
        </p:spPr>
        <p:txBody>
          <a:bodyPr>
            <a:noAutofit/>
          </a:bodyPr>
          <a:lstStyle>
            <a:lvl1pPr marL="0" indent="0" algn="r">
              <a:buNone/>
              <a:defRPr sz="1800">
                <a:solidFill>
                  <a:schemeClr val="bg1"/>
                </a:solidFill>
              </a:defRPr>
            </a:lvl1pPr>
          </a:lstStyle>
          <a:p>
            <a:pPr lvl="0"/>
            <a:r>
              <a:rPr lang="en-US"/>
              <a:t>Sample title</a:t>
            </a:r>
          </a:p>
        </p:txBody>
      </p:sp>
      <p:sp>
        <p:nvSpPr>
          <p:cNvPr id="25" name="Title 24">
            <a:extLst>
              <a:ext uri="{FF2B5EF4-FFF2-40B4-BE49-F238E27FC236}">
                <a16:creationId xmlns:a16="http://schemas.microsoft.com/office/drawing/2014/main" id="{B3080745-6450-3660-A517-6AEA46EAE078}"/>
              </a:ext>
            </a:extLst>
          </p:cNvPr>
          <p:cNvSpPr>
            <a:spLocks noGrp="1"/>
          </p:cNvSpPr>
          <p:nvPr>
            <p:ph type="title"/>
          </p:nvPr>
        </p:nvSpPr>
        <p:spPr>
          <a:xfrm>
            <a:off x="1764325" y="892075"/>
            <a:ext cx="3889375" cy="708025"/>
          </a:xfrm>
        </p:spPr>
        <p:txBody>
          <a:bodyPr vert="horz" anchor="t">
            <a:normAutofit/>
          </a:bodyPr>
          <a:lstStyle>
            <a:lvl1pPr>
              <a:defRPr sz="4000"/>
            </a:lvl1pPr>
          </a:lstStyle>
          <a:p>
            <a:r>
              <a:rPr lang="en-US"/>
              <a:t>Click to edit</a:t>
            </a:r>
          </a:p>
        </p:txBody>
      </p:sp>
      <p:sp>
        <p:nvSpPr>
          <p:cNvPr id="32" name="Text Placeholder 31">
            <a:extLst>
              <a:ext uri="{FF2B5EF4-FFF2-40B4-BE49-F238E27FC236}">
                <a16:creationId xmlns:a16="http://schemas.microsoft.com/office/drawing/2014/main" id="{021D16C6-644F-55D9-1B5D-6FA0E0EE4120}"/>
              </a:ext>
            </a:extLst>
          </p:cNvPr>
          <p:cNvSpPr>
            <a:spLocks noGrp="1"/>
          </p:cNvSpPr>
          <p:nvPr>
            <p:ph type="body" sz="quarter" idx="20" hasCustomPrompt="1"/>
          </p:nvPr>
        </p:nvSpPr>
        <p:spPr>
          <a:xfrm>
            <a:off x="1763713" y="1730972"/>
            <a:ext cx="3889375" cy="369888"/>
          </a:xfrm>
        </p:spPr>
        <p:txBody>
          <a:bodyPr>
            <a:noAutofit/>
          </a:bodyPr>
          <a:lstStyle>
            <a:lvl1pPr marL="0" indent="0">
              <a:buNone/>
              <a:defRPr sz="1800"/>
            </a:lvl1pPr>
            <a:lvl2pPr marL="182880" indent="0">
              <a:buNone/>
              <a:defRPr sz="1800"/>
            </a:lvl2pPr>
            <a:lvl3pPr marL="365760" indent="0">
              <a:buNone/>
              <a:defRPr sz="1800"/>
            </a:lvl3pPr>
            <a:lvl4pPr marL="548640" indent="0">
              <a:buNone/>
              <a:defRPr sz="1800"/>
            </a:lvl4pPr>
            <a:lvl5pPr marL="731520" indent="0">
              <a:buNone/>
              <a:defRPr sz="1800"/>
            </a:lvl5pPr>
          </a:lstStyle>
          <a:p>
            <a:pPr lvl="0"/>
            <a:r>
              <a:rPr lang="en-US"/>
              <a:t>Sample headline</a:t>
            </a:r>
          </a:p>
        </p:txBody>
      </p:sp>
      <p:sp>
        <p:nvSpPr>
          <p:cNvPr id="37" name="Picture Placeholder 35">
            <a:extLst>
              <a:ext uri="{FF2B5EF4-FFF2-40B4-BE49-F238E27FC236}">
                <a16:creationId xmlns:a16="http://schemas.microsoft.com/office/drawing/2014/main" id="{A01E6A62-A0FA-65E2-9652-4185F1BB297F}"/>
              </a:ext>
            </a:extLst>
          </p:cNvPr>
          <p:cNvSpPr>
            <a:spLocks noGrp="1"/>
          </p:cNvSpPr>
          <p:nvPr>
            <p:ph type="pic" sz="quarter" idx="21"/>
          </p:nvPr>
        </p:nvSpPr>
        <p:spPr>
          <a:xfrm>
            <a:off x="-509" y="3429000"/>
            <a:ext cx="6391275" cy="3429000"/>
          </a:xfrm>
          <a:solidFill>
            <a:schemeClr val="tx2"/>
          </a:solidFill>
        </p:spPr>
        <p:txBody>
          <a:bodyPr/>
          <a:lstStyle/>
          <a:p>
            <a:endParaRPr lang="en-US"/>
          </a:p>
        </p:txBody>
      </p:sp>
      <p:sp>
        <p:nvSpPr>
          <p:cNvPr id="40" name="Picture Placeholder 38">
            <a:extLst>
              <a:ext uri="{FF2B5EF4-FFF2-40B4-BE49-F238E27FC236}">
                <a16:creationId xmlns:a16="http://schemas.microsoft.com/office/drawing/2014/main" id="{B2974A7E-8502-28F4-DB3B-6AE03780148F}"/>
              </a:ext>
            </a:extLst>
          </p:cNvPr>
          <p:cNvSpPr>
            <a:spLocks noGrp="1"/>
          </p:cNvSpPr>
          <p:nvPr>
            <p:ph type="pic" sz="quarter" idx="22"/>
          </p:nvPr>
        </p:nvSpPr>
        <p:spPr>
          <a:xfrm>
            <a:off x="8759825" y="-575"/>
            <a:ext cx="3432175" cy="3443288"/>
          </a:xfrm>
          <a:solidFill>
            <a:schemeClr val="tx2"/>
          </a:solidFill>
        </p:spPr>
        <p:txBody>
          <a:bodyPr/>
          <a:lstStyle/>
          <a:p>
            <a:endParaRPr lang="en-US"/>
          </a:p>
        </p:txBody>
      </p:sp>
      <p:sp>
        <p:nvSpPr>
          <p:cNvPr id="43" name="Picture Placeholder 41">
            <a:extLst>
              <a:ext uri="{FF2B5EF4-FFF2-40B4-BE49-F238E27FC236}">
                <a16:creationId xmlns:a16="http://schemas.microsoft.com/office/drawing/2014/main" id="{E78693DE-635A-78EC-F158-E50E017E9F56}"/>
              </a:ext>
            </a:extLst>
          </p:cNvPr>
          <p:cNvSpPr>
            <a:spLocks noGrp="1"/>
          </p:cNvSpPr>
          <p:nvPr>
            <p:ph type="pic" sz="quarter" idx="23"/>
          </p:nvPr>
        </p:nvSpPr>
        <p:spPr>
          <a:xfrm>
            <a:off x="8763000" y="3429000"/>
            <a:ext cx="3429000" cy="2728891"/>
          </a:xfrm>
          <a:solidFill>
            <a:schemeClr val="accent3"/>
          </a:solidFill>
        </p:spPr>
        <p:txBody>
          <a:bodyPr/>
          <a:lstStyle/>
          <a:p>
            <a:endParaRPr lang="en-US"/>
          </a:p>
        </p:txBody>
      </p:sp>
      <p:sp>
        <p:nvSpPr>
          <p:cNvPr id="12" name="Footer Placeholder 11">
            <a:extLst>
              <a:ext uri="{FF2B5EF4-FFF2-40B4-BE49-F238E27FC236}">
                <a16:creationId xmlns:a16="http://schemas.microsoft.com/office/drawing/2014/main" id="{1679A4BE-FF48-E123-1060-A9F794555737}"/>
              </a:ext>
            </a:extLst>
          </p:cNvPr>
          <p:cNvSpPr>
            <a:spLocks noGrp="1"/>
          </p:cNvSpPr>
          <p:nvPr>
            <p:ph type="ftr" sz="quarter" idx="24"/>
          </p:nvPr>
        </p:nvSpPr>
        <p:spPr>
          <a:xfrm>
            <a:off x="419101" y="6398540"/>
            <a:ext cx="8039526" cy="153888"/>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24050573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ample Layout_10">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2819684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Google Shape;314;p14">
            <a:extLst>
              <a:ext uri="{FF2B5EF4-FFF2-40B4-BE49-F238E27FC236}">
                <a16:creationId xmlns:a16="http://schemas.microsoft.com/office/drawing/2014/main" id="{DEB73398-1981-A772-985E-22A02C66CC40}"/>
              </a:ext>
            </a:extLst>
          </p:cNvPr>
          <p:cNvSpPr/>
          <p:nvPr userDrawn="1"/>
        </p:nvSpPr>
        <p:spPr>
          <a:xfrm>
            <a:off x="0" y="2286001"/>
            <a:ext cx="2870200" cy="2286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 name="Google Shape;315;p14">
            <a:extLst>
              <a:ext uri="{FF2B5EF4-FFF2-40B4-BE49-F238E27FC236}">
                <a16:creationId xmlns:a16="http://schemas.microsoft.com/office/drawing/2014/main" id="{5D6014ED-3F00-D087-FE83-6F78C8913193}"/>
              </a:ext>
            </a:extLst>
          </p:cNvPr>
          <p:cNvSpPr/>
          <p:nvPr userDrawn="1"/>
        </p:nvSpPr>
        <p:spPr>
          <a:xfrm>
            <a:off x="2870200" y="1"/>
            <a:ext cx="2870200" cy="2286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 name="Google Shape;316;p14">
            <a:extLst>
              <a:ext uri="{FF2B5EF4-FFF2-40B4-BE49-F238E27FC236}">
                <a16:creationId xmlns:a16="http://schemas.microsoft.com/office/drawing/2014/main" id="{8746D1AE-B5FF-C65B-C343-21996AE9613F}"/>
              </a:ext>
            </a:extLst>
          </p:cNvPr>
          <p:cNvSpPr/>
          <p:nvPr userDrawn="1"/>
        </p:nvSpPr>
        <p:spPr>
          <a:xfrm>
            <a:off x="2870200" y="4572001"/>
            <a:ext cx="2870200" cy="2286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8" name="Google Shape;327;p14">
            <a:extLst>
              <a:ext uri="{FF2B5EF4-FFF2-40B4-BE49-F238E27FC236}">
                <a16:creationId xmlns:a16="http://schemas.microsoft.com/office/drawing/2014/main" id="{5C5CE71A-2F82-C990-EE06-2790A1269E56}"/>
              </a:ext>
            </a:extLst>
          </p:cNvPr>
          <p:cNvCxnSpPr>
            <a:cxnSpLocks/>
          </p:cNvCxnSpPr>
          <p:nvPr userDrawn="1"/>
        </p:nvCxnSpPr>
        <p:spPr>
          <a:xfrm>
            <a:off x="7097713" y="4384265"/>
            <a:ext cx="1344325" cy="0"/>
          </a:xfrm>
          <a:prstGeom prst="straightConnector1">
            <a:avLst/>
          </a:prstGeom>
          <a:noFill/>
          <a:ln w="28575" cap="flat" cmpd="sng">
            <a:solidFill>
              <a:schemeClr val="accent4"/>
            </a:solidFill>
            <a:prstDash val="solid"/>
            <a:miter lim="800000"/>
            <a:headEnd type="none" w="sm" len="sm"/>
            <a:tailEnd type="none" w="sm" len="sm"/>
          </a:ln>
        </p:spPr>
      </p:cxnSp>
      <p:pic>
        <p:nvPicPr>
          <p:cNvPr id="19" name="Picture 18" descr="A logo with a black background&#10;&#10;Description automatically generated">
            <a:extLst>
              <a:ext uri="{FF2B5EF4-FFF2-40B4-BE49-F238E27FC236}">
                <a16:creationId xmlns:a16="http://schemas.microsoft.com/office/drawing/2014/main" id="{FDE31A45-11B3-D5D8-4564-84174E21783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863081" y="5128945"/>
            <a:ext cx="2197848" cy="928955"/>
          </a:xfrm>
          <a:prstGeom prst="rect">
            <a:avLst/>
          </a:prstGeom>
        </p:spPr>
      </p:pic>
      <p:sp>
        <p:nvSpPr>
          <p:cNvPr id="22" name="Picture Placeholder 20">
            <a:extLst>
              <a:ext uri="{FF2B5EF4-FFF2-40B4-BE49-F238E27FC236}">
                <a16:creationId xmlns:a16="http://schemas.microsoft.com/office/drawing/2014/main" id="{A4007A8D-C319-8C6E-4DF4-E1B072BE33D5}"/>
              </a:ext>
            </a:extLst>
          </p:cNvPr>
          <p:cNvSpPr>
            <a:spLocks noGrp="1"/>
          </p:cNvSpPr>
          <p:nvPr>
            <p:ph type="pic" sz="quarter" idx="10"/>
          </p:nvPr>
        </p:nvSpPr>
        <p:spPr>
          <a:xfrm>
            <a:off x="0" y="0"/>
            <a:ext cx="2870200" cy="2286000"/>
          </a:xfrm>
          <a:solidFill>
            <a:schemeClr val="tx2"/>
          </a:solidFill>
        </p:spPr>
        <p:txBody>
          <a:bodyPr/>
          <a:lstStyle/>
          <a:p>
            <a:endParaRPr lang="en-US"/>
          </a:p>
        </p:txBody>
      </p:sp>
      <p:sp>
        <p:nvSpPr>
          <p:cNvPr id="25" name="Picture Placeholder 23">
            <a:extLst>
              <a:ext uri="{FF2B5EF4-FFF2-40B4-BE49-F238E27FC236}">
                <a16:creationId xmlns:a16="http://schemas.microsoft.com/office/drawing/2014/main" id="{8C249680-9953-A485-9084-B45C1C76F71A}"/>
              </a:ext>
            </a:extLst>
          </p:cNvPr>
          <p:cNvSpPr>
            <a:spLocks noGrp="1"/>
          </p:cNvSpPr>
          <p:nvPr>
            <p:ph type="pic" sz="quarter" idx="11"/>
          </p:nvPr>
        </p:nvSpPr>
        <p:spPr>
          <a:xfrm>
            <a:off x="0" y="4572001"/>
            <a:ext cx="2870200" cy="2286000"/>
          </a:xfrm>
          <a:solidFill>
            <a:schemeClr val="tx2"/>
          </a:solidFill>
        </p:spPr>
        <p:txBody>
          <a:bodyPr/>
          <a:lstStyle/>
          <a:p>
            <a:endParaRPr lang="en-US"/>
          </a:p>
        </p:txBody>
      </p:sp>
      <p:sp>
        <p:nvSpPr>
          <p:cNvPr id="28" name="Picture Placeholder 26">
            <a:extLst>
              <a:ext uri="{FF2B5EF4-FFF2-40B4-BE49-F238E27FC236}">
                <a16:creationId xmlns:a16="http://schemas.microsoft.com/office/drawing/2014/main" id="{BFA87BB0-A865-AE31-D0E2-52701760B355}"/>
              </a:ext>
            </a:extLst>
          </p:cNvPr>
          <p:cNvSpPr>
            <a:spLocks noGrp="1"/>
          </p:cNvSpPr>
          <p:nvPr>
            <p:ph type="pic" sz="quarter" idx="12"/>
          </p:nvPr>
        </p:nvSpPr>
        <p:spPr>
          <a:xfrm>
            <a:off x="2870200" y="2286001"/>
            <a:ext cx="2870200" cy="2286000"/>
          </a:xfrm>
          <a:solidFill>
            <a:schemeClr val="tx2"/>
          </a:solidFill>
        </p:spPr>
        <p:txBody>
          <a:bodyPr/>
          <a:lstStyle/>
          <a:p>
            <a:endParaRPr lang="en-US"/>
          </a:p>
        </p:txBody>
      </p:sp>
      <p:sp>
        <p:nvSpPr>
          <p:cNvPr id="29" name="Title 28">
            <a:extLst>
              <a:ext uri="{FF2B5EF4-FFF2-40B4-BE49-F238E27FC236}">
                <a16:creationId xmlns:a16="http://schemas.microsoft.com/office/drawing/2014/main" id="{2B3E391E-3107-9361-8249-1EC8A11F5DB6}"/>
              </a:ext>
            </a:extLst>
          </p:cNvPr>
          <p:cNvSpPr>
            <a:spLocks noGrp="1"/>
          </p:cNvSpPr>
          <p:nvPr>
            <p:ph type="title" hasCustomPrompt="1"/>
          </p:nvPr>
        </p:nvSpPr>
        <p:spPr>
          <a:xfrm>
            <a:off x="7097713" y="1644386"/>
            <a:ext cx="3211513" cy="1754188"/>
          </a:xfrm>
        </p:spPr>
        <p:txBody>
          <a:bodyPr vert="horz">
            <a:noAutofit/>
          </a:bodyPr>
          <a:lstStyle>
            <a:lvl1pPr>
              <a:defRPr sz="4800"/>
            </a:lvl1pPr>
          </a:lstStyle>
          <a:p>
            <a:r>
              <a:rPr lang="en-US"/>
              <a:t>SAMPLE TITLE</a:t>
            </a:r>
          </a:p>
        </p:txBody>
      </p:sp>
      <p:sp>
        <p:nvSpPr>
          <p:cNvPr id="35" name="Text Placeholder 34">
            <a:extLst>
              <a:ext uri="{FF2B5EF4-FFF2-40B4-BE49-F238E27FC236}">
                <a16:creationId xmlns:a16="http://schemas.microsoft.com/office/drawing/2014/main" id="{DE0FEA96-DC54-F6B9-5B16-8A80B1439B2E}"/>
              </a:ext>
            </a:extLst>
          </p:cNvPr>
          <p:cNvSpPr>
            <a:spLocks noGrp="1"/>
          </p:cNvSpPr>
          <p:nvPr>
            <p:ph type="body" sz="quarter" idx="13" hasCustomPrompt="1"/>
          </p:nvPr>
        </p:nvSpPr>
        <p:spPr>
          <a:xfrm>
            <a:off x="7097713" y="3582673"/>
            <a:ext cx="3211513" cy="369888"/>
          </a:xfrm>
        </p:spPr>
        <p:txBody>
          <a:bodyPr>
            <a:noAutofit/>
          </a:bodyPr>
          <a:lstStyle>
            <a:lvl1pPr marL="0" indent="0">
              <a:buNone/>
              <a:defRPr sz="1800"/>
            </a:lvl1pPr>
          </a:lstStyle>
          <a:p>
            <a:pPr lvl="0"/>
            <a:r>
              <a:rPr lang="en-US"/>
              <a:t>Sample small title</a:t>
            </a:r>
          </a:p>
        </p:txBody>
      </p:sp>
      <p:sp>
        <p:nvSpPr>
          <p:cNvPr id="37" name="Text Placeholder 36">
            <a:extLst>
              <a:ext uri="{FF2B5EF4-FFF2-40B4-BE49-F238E27FC236}">
                <a16:creationId xmlns:a16="http://schemas.microsoft.com/office/drawing/2014/main" id="{23F42EEC-7646-28B1-FEBD-D49CAD175DAB}"/>
              </a:ext>
            </a:extLst>
          </p:cNvPr>
          <p:cNvSpPr>
            <a:spLocks noGrp="1"/>
          </p:cNvSpPr>
          <p:nvPr>
            <p:ph type="body" sz="quarter" idx="14" hasCustomPrompt="1"/>
          </p:nvPr>
        </p:nvSpPr>
        <p:spPr>
          <a:xfrm>
            <a:off x="3125788" y="1327387"/>
            <a:ext cx="1925638" cy="368300"/>
          </a:xfrm>
        </p:spPr>
        <p:txBody>
          <a:bodyPr>
            <a:normAutofit/>
          </a:bodyPr>
          <a:lstStyle>
            <a:lvl1pPr marL="0" indent="0">
              <a:buNone/>
              <a:defRPr sz="1800" b="1">
                <a:solidFill>
                  <a:schemeClr val="bg1"/>
                </a:solidFill>
              </a:defRPr>
            </a:lvl1pPr>
          </a:lstStyle>
          <a:p>
            <a:pPr lvl="0"/>
            <a:r>
              <a:rPr lang="en-US"/>
              <a:t>Sample title</a:t>
            </a:r>
          </a:p>
        </p:txBody>
      </p:sp>
      <p:sp>
        <p:nvSpPr>
          <p:cNvPr id="38" name="Text Placeholder 36">
            <a:extLst>
              <a:ext uri="{FF2B5EF4-FFF2-40B4-BE49-F238E27FC236}">
                <a16:creationId xmlns:a16="http://schemas.microsoft.com/office/drawing/2014/main" id="{CD195F09-B242-214B-1346-0F0D1D1B2CF6}"/>
              </a:ext>
            </a:extLst>
          </p:cNvPr>
          <p:cNvSpPr>
            <a:spLocks noGrp="1"/>
          </p:cNvSpPr>
          <p:nvPr>
            <p:ph type="body" sz="quarter" idx="15" hasCustomPrompt="1"/>
          </p:nvPr>
        </p:nvSpPr>
        <p:spPr>
          <a:xfrm>
            <a:off x="234950" y="3574156"/>
            <a:ext cx="1925638" cy="368300"/>
          </a:xfrm>
        </p:spPr>
        <p:txBody>
          <a:bodyPr>
            <a:normAutofit/>
          </a:bodyPr>
          <a:lstStyle>
            <a:lvl1pPr marL="0" indent="0">
              <a:buNone/>
              <a:defRPr sz="1800" b="1">
                <a:solidFill>
                  <a:schemeClr val="bg1"/>
                </a:solidFill>
              </a:defRPr>
            </a:lvl1pPr>
          </a:lstStyle>
          <a:p>
            <a:pPr lvl="0"/>
            <a:r>
              <a:rPr lang="en-US"/>
              <a:t>Sample title</a:t>
            </a:r>
          </a:p>
        </p:txBody>
      </p:sp>
      <p:sp>
        <p:nvSpPr>
          <p:cNvPr id="39" name="Text Placeholder 36">
            <a:extLst>
              <a:ext uri="{FF2B5EF4-FFF2-40B4-BE49-F238E27FC236}">
                <a16:creationId xmlns:a16="http://schemas.microsoft.com/office/drawing/2014/main" id="{A32081A8-FA0D-3FDF-8A3E-077C7409C890}"/>
              </a:ext>
            </a:extLst>
          </p:cNvPr>
          <p:cNvSpPr>
            <a:spLocks noGrp="1"/>
          </p:cNvSpPr>
          <p:nvPr>
            <p:ph type="body" sz="quarter" idx="16" hasCustomPrompt="1"/>
          </p:nvPr>
        </p:nvSpPr>
        <p:spPr>
          <a:xfrm>
            <a:off x="3144838" y="5902382"/>
            <a:ext cx="1925638" cy="368300"/>
          </a:xfrm>
        </p:spPr>
        <p:txBody>
          <a:bodyPr>
            <a:normAutofit/>
          </a:bodyPr>
          <a:lstStyle>
            <a:lvl1pPr marL="0" indent="0">
              <a:buNone/>
              <a:defRPr sz="1800" b="1">
                <a:solidFill>
                  <a:schemeClr val="tx1"/>
                </a:solidFill>
              </a:defRPr>
            </a:lvl1pPr>
          </a:lstStyle>
          <a:p>
            <a:pPr lvl="0"/>
            <a:r>
              <a:rPr lang="en-US"/>
              <a:t>Sample title</a:t>
            </a:r>
          </a:p>
        </p:txBody>
      </p:sp>
      <p:sp>
        <p:nvSpPr>
          <p:cNvPr id="41" name="Text Placeholder 40">
            <a:extLst>
              <a:ext uri="{FF2B5EF4-FFF2-40B4-BE49-F238E27FC236}">
                <a16:creationId xmlns:a16="http://schemas.microsoft.com/office/drawing/2014/main" id="{F23BE336-5AF9-0214-E5C1-A02CD6166EAE}"/>
              </a:ext>
            </a:extLst>
          </p:cNvPr>
          <p:cNvSpPr>
            <a:spLocks noGrp="1"/>
          </p:cNvSpPr>
          <p:nvPr>
            <p:ph type="body" sz="quarter" idx="17" hasCustomPrompt="1"/>
          </p:nvPr>
        </p:nvSpPr>
        <p:spPr>
          <a:xfrm>
            <a:off x="3126562" y="1633576"/>
            <a:ext cx="1925638" cy="369888"/>
          </a:xfrm>
        </p:spPr>
        <p:txBody>
          <a:bodyPr>
            <a:noAutofit/>
          </a:bodyPr>
          <a:lstStyle>
            <a:lvl1pPr marL="0" indent="0">
              <a:buNone/>
              <a:defRPr sz="1800">
                <a:solidFill>
                  <a:schemeClr val="bg1"/>
                </a:solidFill>
              </a:defRPr>
            </a:lvl1pPr>
          </a:lstStyle>
          <a:p>
            <a:pPr lvl="0"/>
            <a:r>
              <a:rPr lang="en-US"/>
              <a:t>Sample</a:t>
            </a:r>
          </a:p>
        </p:txBody>
      </p:sp>
      <p:sp>
        <p:nvSpPr>
          <p:cNvPr id="42" name="Text Placeholder 40">
            <a:extLst>
              <a:ext uri="{FF2B5EF4-FFF2-40B4-BE49-F238E27FC236}">
                <a16:creationId xmlns:a16="http://schemas.microsoft.com/office/drawing/2014/main" id="{1DAE5523-1E68-0EFF-EB40-D42A1EB4EBFE}"/>
              </a:ext>
            </a:extLst>
          </p:cNvPr>
          <p:cNvSpPr>
            <a:spLocks noGrp="1"/>
          </p:cNvSpPr>
          <p:nvPr>
            <p:ph type="body" sz="quarter" idx="18" hasCustomPrompt="1"/>
          </p:nvPr>
        </p:nvSpPr>
        <p:spPr>
          <a:xfrm>
            <a:off x="234663" y="3880345"/>
            <a:ext cx="1925638" cy="369888"/>
          </a:xfrm>
        </p:spPr>
        <p:txBody>
          <a:bodyPr>
            <a:noAutofit/>
          </a:bodyPr>
          <a:lstStyle>
            <a:lvl1pPr marL="0" indent="0">
              <a:buNone/>
              <a:defRPr sz="1800">
                <a:solidFill>
                  <a:schemeClr val="bg1"/>
                </a:solidFill>
              </a:defRPr>
            </a:lvl1pPr>
          </a:lstStyle>
          <a:p>
            <a:pPr lvl="0"/>
            <a:r>
              <a:rPr lang="en-US"/>
              <a:t>Sample</a:t>
            </a:r>
          </a:p>
        </p:txBody>
      </p:sp>
      <p:sp>
        <p:nvSpPr>
          <p:cNvPr id="43" name="Text Placeholder 40">
            <a:extLst>
              <a:ext uri="{FF2B5EF4-FFF2-40B4-BE49-F238E27FC236}">
                <a16:creationId xmlns:a16="http://schemas.microsoft.com/office/drawing/2014/main" id="{19DD38DD-9496-6A81-B192-65ACD8483D99}"/>
              </a:ext>
            </a:extLst>
          </p:cNvPr>
          <p:cNvSpPr>
            <a:spLocks noGrp="1"/>
          </p:cNvSpPr>
          <p:nvPr>
            <p:ph type="body" sz="quarter" idx="19" hasCustomPrompt="1"/>
          </p:nvPr>
        </p:nvSpPr>
        <p:spPr>
          <a:xfrm>
            <a:off x="3144838" y="6208571"/>
            <a:ext cx="1925638" cy="369888"/>
          </a:xfrm>
        </p:spPr>
        <p:txBody>
          <a:bodyPr>
            <a:noAutofit/>
          </a:bodyPr>
          <a:lstStyle>
            <a:lvl1pPr marL="0" indent="0">
              <a:buNone/>
              <a:defRPr sz="1800">
                <a:solidFill>
                  <a:schemeClr val="tx1"/>
                </a:solidFill>
              </a:defRPr>
            </a:lvl1pPr>
          </a:lstStyle>
          <a:p>
            <a:pPr lvl="0"/>
            <a:r>
              <a:rPr lang="en-US"/>
              <a:t>Sample</a:t>
            </a:r>
          </a:p>
        </p:txBody>
      </p:sp>
    </p:spTree>
    <p:extLst>
      <p:ext uri="{BB962C8B-B14F-4D97-AF65-F5344CB8AC3E}">
        <p14:creationId xmlns:p14="http://schemas.microsoft.com/office/powerpoint/2010/main" val="33717882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ample Layout_11">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623334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332;p15">
            <a:extLst>
              <a:ext uri="{FF2B5EF4-FFF2-40B4-BE49-F238E27FC236}">
                <a16:creationId xmlns:a16="http://schemas.microsoft.com/office/drawing/2014/main" id="{EFDCCCD3-99CF-1D83-2B82-F4159425E4B3}"/>
              </a:ext>
            </a:extLst>
          </p:cNvPr>
          <p:cNvSpPr/>
          <p:nvPr userDrawn="1"/>
        </p:nvSpPr>
        <p:spPr>
          <a:xfrm>
            <a:off x="7689197" y="0"/>
            <a:ext cx="4502804" cy="6858000"/>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 name="Google Shape;333;p15">
            <a:extLst>
              <a:ext uri="{FF2B5EF4-FFF2-40B4-BE49-F238E27FC236}">
                <a16:creationId xmlns:a16="http://schemas.microsoft.com/office/drawing/2014/main" id="{A80F68E1-11A2-1808-69BF-A0C155F6789D}"/>
              </a:ext>
            </a:extLst>
          </p:cNvPr>
          <p:cNvSpPr/>
          <p:nvPr userDrawn="1"/>
        </p:nvSpPr>
        <p:spPr>
          <a:xfrm>
            <a:off x="7689196" y="800100"/>
            <a:ext cx="1753057" cy="1753057"/>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 name="Google Shape;334;p15">
            <a:extLst>
              <a:ext uri="{FF2B5EF4-FFF2-40B4-BE49-F238E27FC236}">
                <a16:creationId xmlns:a16="http://schemas.microsoft.com/office/drawing/2014/main" id="{ED3355BE-BF39-081E-C847-EB850DD49916}"/>
              </a:ext>
            </a:extLst>
          </p:cNvPr>
          <p:cNvSpPr/>
          <p:nvPr userDrawn="1"/>
        </p:nvSpPr>
        <p:spPr>
          <a:xfrm>
            <a:off x="5936139" y="2552471"/>
            <a:ext cx="1753057" cy="1753057"/>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 name="Google Shape;335;p15">
            <a:extLst>
              <a:ext uri="{FF2B5EF4-FFF2-40B4-BE49-F238E27FC236}">
                <a16:creationId xmlns:a16="http://schemas.microsoft.com/office/drawing/2014/main" id="{D3908DF3-36ED-E582-36E1-A65E92EF6797}"/>
              </a:ext>
            </a:extLst>
          </p:cNvPr>
          <p:cNvSpPr/>
          <p:nvPr userDrawn="1"/>
        </p:nvSpPr>
        <p:spPr>
          <a:xfrm>
            <a:off x="9442253" y="2552471"/>
            <a:ext cx="1753057" cy="1753057"/>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 name="Google Shape;336;p15">
            <a:extLst>
              <a:ext uri="{FF2B5EF4-FFF2-40B4-BE49-F238E27FC236}">
                <a16:creationId xmlns:a16="http://schemas.microsoft.com/office/drawing/2014/main" id="{DEA9A1C3-FF74-2781-6597-AFBDC37BE4A6}"/>
              </a:ext>
            </a:extLst>
          </p:cNvPr>
          <p:cNvSpPr/>
          <p:nvPr userDrawn="1"/>
        </p:nvSpPr>
        <p:spPr>
          <a:xfrm>
            <a:off x="7689196" y="4304843"/>
            <a:ext cx="1753057" cy="1753057"/>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7" name="Google Shape;346;p15">
            <a:extLst>
              <a:ext uri="{FF2B5EF4-FFF2-40B4-BE49-F238E27FC236}">
                <a16:creationId xmlns:a16="http://schemas.microsoft.com/office/drawing/2014/main" id="{02B54590-D359-A6E8-132F-C461FAD31C52}"/>
              </a:ext>
            </a:extLst>
          </p:cNvPr>
          <p:cNvCxnSpPr/>
          <p:nvPr userDrawn="1"/>
        </p:nvCxnSpPr>
        <p:spPr>
          <a:xfrm>
            <a:off x="-12" y="800090"/>
            <a:ext cx="2172900" cy="0"/>
          </a:xfrm>
          <a:prstGeom prst="straightConnector1">
            <a:avLst/>
          </a:prstGeom>
          <a:noFill/>
          <a:ln w="28575" cap="flat" cmpd="sng">
            <a:solidFill>
              <a:schemeClr val="accent4"/>
            </a:solidFill>
            <a:prstDash val="solid"/>
            <a:miter lim="800000"/>
            <a:headEnd type="none" w="sm" len="sm"/>
            <a:tailEnd type="none" w="sm" len="sm"/>
          </a:ln>
        </p:spPr>
      </p:cxnSp>
      <p:pic>
        <p:nvPicPr>
          <p:cNvPr id="18" name="Picture 17" descr="A logo with a black background&#10;&#10;Description automatically generated">
            <a:extLst>
              <a:ext uri="{FF2B5EF4-FFF2-40B4-BE49-F238E27FC236}">
                <a16:creationId xmlns:a16="http://schemas.microsoft.com/office/drawing/2014/main" id="{BFAF1127-9D5E-3375-C1C8-010E9481170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71435" y="5310011"/>
            <a:ext cx="2197848" cy="928955"/>
          </a:xfrm>
          <a:prstGeom prst="rect">
            <a:avLst/>
          </a:prstGeom>
        </p:spPr>
      </p:pic>
      <p:sp>
        <p:nvSpPr>
          <p:cNvPr id="19" name="Title 18">
            <a:extLst>
              <a:ext uri="{FF2B5EF4-FFF2-40B4-BE49-F238E27FC236}">
                <a16:creationId xmlns:a16="http://schemas.microsoft.com/office/drawing/2014/main" id="{2A940701-2BA5-3B80-7A09-560299C4BF74}"/>
              </a:ext>
            </a:extLst>
          </p:cNvPr>
          <p:cNvSpPr>
            <a:spLocks noGrp="1"/>
          </p:cNvSpPr>
          <p:nvPr>
            <p:ph type="title" hasCustomPrompt="1"/>
          </p:nvPr>
        </p:nvSpPr>
        <p:spPr>
          <a:xfrm>
            <a:off x="996949" y="1712629"/>
            <a:ext cx="4102100" cy="1200150"/>
          </a:xfrm>
        </p:spPr>
        <p:txBody>
          <a:bodyPr vert="horz">
            <a:normAutofit/>
          </a:bodyPr>
          <a:lstStyle>
            <a:lvl1pPr>
              <a:defRPr sz="3600"/>
            </a:lvl1pPr>
          </a:lstStyle>
          <a:p>
            <a:r>
              <a:rPr lang="en-US"/>
              <a:t>SAMPLE HEADLINE</a:t>
            </a:r>
          </a:p>
        </p:txBody>
      </p:sp>
      <p:sp>
        <p:nvSpPr>
          <p:cNvPr id="25" name="Text Placeholder 24">
            <a:extLst>
              <a:ext uri="{FF2B5EF4-FFF2-40B4-BE49-F238E27FC236}">
                <a16:creationId xmlns:a16="http://schemas.microsoft.com/office/drawing/2014/main" id="{1A332516-8328-3349-7124-D1A2FC24FE01}"/>
              </a:ext>
            </a:extLst>
          </p:cNvPr>
          <p:cNvSpPr>
            <a:spLocks noGrp="1"/>
          </p:cNvSpPr>
          <p:nvPr>
            <p:ph type="body" sz="quarter" idx="10" hasCustomPrompt="1"/>
          </p:nvPr>
        </p:nvSpPr>
        <p:spPr>
          <a:xfrm>
            <a:off x="996949" y="1405391"/>
            <a:ext cx="4102100" cy="368300"/>
          </a:xfrm>
        </p:spPr>
        <p:txBody>
          <a:bodyPr>
            <a:noAutofit/>
          </a:bodyPr>
          <a:lstStyle>
            <a:lvl1pPr marL="0" indent="0">
              <a:buNone/>
              <a:defRPr sz="1800"/>
            </a:lvl1pPr>
          </a:lstStyle>
          <a:p>
            <a:pPr lvl="0"/>
            <a:r>
              <a:rPr lang="en-US"/>
              <a:t>Sample title</a:t>
            </a:r>
          </a:p>
        </p:txBody>
      </p:sp>
      <p:sp>
        <p:nvSpPr>
          <p:cNvPr id="28" name="Text Placeholder 27">
            <a:extLst>
              <a:ext uri="{FF2B5EF4-FFF2-40B4-BE49-F238E27FC236}">
                <a16:creationId xmlns:a16="http://schemas.microsoft.com/office/drawing/2014/main" id="{FDE8B246-26CD-0A5D-A51F-3EF6DDACC6A2}"/>
              </a:ext>
            </a:extLst>
          </p:cNvPr>
          <p:cNvSpPr>
            <a:spLocks noGrp="1"/>
          </p:cNvSpPr>
          <p:nvPr>
            <p:ph type="body" sz="quarter" idx="11"/>
          </p:nvPr>
        </p:nvSpPr>
        <p:spPr>
          <a:xfrm>
            <a:off x="997691" y="3175643"/>
            <a:ext cx="4102100" cy="1754188"/>
          </a:xfrm>
        </p:spPr>
        <p:txBody>
          <a:bodyPr>
            <a:noAutofit/>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Picture Placeholder 29">
            <a:extLst>
              <a:ext uri="{FF2B5EF4-FFF2-40B4-BE49-F238E27FC236}">
                <a16:creationId xmlns:a16="http://schemas.microsoft.com/office/drawing/2014/main" id="{01D17C81-7F67-6206-ED38-60248D0EA2A9}"/>
              </a:ext>
            </a:extLst>
          </p:cNvPr>
          <p:cNvSpPr>
            <a:spLocks noGrp="1"/>
          </p:cNvSpPr>
          <p:nvPr>
            <p:ph type="pic" sz="quarter" idx="12"/>
          </p:nvPr>
        </p:nvSpPr>
        <p:spPr>
          <a:xfrm>
            <a:off x="5935009" y="800557"/>
            <a:ext cx="1754188" cy="1752600"/>
          </a:xfrm>
          <a:solidFill>
            <a:schemeClr val="tx2"/>
          </a:solidFill>
        </p:spPr>
        <p:txBody>
          <a:bodyPr/>
          <a:lstStyle/>
          <a:p>
            <a:endParaRPr lang="en-US"/>
          </a:p>
        </p:txBody>
      </p:sp>
      <p:sp>
        <p:nvSpPr>
          <p:cNvPr id="34" name="Picture Placeholder 32">
            <a:extLst>
              <a:ext uri="{FF2B5EF4-FFF2-40B4-BE49-F238E27FC236}">
                <a16:creationId xmlns:a16="http://schemas.microsoft.com/office/drawing/2014/main" id="{B36F1371-9047-5B8F-0306-43A28E9C89E6}"/>
              </a:ext>
            </a:extLst>
          </p:cNvPr>
          <p:cNvSpPr>
            <a:spLocks noGrp="1"/>
          </p:cNvSpPr>
          <p:nvPr>
            <p:ph type="pic" sz="quarter" idx="13"/>
          </p:nvPr>
        </p:nvSpPr>
        <p:spPr>
          <a:xfrm>
            <a:off x="9442253" y="800101"/>
            <a:ext cx="1752600" cy="1752600"/>
          </a:xfrm>
          <a:solidFill>
            <a:schemeClr val="tx2"/>
          </a:solidFill>
        </p:spPr>
        <p:txBody>
          <a:bodyPr/>
          <a:lstStyle/>
          <a:p>
            <a:endParaRPr lang="en-US"/>
          </a:p>
        </p:txBody>
      </p:sp>
      <p:sp>
        <p:nvSpPr>
          <p:cNvPr id="37" name="Picture Placeholder 35">
            <a:extLst>
              <a:ext uri="{FF2B5EF4-FFF2-40B4-BE49-F238E27FC236}">
                <a16:creationId xmlns:a16="http://schemas.microsoft.com/office/drawing/2014/main" id="{E16BB587-0493-1383-A1BE-99BD73E9120B}"/>
              </a:ext>
            </a:extLst>
          </p:cNvPr>
          <p:cNvSpPr>
            <a:spLocks noGrp="1"/>
          </p:cNvSpPr>
          <p:nvPr>
            <p:ph type="pic" sz="quarter" idx="14"/>
          </p:nvPr>
        </p:nvSpPr>
        <p:spPr>
          <a:xfrm>
            <a:off x="7689197" y="2552928"/>
            <a:ext cx="1752600" cy="1752600"/>
          </a:xfrm>
          <a:solidFill>
            <a:schemeClr val="tx2"/>
          </a:solidFill>
        </p:spPr>
        <p:txBody>
          <a:bodyPr/>
          <a:lstStyle/>
          <a:p>
            <a:endParaRPr lang="en-US"/>
          </a:p>
        </p:txBody>
      </p:sp>
      <p:sp>
        <p:nvSpPr>
          <p:cNvPr id="40" name="Picture Placeholder 38">
            <a:extLst>
              <a:ext uri="{FF2B5EF4-FFF2-40B4-BE49-F238E27FC236}">
                <a16:creationId xmlns:a16="http://schemas.microsoft.com/office/drawing/2014/main" id="{ED41663E-D0C5-861D-E4EC-A882A0AC5EDF}"/>
              </a:ext>
            </a:extLst>
          </p:cNvPr>
          <p:cNvSpPr>
            <a:spLocks noGrp="1"/>
          </p:cNvSpPr>
          <p:nvPr>
            <p:ph type="pic" sz="quarter" idx="15"/>
          </p:nvPr>
        </p:nvSpPr>
        <p:spPr>
          <a:xfrm>
            <a:off x="9442253" y="4304844"/>
            <a:ext cx="1752600" cy="1752600"/>
          </a:xfrm>
          <a:solidFill>
            <a:schemeClr val="tx2"/>
          </a:solidFill>
        </p:spPr>
        <p:txBody>
          <a:bodyPr/>
          <a:lstStyle/>
          <a:p>
            <a:endParaRPr lang="en-US"/>
          </a:p>
        </p:txBody>
      </p:sp>
      <p:sp>
        <p:nvSpPr>
          <p:cNvPr id="43" name="Picture Placeholder 41">
            <a:extLst>
              <a:ext uri="{FF2B5EF4-FFF2-40B4-BE49-F238E27FC236}">
                <a16:creationId xmlns:a16="http://schemas.microsoft.com/office/drawing/2014/main" id="{E2F9DA35-B8AB-C8B8-DDF1-74C8FEE28F5E}"/>
              </a:ext>
            </a:extLst>
          </p:cNvPr>
          <p:cNvSpPr>
            <a:spLocks noGrp="1"/>
          </p:cNvSpPr>
          <p:nvPr>
            <p:ph type="pic" sz="quarter" idx="16"/>
          </p:nvPr>
        </p:nvSpPr>
        <p:spPr>
          <a:xfrm>
            <a:off x="5936140" y="4305300"/>
            <a:ext cx="1754188" cy="1752600"/>
          </a:xfrm>
          <a:solidFill>
            <a:schemeClr val="tx2"/>
          </a:solidFill>
        </p:spPr>
        <p:txBody>
          <a:bodyPr/>
          <a:lstStyle/>
          <a:p>
            <a:endParaRPr lang="en-US"/>
          </a:p>
        </p:txBody>
      </p:sp>
      <p:sp>
        <p:nvSpPr>
          <p:cNvPr id="15" name="Footer Placeholder 14">
            <a:extLst>
              <a:ext uri="{FF2B5EF4-FFF2-40B4-BE49-F238E27FC236}">
                <a16:creationId xmlns:a16="http://schemas.microsoft.com/office/drawing/2014/main" id="{A9C18027-9E61-5E75-D168-6164D9E06DCD}"/>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7024540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9"/>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lvl1pPr algn="ctr">
              <a:defRPr sz="1000" b="1" i="1">
                <a:solidFill>
                  <a:schemeClr val="tx1">
                    <a:tint val="75000"/>
                  </a:schemeClr>
                </a:solidFill>
              </a:defRPr>
            </a:lvl1pPr>
          </a:lstStyle>
          <a:p>
            <a:fld id="{77B53D6F-C4CB-420C-A086-675310C7E811}" type="slidenum">
              <a:rPr lang="en-US" smtClean="0"/>
              <a:pPr/>
              <a:t>‹#›</a:t>
            </a:fld>
            <a:endParaRPr lang="en-US"/>
          </a:p>
        </p:txBody>
      </p:sp>
    </p:spTree>
    <p:extLst>
      <p:ext uri="{BB962C8B-B14F-4D97-AF65-F5344CB8AC3E}">
        <p14:creationId xmlns:p14="http://schemas.microsoft.com/office/powerpoint/2010/main" val="13024007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ample Layout_12">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2499655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364;p17">
            <a:extLst>
              <a:ext uri="{FF2B5EF4-FFF2-40B4-BE49-F238E27FC236}">
                <a16:creationId xmlns:a16="http://schemas.microsoft.com/office/drawing/2014/main" id="{6765D164-3D13-7C11-BD5B-1EADE2E02816}"/>
              </a:ext>
            </a:extLst>
          </p:cNvPr>
          <p:cNvSpPr/>
          <p:nvPr userDrawn="1"/>
        </p:nvSpPr>
        <p:spPr>
          <a:xfrm>
            <a:off x="5613722" y="3549486"/>
            <a:ext cx="6578278" cy="3308514"/>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 name="Google Shape;369;p17">
            <a:extLst>
              <a:ext uri="{FF2B5EF4-FFF2-40B4-BE49-F238E27FC236}">
                <a16:creationId xmlns:a16="http://schemas.microsoft.com/office/drawing/2014/main" id="{3516ED0B-42AE-F360-E7E3-1BD15F763232}"/>
              </a:ext>
            </a:extLst>
          </p:cNvPr>
          <p:cNvSpPr/>
          <p:nvPr userDrawn="1"/>
        </p:nvSpPr>
        <p:spPr>
          <a:xfrm>
            <a:off x="10545999" y="0"/>
            <a:ext cx="1646001" cy="3549486"/>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 name="Picture 15" descr="A logo with a black background&#10;&#10;Description automatically generated">
            <a:extLst>
              <a:ext uri="{FF2B5EF4-FFF2-40B4-BE49-F238E27FC236}">
                <a16:creationId xmlns:a16="http://schemas.microsoft.com/office/drawing/2014/main" id="{3EEE6227-E404-DD5B-D50E-EEB7A23FE3A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76937" y="909070"/>
            <a:ext cx="2197848" cy="928955"/>
          </a:xfrm>
          <a:prstGeom prst="rect">
            <a:avLst/>
          </a:prstGeom>
        </p:spPr>
      </p:pic>
      <p:sp>
        <p:nvSpPr>
          <p:cNvPr id="17" name="Rectangle 16">
            <a:extLst>
              <a:ext uri="{FF2B5EF4-FFF2-40B4-BE49-F238E27FC236}">
                <a16:creationId xmlns:a16="http://schemas.microsoft.com/office/drawing/2014/main" id="{542D8B30-05BE-7BC0-596A-41DA0A7BAF52}"/>
              </a:ext>
            </a:extLst>
          </p:cNvPr>
          <p:cNvSpPr/>
          <p:nvPr userDrawn="1"/>
        </p:nvSpPr>
        <p:spPr>
          <a:xfrm>
            <a:off x="5991003" y="3989332"/>
            <a:ext cx="396875" cy="3952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1F57027-BD74-8889-0FE8-A1DD7FA5FA83}"/>
              </a:ext>
            </a:extLst>
          </p:cNvPr>
          <p:cNvSpPr/>
          <p:nvPr userDrawn="1"/>
        </p:nvSpPr>
        <p:spPr>
          <a:xfrm>
            <a:off x="6495153" y="3989332"/>
            <a:ext cx="396875" cy="3952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9D204CFE-C7A5-A6D0-8A52-6CA89A11B557}"/>
              </a:ext>
            </a:extLst>
          </p:cNvPr>
          <p:cNvSpPr/>
          <p:nvPr userDrawn="1"/>
        </p:nvSpPr>
        <p:spPr>
          <a:xfrm>
            <a:off x="6999302" y="3989332"/>
            <a:ext cx="396875" cy="3952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Picture Placeholder 24">
            <a:extLst>
              <a:ext uri="{FF2B5EF4-FFF2-40B4-BE49-F238E27FC236}">
                <a16:creationId xmlns:a16="http://schemas.microsoft.com/office/drawing/2014/main" id="{DE144F57-24CD-B5C3-AFF1-EEACDE77E4C1}"/>
              </a:ext>
            </a:extLst>
          </p:cNvPr>
          <p:cNvSpPr>
            <a:spLocks noGrp="1"/>
          </p:cNvSpPr>
          <p:nvPr>
            <p:ph type="pic" sz="quarter" idx="16"/>
          </p:nvPr>
        </p:nvSpPr>
        <p:spPr>
          <a:xfrm>
            <a:off x="5613639" y="2"/>
            <a:ext cx="4932363" cy="3549650"/>
          </a:xfrm>
          <a:solidFill>
            <a:schemeClr val="tx2"/>
          </a:solidFill>
        </p:spPr>
        <p:txBody>
          <a:bodyPr/>
          <a:lstStyle/>
          <a:p>
            <a:endParaRPr lang="en-US"/>
          </a:p>
        </p:txBody>
      </p:sp>
      <p:sp>
        <p:nvSpPr>
          <p:cNvPr id="27" name="Title 26">
            <a:extLst>
              <a:ext uri="{FF2B5EF4-FFF2-40B4-BE49-F238E27FC236}">
                <a16:creationId xmlns:a16="http://schemas.microsoft.com/office/drawing/2014/main" id="{9B223E74-03D9-A6EF-D80F-43D7882BB89C}"/>
              </a:ext>
            </a:extLst>
          </p:cNvPr>
          <p:cNvSpPr>
            <a:spLocks noGrp="1"/>
          </p:cNvSpPr>
          <p:nvPr>
            <p:ph type="title"/>
          </p:nvPr>
        </p:nvSpPr>
        <p:spPr>
          <a:xfrm>
            <a:off x="971550" y="2536765"/>
            <a:ext cx="3810000" cy="1077913"/>
          </a:xfrm>
        </p:spPr>
        <p:txBody>
          <a:bodyPr vert="horz">
            <a:normAutofit/>
          </a:bodyPr>
          <a:lstStyle>
            <a:lvl1pPr>
              <a:defRPr sz="3200"/>
            </a:lvl1pPr>
          </a:lstStyle>
          <a:p>
            <a:r>
              <a:rPr lang="en-US"/>
              <a:t>Click to edit Master title style</a:t>
            </a:r>
          </a:p>
        </p:txBody>
      </p:sp>
      <p:sp>
        <p:nvSpPr>
          <p:cNvPr id="33" name="Text Placeholder 32">
            <a:extLst>
              <a:ext uri="{FF2B5EF4-FFF2-40B4-BE49-F238E27FC236}">
                <a16:creationId xmlns:a16="http://schemas.microsoft.com/office/drawing/2014/main" id="{B75D6AFB-3842-CE3A-B0A0-7D4DF0088C0B}"/>
              </a:ext>
            </a:extLst>
          </p:cNvPr>
          <p:cNvSpPr>
            <a:spLocks noGrp="1"/>
          </p:cNvSpPr>
          <p:nvPr>
            <p:ph type="body" sz="quarter" idx="17" hasCustomPrompt="1"/>
          </p:nvPr>
        </p:nvSpPr>
        <p:spPr>
          <a:xfrm>
            <a:off x="971550" y="2231142"/>
            <a:ext cx="3810000" cy="306388"/>
          </a:xfrm>
        </p:spPr>
        <p:txBody>
          <a:bodyPr>
            <a:normAutofit/>
          </a:bodyPr>
          <a:lstStyle>
            <a:lvl1pPr marL="0" indent="0">
              <a:buNone/>
              <a:defRPr sz="1400"/>
            </a:lvl1pPr>
          </a:lstStyle>
          <a:p>
            <a:pPr lvl="0"/>
            <a:r>
              <a:rPr lang="en-US"/>
              <a:t>Our Service</a:t>
            </a:r>
          </a:p>
        </p:txBody>
      </p:sp>
      <p:sp>
        <p:nvSpPr>
          <p:cNvPr id="36" name="Text Placeholder 35">
            <a:extLst>
              <a:ext uri="{FF2B5EF4-FFF2-40B4-BE49-F238E27FC236}">
                <a16:creationId xmlns:a16="http://schemas.microsoft.com/office/drawing/2014/main" id="{5D711B85-98CC-6F2E-DAB6-44A18866B42E}"/>
              </a:ext>
            </a:extLst>
          </p:cNvPr>
          <p:cNvSpPr>
            <a:spLocks noGrp="1"/>
          </p:cNvSpPr>
          <p:nvPr>
            <p:ph type="body" sz="quarter" idx="18"/>
          </p:nvPr>
        </p:nvSpPr>
        <p:spPr>
          <a:xfrm>
            <a:off x="971550" y="3990737"/>
            <a:ext cx="3810000" cy="1477963"/>
          </a:xfrm>
        </p:spPr>
        <p:txBody>
          <a:bodyPr>
            <a:noAutofit/>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35">
            <a:extLst>
              <a:ext uri="{FF2B5EF4-FFF2-40B4-BE49-F238E27FC236}">
                <a16:creationId xmlns:a16="http://schemas.microsoft.com/office/drawing/2014/main" id="{1C094583-FFF8-E92B-62E4-CCBDD20CCD22}"/>
              </a:ext>
            </a:extLst>
          </p:cNvPr>
          <p:cNvSpPr>
            <a:spLocks noGrp="1"/>
          </p:cNvSpPr>
          <p:nvPr>
            <p:ph type="body" sz="quarter" idx="19"/>
          </p:nvPr>
        </p:nvSpPr>
        <p:spPr>
          <a:xfrm>
            <a:off x="5991650" y="4777789"/>
            <a:ext cx="5781250" cy="923925"/>
          </a:xfrm>
        </p:spPr>
        <p:txBody>
          <a:bodyPr>
            <a:noAutofit/>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Footer Placeholder 40">
            <a:extLst>
              <a:ext uri="{FF2B5EF4-FFF2-40B4-BE49-F238E27FC236}">
                <a16:creationId xmlns:a16="http://schemas.microsoft.com/office/drawing/2014/main" id="{57BAA898-582C-1A01-A675-0762BB683290}"/>
              </a:ext>
            </a:extLst>
          </p:cNvPr>
          <p:cNvSpPr>
            <a:spLocks noGrp="1"/>
          </p:cNvSpPr>
          <p:nvPr>
            <p:ph type="ftr" sz="quarter" idx="20"/>
          </p:nvPr>
        </p:nvSpPr>
        <p:spPr/>
        <p:txBody>
          <a:bodyPr/>
          <a:lstStyle/>
          <a:p>
            <a:endParaRPr lang="en-US"/>
          </a:p>
        </p:txBody>
      </p:sp>
    </p:spTree>
    <p:extLst>
      <p:ext uri="{BB962C8B-B14F-4D97-AF65-F5344CB8AC3E}">
        <p14:creationId xmlns:p14="http://schemas.microsoft.com/office/powerpoint/2010/main" val="29513124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ample Layout_13">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1136937771"/>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379;p18">
            <a:extLst>
              <a:ext uri="{FF2B5EF4-FFF2-40B4-BE49-F238E27FC236}">
                <a16:creationId xmlns:a16="http://schemas.microsoft.com/office/drawing/2014/main" id="{C34E640E-F267-E34C-ADE6-363059B33EE2}"/>
              </a:ext>
            </a:extLst>
          </p:cNvPr>
          <p:cNvSpPr/>
          <p:nvPr userDrawn="1"/>
        </p:nvSpPr>
        <p:spPr>
          <a:xfrm>
            <a:off x="0" y="0"/>
            <a:ext cx="3119400" cy="6858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 name="Picture 9" descr="A logo with a black background&#10;&#10;Description automatically generated">
            <a:extLst>
              <a:ext uri="{FF2B5EF4-FFF2-40B4-BE49-F238E27FC236}">
                <a16:creationId xmlns:a16="http://schemas.microsoft.com/office/drawing/2014/main" id="{5C13425B-1473-27F5-96CC-4E284F1B23B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995796" y="5407075"/>
            <a:ext cx="2197848" cy="928955"/>
          </a:xfrm>
          <a:prstGeom prst="rect">
            <a:avLst/>
          </a:prstGeom>
        </p:spPr>
      </p:pic>
      <p:sp>
        <p:nvSpPr>
          <p:cNvPr id="15" name="Picture Placeholder 14">
            <a:extLst>
              <a:ext uri="{FF2B5EF4-FFF2-40B4-BE49-F238E27FC236}">
                <a16:creationId xmlns:a16="http://schemas.microsoft.com/office/drawing/2014/main" id="{CEC65B6C-75B6-1171-44AA-CBA5BC3A0042}"/>
              </a:ext>
            </a:extLst>
          </p:cNvPr>
          <p:cNvSpPr>
            <a:spLocks noGrp="1"/>
          </p:cNvSpPr>
          <p:nvPr>
            <p:ph type="pic" sz="quarter" idx="10"/>
          </p:nvPr>
        </p:nvSpPr>
        <p:spPr>
          <a:xfrm>
            <a:off x="833212" y="789587"/>
            <a:ext cx="4525963" cy="5280025"/>
          </a:xfrm>
          <a:custGeom>
            <a:avLst/>
            <a:gdLst>
              <a:gd name="connsiteX0" fmla="*/ 0 w 4525963"/>
              <a:gd name="connsiteY0" fmla="*/ 0 h 5280025"/>
              <a:gd name="connsiteX1" fmla="*/ 4525963 w 4525963"/>
              <a:gd name="connsiteY1" fmla="*/ 0 h 5280025"/>
              <a:gd name="connsiteX2" fmla="*/ 4525963 w 4525963"/>
              <a:gd name="connsiteY2" fmla="*/ 1385237 h 5280025"/>
              <a:gd name="connsiteX3" fmla="*/ 2286945 w 4525963"/>
              <a:gd name="connsiteY3" fmla="*/ 1385237 h 5280025"/>
              <a:gd name="connsiteX4" fmla="*/ 2286945 w 4525963"/>
              <a:gd name="connsiteY4" fmla="*/ 5280025 h 5280025"/>
              <a:gd name="connsiteX5" fmla="*/ 0 w 4525963"/>
              <a:gd name="connsiteY5" fmla="*/ 5280025 h 528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5963" h="5280025">
                <a:moveTo>
                  <a:pt x="0" y="0"/>
                </a:moveTo>
                <a:lnTo>
                  <a:pt x="4525963" y="0"/>
                </a:lnTo>
                <a:lnTo>
                  <a:pt x="4525963" y="1385237"/>
                </a:lnTo>
                <a:lnTo>
                  <a:pt x="2286945" y="1385237"/>
                </a:lnTo>
                <a:lnTo>
                  <a:pt x="2286945" y="5280025"/>
                </a:lnTo>
                <a:lnTo>
                  <a:pt x="0" y="5280025"/>
                </a:lnTo>
                <a:close/>
              </a:path>
            </a:pathLst>
          </a:custGeom>
          <a:solidFill>
            <a:schemeClr val="tx2"/>
          </a:solidFill>
          <a:ln>
            <a:noFill/>
          </a:ln>
        </p:spPr>
        <p:txBody>
          <a:bodyPr wrap="square">
            <a:noAutofit/>
          </a:bodyPr>
          <a:lstStyle/>
          <a:p>
            <a:endParaRPr lang="en-US"/>
          </a:p>
        </p:txBody>
      </p:sp>
      <p:sp>
        <p:nvSpPr>
          <p:cNvPr id="18" name="Picture Placeholder 16">
            <a:extLst>
              <a:ext uri="{FF2B5EF4-FFF2-40B4-BE49-F238E27FC236}">
                <a16:creationId xmlns:a16="http://schemas.microsoft.com/office/drawing/2014/main" id="{C56A8C88-643B-BC61-814B-AB7503D9FA35}"/>
              </a:ext>
            </a:extLst>
          </p:cNvPr>
          <p:cNvSpPr>
            <a:spLocks noGrp="1"/>
          </p:cNvSpPr>
          <p:nvPr>
            <p:ph type="pic" sz="quarter" idx="11"/>
          </p:nvPr>
        </p:nvSpPr>
        <p:spPr>
          <a:xfrm>
            <a:off x="3120157" y="2173887"/>
            <a:ext cx="3338513" cy="3895725"/>
          </a:xfrm>
          <a:solidFill>
            <a:schemeClr val="accent3"/>
          </a:solidFill>
        </p:spPr>
        <p:txBody>
          <a:bodyPr/>
          <a:lstStyle/>
          <a:p>
            <a:endParaRPr lang="en-US"/>
          </a:p>
        </p:txBody>
      </p:sp>
      <p:sp>
        <p:nvSpPr>
          <p:cNvPr id="19" name="Title 18">
            <a:extLst>
              <a:ext uri="{FF2B5EF4-FFF2-40B4-BE49-F238E27FC236}">
                <a16:creationId xmlns:a16="http://schemas.microsoft.com/office/drawing/2014/main" id="{54854FD0-DB78-8A8A-467C-2E31C5197638}"/>
              </a:ext>
            </a:extLst>
          </p:cNvPr>
          <p:cNvSpPr>
            <a:spLocks noGrp="1"/>
          </p:cNvSpPr>
          <p:nvPr>
            <p:ph type="title" hasCustomPrompt="1"/>
          </p:nvPr>
        </p:nvSpPr>
        <p:spPr>
          <a:xfrm>
            <a:off x="7208516" y="1386621"/>
            <a:ext cx="4103688" cy="1076325"/>
          </a:xfrm>
        </p:spPr>
        <p:txBody>
          <a:bodyPr vert="horz">
            <a:normAutofit/>
          </a:bodyPr>
          <a:lstStyle>
            <a:lvl1pPr>
              <a:defRPr sz="3200"/>
            </a:lvl1pPr>
          </a:lstStyle>
          <a:p>
            <a:r>
              <a:rPr lang="en-US"/>
              <a:t>SAMPLE HEADLINE</a:t>
            </a:r>
          </a:p>
        </p:txBody>
      </p:sp>
      <p:sp>
        <p:nvSpPr>
          <p:cNvPr id="25" name="Text Placeholder 24">
            <a:extLst>
              <a:ext uri="{FF2B5EF4-FFF2-40B4-BE49-F238E27FC236}">
                <a16:creationId xmlns:a16="http://schemas.microsoft.com/office/drawing/2014/main" id="{3C8FD2B0-79F7-5527-ECBE-144EBD281206}"/>
              </a:ext>
            </a:extLst>
          </p:cNvPr>
          <p:cNvSpPr>
            <a:spLocks noGrp="1"/>
          </p:cNvSpPr>
          <p:nvPr>
            <p:ph type="body" sz="quarter" idx="12" hasCustomPrompt="1"/>
          </p:nvPr>
        </p:nvSpPr>
        <p:spPr>
          <a:xfrm>
            <a:off x="7208516" y="1077793"/>
            <a:ext cx="4103688" cy="307975"/>
          </a:xfrm>
        </p:spPr>
        <p:txBody>
          <a:bodyPr>
            <a:normAutofit/>
          </a:bodyPr>
          <a:lstStyle>
            <a:lvl1pPr marL="0" indent="0">
              <a:buNone/>
              <a:defRPr sz="1400"/>
            </a:lvl1pPr>
          </a:lstStyle>
          <a:p>
            <a:pPr lvl="0"/>
            <a:r>
              <a:rPr lang="en-US"/>
              <a:t>Our Services</a:t>
            </a:r>
          </a:p>
        </p:txBody>
      </p:sp>
      <p:sp>
        <p:nvSpPr>
          <p:cNvPr id="27" name="Text Placeholder 26">
            <a:extLst>
              <a:ext uri="{FF2B5EF4-FFF2-40B4-BE49-F238E27FC236}">
                <a16:creationId xmlns:a16="http://schemas.microsoft.com/office/drawing/2014/main" id="{2DEE50CC-D88F-5A61-77B9-5C38FBA69635}"/>
              </a:ext>
            </a:extLst>
          </p:cNvPr>
          <p:cNvSpPr>
            <a:spLocks noGrp="1"/>
          </p:cNvSpPr>
          <p:nvPr>
            <p:ph type="body" sz="quarter" idx="13"/>
          </p:nvPr>
        </p:nvSpPr>
        <p:spPr>
          <a:xfrm>
            <a:off x="7208516" y="2429183"/>
            <a:ext cx="4103688" cy="2308225"/>
          </a:xfrm>
        </p:spPr>
        <p:txBody>
          <a:bodyPr>
            <a:noAutofit/>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439216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ample Layout_14">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2710970144"/>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6" name="Google Shape;395;p19">
            <a:extLst>
              <a:ext uri="{FF2B5EF4-FFF2-40B4-BE49-F238E27FC236}">
                <a16:creationId xmlns:a16="http://schemas.microsoft.com/office/drawing/2014/main" id="{B45CA4CF-DA5F-6859-850E-8F0C4E685FF0}"/>
              </a:ext>
            </a:extLst>
          </p:cNvPr>
          <p:cNvSpPr/>
          <p:nvPr userDrawn="1"/>
        </p:nvSpPr>
        <p:spPr>
          <a:xfrm>
            <a:off x="6261905" y="0"/>
            <a:ext cx="5225246" cy="4120587"/>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 name="Google Shape;396;p19">
            <a:extLst>
              <a:ext uri="{FF2B5EF4-FFF2-40B4-BE49-F238E27FC236}">
                <a16:creationId xmlns:a16="http://schemas.microsoft.com/office/drawing/2014/main" id="{71172AA2-F003-2AB6-8426-81A1EDA20C4E}"/>
              </a:ext>
            </a:extLst>
          </p:cNvPr>
          <p:cNvSpPr/>
          <p:nvPr userDrawn="1"/>
        </p:nvSpPr>
        <p:spPr>
          <a:xfrm>
            <a:off x="1229640" y="4120587"/>
            <a:ext cx="5032265" cy="2737413"/>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 name="Picture Placeholder 11">
            <a:extLst>
              <a:ext uri="{FF2B5EF4-FFF2-40B4-BE49-F238E27FC236}">
                <a16:creationId xmlns:a16="http://schemas.microsoft.com/office/drawing/2014/main" id="{1A6263BB-6147-0A24-37D3-DBADBE00BBBF}"/>
              </a:ext>
            </a:extLst>
          </p:cNvPr>
          <p:cNvSpPr>
            <a:spLocks noGrp="1"/>
          </p:cNvSpPr>
          <p:nvPr>
            <p:ph type="pic" sz="quarter" idx="10"/>
          </p:nvPr>
        </p:nvSpPr>
        <p:spPr>
          <a:xfrm>
            <a:off x="7220096" y="949250"/>
            <a:ext cx="4267055" cy="5291893"/>
          </a:xfrm>
          <a:solidFill>
            <a:schemeClr val="tx2"/>
          </a:solidFill>
          <a:ln>
            <a:noFill/>
          </a:ln>
        </p:spPr>
        <p:txBody>
          <a:bodyPr/>
          <a:lstStyle/>
          <a:p>
            <a:endParaRPr lang="en-US"/>
          </a:p>
        </p:txBody>
      </p:sp>
      <p:sp>
        <p:nvSpPr>
          <p:cNvPr id="15" name="Text Placeholder 14">
            <a:extLst>
              <a:ext uri="{FF2B5EF4-FFF2-40B4-BE49-F238E27FC236}">
                <a16:creationId xmlns:a16="http://schemas.microsoft.com/office/drawing/2014/main" id="{2972C7A4-6E85-8435-7C1B-D6B38D7E22FA}"/>
              </a:ext>
            </a:extLst>
          </p:cNvPr>
          <p:cNvSpPr>
            <a:spLocks noGrp="1"/>
          </p:cNvSpPr>
          <p:nvPr>
            <p:ph type="body" sz="quarter" idx="11" hasCustomPrompt="1"/>
          </p:nvPr>
        </p:nvSpPr>
        <p:spPr>
          <a:xfrm>
            <a:off x="1706562" y="4673476"/>
            <a:ext cx="4025900" cy="338138"/>
          </a:xfrm>
        </p:spPr>
        <p:txBody>
          <a:bodyPr>
            <a:normAutofit/>
          </a:bodyPr>
          <a:lstStyle>
            <a:lvl1pPr marL="0" indent="0">
              <a:buNone/>
              <a:defRPr sz="1600">
                <a:solidFill>
                  <a:schemeClr val="bg1"/>
                </a:solidFill>
              </a:defRPr>
            </a:lvl1pPr>
          </a:lstStyle>
          <a:p>
            <a:pPr lvl="0"/>
            <a:r>
              <a:rPr lang="en-US"/>
              <a:t>Our Services</a:t>
            </a:r>
          </a:p>
        </p:txBody>
      </p:sp>
      <p:sp>
        <p:nvSpPr>
          <p:cNvPr id="17" name="Text Placeholder 16">
            <a:extLst>
              <a:ext uri="{FF2B5EF4-FFF2-40B4-BE49-F238E27FC236}">
                <a16:creationId xmlns:a16="http://schemas.microsoft.com/office/drawing/2014/main" id="{0656C942-9C1C-5560-8A0B-60C7B6EECF07}"/>
              </a:ext>
            </a:extLst>
          </p:cNvPr>
          <p:cNvSpPr>
            <a:spLocks noGrp="1"/>
          </p:cNvSpPr>
          <p:nvPr>
            <p:ph type="body" sz="quarter" idx="12"/>
          </p:nvPr>
        </p:nvSpPr>
        <p:spPr>
          <a:xfrm>
            <a:off x="1707243" y="5113328"/>
            <a:ext cx="4025900" cy="923925"/>
          </a:xfrm>
        </p:spPr>
        <p:txBody>
          <a:bodyPr/>
          <a:lstStyle>
            <a:lvl1pPr marL="0" indent="0">
              <a:lnSpc>
                <a:spcPct val="150000"/>
              </a:lnSpc>
              <a:buNone/>
              <a:defRPr>
                <a:solidFill>
                  <a:schemeClr val="bg1"/>
                </a:solidFill>
              </a:defRPr>
            </a:lvl1pPr>
            <a:lvl2pPr marL="182880" indent="0">
              <a:lnSpc>
                <a:spcPct val="150000"/>
              </a:lnSpc>
              <a:buNone/>
              <a:defRPr>
                <a:solidFill>
                  <a:schemeClr val="bg1"/>
                </a:solidFill>
              </a:defRPr>
            </a:lvl2pPr>
            <a:lvl3pPr marL="365760" indent="0">
              <a:lnSpc>
                <a:spcPct val="150000"/>
              </a:lnSpc>
              <a:buNone/>
              <a:defRPr>
                <a:solidFill>
                  <a:schemeClr val="bg1"/>
                </a:solidFill>
              </a:defRPr>
            </a:lvl3pPr>
            <a:lvl4pPr marL="548640" indent="0">
              <a:lnSpc>
                <a:spcPct val="150000"/>
              </a:lnSpc>
              <a:buNone/>
              <a:defRPr>
                <a:solidFill>
                  <a:schemeClr val="bg1"/>
                </a:solidFill>
              </a:defRPr>
            </a:lvl4pPr>
            <a:lvl5pPr marL="731520" indent="0">
              <a:lnSpc>
                <a:spcPct val="150000"/>
              </a:lnSpc>
              <a:buNone/>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76768012-0E5E-BF19-5A93-F3A8AF5336CF}"/>
              </a:ext>
            </a:extLst>
          </p:cNvPr>
          <p:cNvSpPr>
            <a:spLocks noGrp="1"/>
          </p:cNvSpPr>
          <p:nvPr>
            <p:ph type="body" sz="quarter" idx="13"/>
          </p:nvPr>
        </p:nvSpPr>
        <p:spPr>
          <a:xfrm>
            <a:off x="1230631" y="2585713"/>
            <a:ext cx="4102100" cy="923925"/>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itle 19">
            <a:extLst>
              <a:ext uri="{FF2B5EF4-FFF2-40B4-BE49-F238E27FC236}">
                <a16:creationId xmlns:a16="http://schemas.microsoft.com/office/drawing/2014/main" id="{839440F4-9F08-545D-1C1A-681CD7D99446}"/>
              </a:ext>
            </a:extLst>
          </p:cNvPr>
          <p:cNvSpPr>
            <a:spLocks noGrp="1"/>
          </p:cNvSpPr>
          <p:nvPr>
            <p:ph type="title" hasCustomPrompt="1"/>
          </p:nvPr>
        </p:nvSpPr>
        <p:spPr>
          <a:xfrm>
            <a:off x="1230631" y="1078693"/>
            <a:ext cx="4102100" cy="1200150"/>
          </a:xfrm>
        </p:spPr>
        <p:txBody>
          <a:bodyPr vert="horz">
            <a:normAutofit/>
          </a:bodyPr>
          <a:lstStyle>
            <a:lvl1pPr>
              <a:defRPr sz="3600"/>
            </a:lvl1pPr>
          </a:lstStyle>
          <a:p>
            <a:r>
              <a:rPr lang="en-US"/>
              <a:t>SAMPLE HEADLINE</a:t>
            </a:r>
          </a:p>
        </p:txBody>
      </p:sp>
      <p:sp>
        <p:nvSpPr>
          <p:cNvPr id="26" name="Text Placeholder 25">
            <a:extLst>
              <a:ext uri="{FF2B5EF4-FFF2-40B4-BE49-F238E27FC236}">
                <a16:creationId xmlns:a16="http://schemas.microsoft.com/office/drawing/2014/main" id="{86651C78-CCFD-C561-5E2F-3331E21B1287}"/>
              </a:ext>
            </a:extLst>
          </p:cNvPr>
          <p:cNvSpPr>
            <a:spLocks noGrp="1"/>
          </p:cNvSpPr>
          <p:nvPr>
            <p:ph type="body" sz="quarter" idx="14" hasCustomPrompt="1"/>
          </p:nvPr>
        </p:nvSpPr>
        <p:spPr>
          <a:xfrm>
            <a:off x="1230312" y="770268"/>
            <a:ext cx="4102100" cy="307975"/>
          </a:xfrm>
        </p:spPr>
        <p:txBody>
          <a:bodyPr>
            <a:normAutofit/>
          </a:bodyPr>
          <a:lstStyle>
            <a:lvl1pPr marL="0" indent="0">
              <a:buNone/>
              <a:defRPr sz="1400"/>
            </a:lvl1pPr>
          </a:lstStyle>
          <a:p>
            <a:pPr lvl="0"/>
            <a:r>
              <a:rPr lang="en-US"/>
              <a:t>Our Services</a:t>
            </a:r>
          </a:p>
        </p:txBody>
      </p:sp>
      <p:sp>
        <p:nvSpPr>
          <p:cNvPr id="8" name="Footer Placeholder 7">
            <a:extLst>
              <a:ext uri="{FF2B5EF4-FFF2-40B4-BE49-F238E27FC236}">
                <a16:creationId xmlns:a16="http://schemas.microsoft.com/office/drawing/2014/main" id="{0974C28B-7DCC-4055-FA84-DE72D5980A68}"/>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02814672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ample Layout_15">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3287730723"/>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404;p20">
            <a:extLst>
              <a:ext uri="{FF2B5EF4-FFF2-40B4-BE49-F238E27FC236}">
                <a16:creationId xmlns:a16="http://schemas.microsoft.com/office/drawing/2014/main" id="{A903436A-302F-46F3-BFCF-D578741CA7DD}"/>
              </a:ext>
            </a:extLst>
          </p:cNvPr>
          <p:cNvSpPr/>
          <p:nvPr userDrawn="1"/>
        </p:nvSpPr>
        <p:spPr>
          <a:xfrm>
            <a:off x="638889" y="1"/>
            <a:ext cx="2846149" cy="2240212"/>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3" name="Google Shape;405;p20">
            <a:extLst>
              <a:ext uri="{FF2B5EF4-FFF2-40B4-BE49-F238E27FC236}">
                <a16:creationId xmlns:a16="http://schemas.microsoft.com/office/drawing/2014/main" id="{5A9BFB5F-F9EE-B8D3-9F6A-FAFCAB856740}"/>
              </a:ext>
            </a:extLst>
          </p:cNvPr>
          <p:cNvCxnSpPr/>
          <p:nvPr userDrawn="1"/>
        </p:nvCxnSpPr>
        <p:spPr>
          <a:xfrm>
            <a:off x="322253" y="5237525"/>
            <a:ext cx="0" cy="1620600"/>
          </a:xfrm>
          <a:prstGeom prst="straightConnector1">
            <a:avLst/>
          </a:prstGeom>
          <a:noFill/>
          <a:ln w="28575" cap="flat" cmpd="sng">
            <a:solidFill>
              <a:schemeClr val="accent4"/>
            </a:solidFill>
            <a:prstDash val="solid"/>
            <a:miter lim="800000"/>
            <a:headEnd type="none" w="sm" len="sm"/>
            <a:tailEnd type="none" w="sm" len="sm"/>
          </a:ln>
        </p:spPr>
      </p:cxnSp>
      <p:pic>
        <p:nvPicPr>
          <p:cNvPr id="10" name="Picture 9" descr="A logo with a black background&#10;&#10;Description automatically generated">
            <a:extLst>
              <a:ext uri="{FF2B5EF4-FFF2-40B4-BE49-F238E27FC236}">
                <a16:creationId xmlns:a16="http://schemas.microsoft.com/office/drawing/2014/main" id="{4DAD2312-EEF3-76B7-DD99-8ECFD0C6674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234500" y="1082725"/>
            <a:ext cx="2197848" cy="928955"/>
          </a:xfrm>
          <a:prstGeom prst="rect">
            <a:avLst/>
          </a:prstGeom>
        </p:spPr>
      </p:pic>
      <p:sp>
        <p:nvSpPr>
          <p:cNvPr id="16" name="Picture Placeholder 13">
            <a:extLst>
              <a:ext uri="{FF2B5EF4-FFF2-40B4-BE49-F238E27FC236}">
                <a16:creationId xmlns:a16="http://schemas.microsoft.com/office/drawing/2014/main" id="{5A0E377A-D735-BFDA-C1E3-A40F99039028}"/>
              </a:ext>
            </a:extLst>
          </p:cNvPr>
          <p:cNvSpPr>
            <a:spLocks noGrp="1"/>
          </p:cNvSpPr>
          <p:nvPr>
            <p:ph type="pic" sz="quarter" idx="10"/>
          </p:nvPr>
        </p:nvSpPr>
        <p:spPr>
          <a:xfrm>
            <a:off x="638602" y="2239962"/>
            <a:ext cx="2846388" cy="4618038"/>
          </a:xfrm>
          <a:solidFill>
            <a:schemeClr val="tx2"/>
          </a:solidFill>
        </p:spPr>
        <p:txBody>
          <a:bodyPr/>
          <a:lstStyle/>
          <a:p>
            <a:endParaRPr lang="en-US"/>
          </a:p>
        </p:txBody>
      </p:sp>
      <p:sp>
        <p:nvSpPr>
          <p:cNvPr id="19" name="Picture Placeholder 17">
            <a:extLst>
              <a:ext uri="{FF2B5EF4-FFF2-40B4-BE49-F238E27FC236}">
                <a16:creationId xmlns:a16="http://schemas.microsoft.com/office/drawing/2014/main" id="{B81123E3-3E3E-60CD-C689-34E53E7B0BEF}"/>
              </a:ext>
            </a:extLst>
          </p:cNvPr>
          <p:cNvSpPr>
            <a:spLocks noGrp="1"/>
          </p:cNvSpPr>
          <p:nvPr>
            <p:ph type="pic" sz="quarter" idx="11"/>
          </p:nvPr>
        </p:nvSpPr>
        <p:spPr>
          <a:xfrm>
            <a:off x="3649607" y="776287"/>
            <a:ext cx="3103563" cy="6081713"/>
          </a:xfrm>
          <a:solidFill>
            <a:schemeClr val="tx2"/>
          </a:solidFill>
        </p:spPr>
        <p:txBody>
          <a:bodyPr/>
          <a:lstStyle/>
          <a:p>
            <a:endParaRPr lang="en-US"/>
          </a:p>
        </p:txBody>
      </p:sp>
      <p:sp>
        <p:nvSpPr>
          <p:cNvPr id="20" name="Title 19">
            <a:extLst>
              <a:ext uri="{FF2B5EF4-FFF2-40B4-BE49-F238E27FC236}">
                <a16:creationId xmlns:a16="http://schemas.microsoft.com/office/drawing/2014/main" id="{78B4DF99-8B11-56F3-04B4-B82BD05FE2C8}"/>
              </a:ext>
            </a:extLst>
          </p:cNvPr>
          <p:cNvSpPr>
            <a:spLocks noGrp="1"/>
          </p:cNvSpPr>
          <p:nvPr>
            <p:ph type="title" hasCustomPrompt="1"/>
          </p:nvPr>
        </p:nvSpPr>
        <p:spPr>
          <a:xfrm>
            <a:off x="7429321" y="2565001"/>
            <a:ext cx="3863975" cy="1201738"/>
          </a:xfrm>
        </p:spPr>
        <p:txBody>
          <a:bodyPr vert="horz" anchor="t">
            <a:normAutofit/>
          </a:bodyPr>
          <a:lstStyle>
            <a:lvl1pPr>
              <a:defRPr sz="3200"/>
            </a:lvl1pPr>
          </a:lstStyle>
          <a:p>
            <a:r>
              <a:rPr lang="en-US"/>
              <a:t>SAMPLE HEADLINE HERE</a:t>
            </a:r>
          </a:p>
        </p:txBody>
      </p:sp>
      <p:sp>
        <p:nvSpPr>
          <p:cNvPr id="28" name="Text Placeholder 27">
            <a:extLst>
              <a:ext uri="{FF2B5EF4-FFF2-40B4-BE49-F238E27FC236}">
                <a16:creationId xmlns:a16="http://schemas.microsoft.com/office/drawing/2014/main" id="{CFF8E3D2-5330-602F-34B6-1F262A1C3645}"/>
              </a:ext>
            </a:extLst>
          </p:cNvPr>
          <p:cNvSpPr>
            <a:spLocks noGrp="1"/>
          </p:cNvSpPr>
          <p:nvPr>
            <p:ph type="body" sz="quarter" idx="12" hasCustomPrompt="1"/>
          </p:nvPr>
        </p:nvSpPr>
        <p:spPr>
          <a:xfrm>
            <a:off x="7429500" y="2259774"/>
            <a:ext cx="3863975" cy="306388"/>
          </a:xfrm>
        </p:spPr>
        <p:txBody>
          <a:bodyPr/>
          <a:lstStyle>
            <a:lvl1pPr marL="0" indent="0">
              <a:buNone/>
              <a:defRPr/>
            </a:lvl1pPr>
          </a:lstStyle>
          <a:p>
            <a:pPr lvl="0"/>
            <a:r>
              <a:rPr lang="en-US"/>
              <a:t>Our Services</a:t>
            </a:r>
          </a:p>
        </p:txBody>
      </p:sp>
      <p:sp>
        <p:nvSpPr>
          <p:cNvPr id="30" name="Text Placeholder 29">
            <a:extLst>
              <a:ext uri="{FF2B5EF4-FFF2-40B4-BE49-F238E27FC236}">
                <a16:creationId xmlns:a16="http://schemas.microsoft.com/office/drawing/2014/main" id="{1D39727A-17D2-383D-6E62-2AEE390C8E00}"/>
              </a:ext>
            </a:extLst>
          </p:cNvPr>
          <p:cNvSpPr>
            <a:spLocks noGrp="1"/>
          </p:cNvSpPr>
          <p:nvPr>
            <p:ph type="body" sz="quarter" idx="13"/>
          </p:nvPr>
        </p:nvSpPr>
        <p:spPr>
          <a:xfrm>
            <a:off x="7429600" y="4072788"/>
            <a:ext cx="3938588" cy="1201738"/>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825090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ample Layout_16">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2920565505"/>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416;p21">
            <a:extLst>
              <a:ext uri="{FF2B5EF4-FFF2-40B4-BE49-F238E27FC236}">
                <a16:creationId xmlns:a16="http://schemas.microsoft.com/office/drawing/2014/main" id="{7A17D382-2140-67F7-C263-0342BFC41746}"/>
              </a:ext>
            </a:extLst>
          </p:cNvPr>
          <p:cNvSpPr/>
          <p:nvPr userDrawn="1"/>
        </p:nvSpPr>
        <p:spPr>
          <a:xfrm>
            <a:off x="8530542" y="-1"/>
            <a:ext cx="3661458" cy="443310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8" name="Google Shape;422;p21">
            <a:extLst>
              <a:ext uri="{FF2B5EF4-FFF2-40B4-BE49-F238E27FC236}">
                <a16:creationId xmlns:a16="http://schemas.microsoft.com/office/drawing/2014/main" id="{01CA823C-933E-0F37-659E-30E7AB413D10}"/>
              </a:ext>
            </a:extLst>
          </p:cNvPr>
          <p:cNvCxnSpPr>
            <a:cxnSpLocks/>
          </p:cNvCxnSpPr>
          <p:nvPr userDrawn="1"/>
        </p:nvCxnSpPr>
        <p:spPr>
          <a:xfrm>
            <a:off x="926264" y="5048290"/>
            <a:ext cx="1176600" cy="0"/>
          </a:xfrm>
          <a:prstGeom prst="straightConnector1">
            <a:avLst/>
          </a:prstGeom>
          <a:noFill/>
          <a:ln w="28575" cap="flat" cmpd="sng">
            <a:solidFill>
              <a:schemeClr val="accent4"/>
            </a:solidFill>
            <a:prstDash val="solid"/>
            <a:miter lim="800000"/>
            <a:headEnd type="none" w="sm" len="sm"/>
            <a:tailEnd type="none" w="sm" len="sm"/>
          </a:ln>
        </p:spPr>
      </p:cxnSp>
      <p:pic>
        <p:nvPicPr>
          <p:cNvPr id="9" name="Picture 8" descr="A logo with a black background&#10;&#10;Description automatically generated">
            <a:extLst>
              <a:ext uri="{FF2B5EF4-FFF2-40B4-BE49-F238E27FC236}">
                <a16:creationId xmlns:a16="http://schemas.microsoft.com/office/drawing/2014/main" id="{E9DDDB8F-2529-E9DB-5971-76DC72F3D4B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273" y="1482775"/>
            <a:ext cx="2197848" cy="928955"/>
          </a:xfrm>
          <a:prstGeom prst="rect">
            <a:avLst/>
          </a:prstGeom>
        </p:spPr>
      </p:pic>
      <p:sp>
        <p:nvSpPr>
          <p:cNvPr id="12" name="Picture Placeholder 10">
            <a:extLst>
              <a:ext uri="{FF2B5EF4-FFF2-40B4-BE49-F238E27FC236}">
                <a16:creationId xmlns:a16="http://schemas.microsoft.com/office/drawing/2014/main" id="{470EBD3C-DEC6-FB46-9817-0F96B24070F5}"/>
              </a:ext>
            </a:extLst>
          </p:cNvPr>
          <p:cNvSpPr>
            <a:spLocks noGrp="1"/>
          </p:cNvSpPr>
          <p:nvPr>
            <p:ph type="pic" sz="quarter" idx="10"/>
          </p:nvPr>
        </p:nvSpPr>
        <p:spPr>
          <a:xfrm>
            <a:off x="5966608" y="777393"/>
            <a:ext cx="5511017" cy="3656013"/>
          </a:xfrm>
          <a:solidFill>
            <a:schemeClr val="tx2"/>
          </a:solidFill>
        </p:spPr>
        <p:txBody>
          <a:bodyPr/>
          <a:lstStyle/>
          <a:p>
            <a:endParaRPr lang="en-US"/>
          </a:p>
        </p:txBody>
      </p:sp>
      <p:sp>
        <p:nvSpPr>
          <p:cNvPr id="15" name="Picture Placeholder 13">
            <a:extLst>
              <a:ext uri="{FF2B5EF4-FFF2-40B4-BE49-F238E27FC236}">
                <a16:creationId xmlns:a16="http://schemas.microsoft.com/office/drawing/2014/main" id="{B18889FD-C89B-624D-6615-669B8E3EBC00}"/>
              </a:ext>
            </a:extLst>
          </p:cNvPr>
          <p:cNvSpPr>
            <a:spLocks noGrp="1"/>
          </p:cNvSpPr>
          <p:nvPr>
            <p:ph type="pic" sz="quarter" idx="11"/>
          </p:nvPr>
        </p:nvSpPr>
        <p:spPr>
          <a:xfrm>
            <a:off x="5966608" y="4583111"/>
            <a:ext cx="5511017" cy="1684339"/>
          </a:xfrm>
          <a:solidFill>
            <a:schemeClr val="tx2"/>
          </a:solidFill>
        </p:spPr>
        <p:txBody>
          <a:bodyPr/>
          <a:lstStyle/>
          <a:p>
            <a:endParaRPr lang="en-US"/>
          </a:p>
        </p:txBody>
      </p:sp>
      <p:sp>
        <p:nvSpPr>
          <p:cNvPr id="16" name="Title 15">
            <a:extLst>
              <a:ext uri="{FF2B5EF4-FFF2-40B4-BE49-F238E27FC236}">
                <a16:creationId xmlns:a16="http://schemas.microsoft.com/office/drawing/2014/main" id="{E03ECCF3-FE40-A3AC-06A4-96FBB7564928}"/>
              </a:ext>
            </a:extLst>
          </p:cNvPr>
          <p:cNvSpPr>
            <a:spLocks noGrp="1"/>
          </p:cNvSpPr>
          <p:nvPr>
            <p:ph type="title" hasCustomPrompt="1"/>
          </p:nvPr>
        </p:nvSpPr>
        <p:spPr>
          <a:xfrm>
            <a:off x="925938" y="2989763"/>
            <a:ext cx="4386263" cy="1016000"/>
          </a:xfrm>
        </p:spPr>
        <p:txBody>
          <a:bodyPr vert="horz">
            <a:noAutofit/>
          </a:bodyPr>
          <a:lstStyle>
            <a:lvl1pPr>
              <a:defRPr sz="6000"/>
            </a:lvl1pPr>
          </a:lstStyle>
          <a:p>
            <a:r>
              <a:rPr lang="en-US"/>
              <a:t>HEADLINE</a:t>
            </a:r>
          </a:p>
        </p:txBody>
      </p:sp>
      <p:sp>
        <p:nvSpPr>
          <p:cNvPr id="19" name="Text Placeholder 18">
            <a:extLst>
              <a:ext uri="{FF2B5EF4-FFF2-40B4-BE49-F238E27FC236}">
                <a16:creationId xmlns:a16="http://schemas.microsoft.com/office/drawing/2014/main" id="{E4A27240-C85F-29C5-7DB9-B8A1BB219A2B}"/>
              </a:ext>
            </a:extLst>
          </p:cNvPr>
          <p:cNvSpPr>
            <a:spLocks noGrp="1"/>
          </p:cNvSpPr>
          <p:nvPr>
            <p:ph type="body" sz="quarter" idx="12" hasCustomPrompt="1"/>
          </p:nvPr>
        </p:nvSpPr>
        <p:spPr>
          <a:xfrm>
            <a:off x="926264" y="4004588"/>
            <a:ext cx="2078038" cy="339725"/>
          </a:xfrm>
        </p:spPr>
        <p:txBody>
          <a:bodyPr>
            <a:noAutofit/>
          </a:bodyPr>
          <a:lstStyle>
            <a:lvl1pPr marL="0" indent="0">
              <a:buNone/>
              <a:defRPr sz="1600"/>
            </a:lvl1pPr>
          </a:lstStyle>
          <a:p>
            <a:pPr lvl="0"/>
            <a:r>
              <a:rPr lang="en-US"/>
              <a:t>Sample headline</a:t>
            </a:r>
          </a:p>
        </p:txBody>
      </p:sp>
      <p:sp>
        <p:nvSpPr>
          <p:cNvPr id="6" name="Footer Placeholder 5">
            <a:extLst>
              <a:ext uri="{FF2B5EF4-FFF2-40B4-BE49-F238E27FC236}">
                <a16:creationId xmlns:a16="http://schemas.microsoft.com/office/drawing/2014/main" id="{8C7B4CA7-32B8-FA5B-23C6-BC0F5DAFD0E9}"/>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2441400556"/>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ample Layout_17">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2211537920"/>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427;p22">
            <a:extLst>
              <a:ext uri="{FF2B5EF4-FFF2-40B4-BE49-F238E27FC236}">
                <a16:creationId xmlns:a16="http://schemas.microsoft.com/office/drawing/2014/main" id="{C46B8D0A-9094-93C1-E594-A297E81479B4}"/>
              </a:ext>
            </a:extLst>
          </p:cNvPr>
          <p:cNvSpPr/>
          <p:nvPr userDrawn="1"/>
        </p:nvSpPr>
        <p:spPr>
          <a:xfrm>
            <a:off x="-1" y="0"/>
            <a:ext cx="5719821" cy="5877046"/>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 name="Google Shape;431;p22">
            <a:extLst>
              <a:ext uri="{FF2B5EF4-FFF2-40B4-BE49-F238E27FC236}">
                <a16:creationId xmlns:a16="http://schemas.microsoft.com/office/drawing/2014/main" id="{F2D2BF5D-44C3-3AE5-3394-C4611CE8790A}"/>
              </a:ext>
            </a:extLst>
          </p:cNvPr>
          <p:cNvSpPr/>
          <p:nvPr userDrawn="1"/>
        </p:nvSpPr>
        <p:spPr>
          <a:xfrm>
            <a:off x="765858" y="633713"/>
            <a:ext cx="3923818" cy="5243333"/>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 name="Picture Placeholder 10">
            <a:extLst>
              <a:ext uri="{FF2B5EF4-FFF2-40B4-BE49-F238E27FC236}">
                <a16:creationId xmlns:a16="http://schemas.microsoft.com/office/drawing/2014/main" id="{85A6760B-CCCC-7A95-6901-305FB133C159}"/>
              </a:ext>
            </a:extLst>
          </p:cNvPr>
          <p:cNvSpPr>
            <a:spLocks noGrp="1"/>
          </p:cNvSpPr>
          <p:nvPr>
            <p:ph type="pic" sz="quarter" idx="10"/>
          </p:nvPr>
        </p:nvSpPr>
        <p:spPr>
          <a:xfrm>
            <a:off x="1136835" y="980956"/>
            <a:ext cx="4583113" cy="5229344"/>
          </a:xfrm>
          <a:solidFill>
            <a:schemeClr val="tx2"/>
          </a:solidFill>
        </p:spPr>
        <p:txBody>
          <a:bodyPr/>
          <a:lstStyle/>
          <a:p>
            <a:endParaRPr lang="en-US"/>
          </a:p>
        </p:txBody>
      </p:sp>
      <p:sp>
        <p:nvSpPr>
          <p:cNvPr id="15" name="Picture Placeholder 13">
            <a:extLst>
              <a:ext uri="{FF2B5EF4-FFF2-40B4-BE49-F238E27FC236}">
                <a16:creationId xmlns:a16="http://schemas.microsoft.com/office/drawing/2014/main" id="{CB242ABC-94ED-6B6E-1D9A-63497EE60597}"/>
              </a:ext>
            </a:extLst>
          </p:cNvPr>
          <p:cNvSpPr>
            <a:spLocks noGrp="1"/>
          </p:cNvSpPr>
          <p:nvPr>
            <p:ph type="pic" sz="quarter" idx="11"/>
          </p:nvPr>
        </p:nvSpPr>
        <p:spPr>
          <a:xfrm>
            <a:off x="5977984" y="4016821"/>
            <a:ext cx="5180013" cy="2193479"/>
          </a:xfrm>
          <a:solidFill>
            <a:schemeClr val="tx2"/>
          </a:solidFill>
        </p:spPr>
        <p:txBody>
          <a:bodyPr/>
          <a:lstStyle/>
          <a:p>
            <a:endParaRPr lang="en-US"/>
          </a:p>
        </p:txBody>
      </p:sp>
      <p:sp>
        <p:nvSpPr>
          <p:cNvPr id="16" name="Title 15">
            <a:extLst>
              <a:ext uri="{FF2B5EF4-FFF2-40B4-BE49-F238E27FC236}">
                <a16:creationId xmlns:a16="http://schemas.microsoft.com/office/drawing/2014/main" id="{3E7D6210-CDC8-1749-FE7F-E7024C0A39F3}"/>
              </a:ext>
            </a:extLst>
          </p:cNvPr>
          <p:cNvSpPr>
            <a:spLocks noGrp="1"/>
          </p:cNvSpPr>
          <p:nvPr>
            <p:ph type="title" hasCustomPrompt="1"/>
          </p:nvPr>
        </p:nvSpPr>
        <p:spPr>
          <a:xfrm>
            <a:off x="6625038" y="1435940"/>
            <a:ext cx="4430713" cy="647700"/>
          </a:xfrm>
        </p:spPr>
        <p:txBody>
          <a:bodyPr vert="horz">
            <a:normAutofit/>
          </a:bodyPr>
          <a:lstStyle>
            <a:lvl1pPr>
              <a:defRPr sz="3200"/>
            </a:lvl1pPr>
          </a:lstStyle>
          <a:p>
            <a:r>
              <a:rPr lang="en-US"/>
              <a:t>SAMPLE HEADLINE</a:t>
            </a:r>
          </a:p>
        </p:txBody>
      </p:sp>
      <p:sp>
        <p:nvSpPr>
          <p:cNvPr id="25" name="Text Placeholder 24">
            <a:extLst>
              <a:ext uri="{FF2B5EF4-FFF2-40B4-BE49-F238E27FC236}">
                <a16:creationId xmlns:a16="http://schemas.microsoft.com/office/drawing/2014/main" id="{D59C067E-0046-B9A2-6F5D-BE91C2826269}"/>
              </a:ext>
            </a:extLst>
          </p:cNvPr>
          <p:cNvSpPr>
            <a:spLocks noGrp="1"/>
          </p:cNvSpPr>
          <p:nvPr>
            <p:ph type="body" sz="quarter" idx="12" hasCustomPrompt="1"/>
          </p:nvPr>
        </p:nvSpPr>
        <p:spPr>
          <a:xfrm>
            <a:off x="6624638" y="1129578"/>
            <a:ext cx="4430713" cy="368300"/>
          </a:xfrm>
        </p:spPr>
        <p:txBody>
          <a:bodyPr>
            <a:noAutofit/>
          </a:bodyPr>
          <a:lstStyle>
            <a:lvl1pPr marL="0" indent="0">
              <a:buNone/>
              <a:defRPr sz="1800"/>
            </a:lvl1pPr>
          </a:lstStyle>
          <a:p>
            <a:pPr lvl="0"/>
            <a:r>
              <a:rPr lang="en-US"/>
              <a:t>Sample headline</a:t>
            </a:r>
          </a:p>
        </p:txBody>
      </p:sp>
      <p:sp>
        <p:nvSpPr>
          <p:cNvPr id="28" name="Text Placeholder 27">
            <a:extLst>
              <a:ext uri="{FF2B5EF4-FFF2-40B4-BE49-F238E27FC236}">
                <a16:creationId xmlns:a16="http://schemas.microsoft.com/office/drawing/2014/main" id="{D6BEDA0D-BA3D-13DC-6B84-939A5976A8E2}"/>
              </a:ext>
            </a:extLst>
          </p:cNvPr>
          <p:cNvSpPr>
            <a:spLocks noGrp="1"/>
          </p:cNvSpPr>
          <p:nvPr>
            <p:ph type="body" sz="quarter" idx="13"/>
          </p:nvPr>
        </p:nvSpPr>
        <p:spPr>
          <a:xfrm>
            <a:off x="6624638" y="2390053"/>
            <a:ext cx="4430713" cy="647700"/>
          </a:xfrm>
        </p:spPr>
        <p:txBody>
          <a:bodyPr>
            <a:noAutofit/>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p:txBody>
      </p:sp>
      <p:sp>
        <p:nvSpPr>
          <p:cNvPr id="8" name="Footer Placeholder 7">
            <a:extLst>
              <a:ext uri="{FF2B5EF4-FFF2-40B4-BE49-F238E27FC236}">
                <a16:creationId xmlns:a16="http://schemas.microsoft.com/office/drawing/2014/main" id="{F8DB766E-DF1E-0BDB-6B1A-4F91BF9B8483}"/>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155903531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ample Layout_18">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4075783046"/>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9" name="Google Shape;444;p23">
            <a:extLst>
              <a:ext uri="{FF2B5EF4-FFF2-40B4-BE49-F238E27FC236}">
                <a16:creationId xmlns:a16="http://schemas.microsoft.com/office/drawing/2014/main" id="{D1FF0F45-8F25-0055-2983-72F6DBBC991D}"/>
              </a:ext>
            </a:extLst>
          </p:cNvPr>
          <p:cNvSpPr/>
          <p:nvPr userDrawn="1"/>
        </p:nvSpPr>
        <p:spPr>
          <a:xfrm>
            <a:off x="5490258" y="5079357"/>
            <a:ext cx="1778643" cy="1778643"/>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 name="Picture Placeholder 23">
            <a:extLst>
              <a:ext uri="{FF2B5EF4-FFF2-40B4-BE49-F238E27FC236}">
                <a16:creationId xmlns:a16="http://schemas.microsoft.com/office/drawing/2014/main" id="{F57640D0-5ACB-E4FD-F662-8351529817BE}"/>
              </a:ext>
            </a:extLst>
          </p:cNvPr>
          <p:cNvSpPr>
            <a:spLocks noGrp="1"/>
          </p:cNvSpPr>
          <p:nvPr>
            <p:ph type="pic" sz="quarter" idx="12"/>
          </p:nvPr>
        </p:nvSpPr>
        <p:spPr>
          <a:xfrm>
            <a:off x="5489275" y="1400537"/>
            <a:ext cx="4468813" cy="4468813"/>
          </a:xfrm>
          <a:custGeom>
            <a:avLst/>
            <a:gdLst>
              <a:gd name="connsiteX0" fmla="*/ 0 w 4468813"/>
              <a:gd name="connsiteY0" fmla="*/ 0 h 4468813"/>
              <a:gd name="connsiteX1" fmla="*/ 4468813 w 4468813"/>
              <a:gd name="connsiteY1" fmla="*/ 0 h 4468813"/>
              <a:gd name="connsiteX2" fmla="*/ 4468813 w 4468813"/>
              <a:gd name="connsiteY2" fmla="*/ 4468813 h 4468813"/>
              <a:gd name="connsiteX3" fmla="*/ 1779626 w 4468813"/>
              <a:gd name="connsiteY3" fmla="*/ 4468813 h 4468813"/>
              <a:gd name="connsiteX4" fmla="*/ 1779626 w 4468813"/>
              <a:gd name="connsiteY4" fmla="*/ 3678820 h 4468813"/>
              <a:gd name="connsiteX5" fmla="*/ 983 w 4468813"/>
              <a:gd name="connsiteY5" fmla="*/ 3678820 h 4468813"/>
              <a:gd name="connsiteX6" fmla="*/ 983 w 4468813"/>
              <a:gd name="connsiteY6" fmla="*/ 4468813 h 4468813"/>
              <a:gd name="connsiteX7" fmla="*/ 0 w 4468813"/>
              <a:gd name="connsiteY7" fmla="*/ 4468813 h 4468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8813" h="4468813">
                <a:moveTo>
                  <a:pt x="0" y="0"/>
                </a:moveTo>
                <a:lnTo>
                  <a:pt x="4468813" y="0"/>
                </a:lnTo>
                <a:lnTo>
                  <a:pt x="4468813" y="4468813"/>
                </a:lnTo>
                <a:lnTo>
                  <a:pt x="1779626" y="4468813"/>
                </a:lnTo>
                <a:lnTo>
                  <a:pt x="1779626" y="3678820"/>
                </a:lnTo>
                <a:lnTo>
                  <a:pt x="983" y="3678820"/>
                </a:lnTo>
                <a:lnTo>
                  <a:pt x="983" y="4468813"/>
                </a:lnTo>
                <a:lnTo>
                  <a:pt x="0" y="4468813"/>
                </a:lnTo>
                <a:close/>
              </a:path>
            </a:pathLst>
          </a:custGeom>
          <a:solidFill>
            <a:schemeClr val="tx2"/>
          </a:solidFill>
        </p:spPr>
        <p:txBody>
          <a:bodyPr wrap="square">
            <a:noAutofit/>
          </a:bodyPr>
          <a:lstStyle/>
          <a:p>
            <a:endParaRPr lang="en-US"/>
          </a:p>
        </p:txBody>
      </p:sp>
      <p:sp>
        <p:nvSpPr>
          <p:cNvPr id="6" name="Google Shape;441;p23">
            <a:extLst>
              <a:ext uri="{FF2B5EF4-FFF2-40B4-BE49-F238E27FC236}">
                <a16:creationId xmlns:a16="http://schemas.microsoft.com/office/drawing/2014/main" id="{570A5DA5-CA20-3A8A-4E63-1CC55AE0D1BA}"/>
              </a:ext>
            </a:extLst>
          </p:cNvPr>
          <p:cNvSpPr/>
          <p:nvPr userDrawn="1"/>
        </p:nvSpPr>
        <p:spPr>
          <a:xfrm>
            <a:off x="9958086" y="1400537"/>
            <a:ext cx="2233914" cy="2233914"/>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 name="Google Shape;442;p23">
            <a:extLst>
              <a:ext uri="{FF2B5EF4-FFF2-40B4-BE49-F238E27FC236}">
                <a16:creationId xmlns:a16="http://schemas.microsoft.com/office/drawing/2014/main" id="{8E3103BD-B122-20CD-B59B-2C080CEBFA8A}"/>
              </a:ext>
            </a:extLst>
          </p:cNvPr>
          <p:cNvSpPr/>
          <p:nvPr userDrawn="1"/>
        </p:nvSpPr>
        <p:spPr>
          <a:xfrm>
            <a:off x="8553691" y="-3858"/>
            <a:ext cx="1404395" cy="140439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 name="Picture 9" descr="A logo with a black background&#10;&#10;Description automatically generated">
            <a:extLst>
              <a:ext uri="{FF2B5EF4-FFF2-40B4-BE49-F238E27FC236}">
                <a16:creationId xmlns:a16="http://schemas.microsoft.com/office/drawing/2014/main" id="{E0EFD357-6C13-A656-94D8-5C1E2B7062B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42293" y="5597575"/>
            <a:ext cx="2197848" cy="928955"/>
          </a:xfrm>
          <a:prstGeom prst="rect">
            <a:avLst/>
          </a:prstGeom>
        </p:spPr>
      </p:pic>
      <p:sp>
        <p:nvSpPr>
          <p:cNvPr id="11" name="Title 10">
            <a:extLst>
              <a:ext uri="{FF2B5EF4-FFF2-40B4-BE49-F238E27FC236}">
                <a16:creationId xmlns:a16="http://schemas.microsoft.com/office/drawing/2014/main" id="{9788B035-AD06-5C5A-9C13-A0A32DD24074}"/>
              </a:ext>
            </a:extLst>
          </p:cNvPr>
          <p:cNvSpPr>
            <a:spLocks noGrp="1"/>
          </p:cNvSpPr>
          <p:nvPr>
            <p:ph type="title" hasCustomPrompt="1"/>
          </p:nvPr>
        </p:nvSpPr>
        <p:spPr>
          <a:xfrm>
            <a:off x="838200" y="1708740"/>
            <a:ext cx="3590925" cy="1200150"/>
          </a:xfrm>
        </p:spPr>
        <p:txBody>
          <a:bodyPr vert="horz">
            <a:normAutofit/>
          </a:bodyPr>
          <a:lstStyle>
            <a:lvl1pPr>
              <a:defRPr sz="3600"/>
            </a:lvl1pPr>
          </a:lstStyle>
          <a:p>
            <a:r>
              <a:rPr lang="en-US"/>
              <a:t>SAMPLE HEADLINE</a:t>
            </a:r>
          </a:p>
        </p:txBody>
      </p:sp>
      <p:sp>
        <p:nvSpPr>
          <p:cNvPr id="18" name="Text Placeholder 17">
            <a:extLst>
              <a:ext uri="{FF2B5EF4-FFF2-40B4-BE49-F238E27FC236}">
                <a16:creationId xmlns:a16="http://schemas.microsoft.com/office/drawing/2014/main" id="{769EE33E-6608-FEDD-E611-56A523FE8CAB}"/>
              </a:ext>
            </a:extLst>
          </p:cNvPr>
          <p:cNvSpPr>
            <a:spLocks noGrp="1"/>
          </p:cNvSpPr>
          <p:nvPr>
            <p:ph type="body" sz="quarter" idx="10" hasCustomPrompt="1"/>
          </p:nvPr>
        </p:nvSpPr>
        <p:spPr>
          <a:xfrm>
            <a:off x="838200" y="1400175"/>
            <a:ext cx="3590925" cy="307975"/>
          </a:xfrm>
        </p:spPr>
        <p:txBody>
          <a:bodyPr>
            <a:normAutofit/>
          </a:bodyPr>
          <a:lstStyle>
            <a:lvl1pPr marL="0" indent="0">
              <a:buNone/>
              <a:defRPr sz="1400"/>
            </a:lvl1pPr>
          </a:lstStyle>
          <a:p>
            <a:pPr lvl="0"/>
            <a:r>
              <a:rPr lang="en-US"/>
              <a:t>Your Text Here</a:t>
            </a:r>
          </a:p>
        </p:txBody>
      </p:sp>
      <p:sp>
        <p:nvSpPr>
          <p:cNvPr id="20" name="Text Placeholder 19">
            <a:extLst>
              <a:ext uri="{FF2B5EF4-FFF2-40B4-BE49-F238E27FC236}">
                <a16:creationId xmlns:a16="http://schemas.microsoft.com/office/drawing/2014/main" id="{01B2889B-6B7F-21E0-9589-75EABE0729BA}"/>
              </a:ext>
            </a:extLst>
          </p:cNvPr>
          <p:cNvSpPr>
            <a:spLocks noGrp="1"/>
          </p:cNvSpPr>
          <p:nvPr>
            <p:ph type="body" sz="quarter" idx="11"/>
          </p:nvPr>
        </p:nvSpPr>
        <p:spPr>
          <a:xfrm>
            <a:off x="837571" y="3215681"/>
            <a:ext cx="3590925" cy="2032000"/>
          </a:xfrm>
        </p:spPr>
        <p:txBody>
          <a:bodyPr>
            <a:noAutofit/>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8505802"/>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ample Layout_19">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944756396"/>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30" name="Picture Placeholder 29">
            <a:extLst>
              <a:ext uri="{FF2B5EF4-FFF2-40B4-BE49-F238E27FC236}">
                <a16:creationId xmlns:a16="http://schemas.microsoft.com/office/drawing/2014/main" id="{FADA193F-6EE2-9194-6879-29373EBA5F92}"/>
              </a:ext>
            </a:extLst>
          </p:cNvPr>
          <p:cNvSpPr>
            <a:spLocks noGrp="1"/>
          </p:cNvSpPr>
          <p:nvPr>
            <p:ph type="pic" sz="quarter" idx="18"/>
          </p:nvPr>
        </p:nvSpPr>
        <p:spPr>
          <a:xfrm>
            <a:off x="6713314" y="-1"/>
            <a:ext cx="5478685" cy="3429000"/>
          </a:xfrm>
          <a:solidFill>
            <a:schemeClr val="tx2"/>
          </a:solidFill>
        </p:spPr>
        <p:txBody>
          <a:bodyPr/>
          <a:lstStyle/>
          <a:p>
            <a:endParaRPr lang="en-US"/>
          </a:p>
        </p:txBody>
      </p:sp>
      <p:sp>
        <p:nvSpPr>
          <p:cNvPr id="32" name="Picture Placeholder 31">
            <a:extLst>
              <a:ext uri="{FF2B5EF4-FFF2-40B4-BE49-F238E27FC236}">
                <a16:creationId xmlns:a16="http://schemas.microsoft.com/office/drawing/2014/main" id="{C65C61EB-0F8F-55CE-9A31-97142EDE9071}"/>
              </a:ext>
            </a:extLst>
          </p:cNvPr>
          <p:cNvSpPr>
            <a:spLocks noGrp="1"/>
          </p:cNvSpPr>
          <p:nvPr>
            <p:ph type="pic" sz="quarter" idx="19"/>
          </p:nvPr>
        </p:nvSpPr>
        <p:spPr>
          <a:xfrm>
            <a:off x="6095995" y="3429000"/>
            <a:ext cx="2501904" cy="3429000"/>
          </a:xfrm>
          <a:solidFill>
            <a:schemeClr val="accent3"/>
          </a:solidFill>
        </p:spPr>
        <p:txBody>
          <a:bodyPr/>
          <a:lstStyle/>
          <a:p>
            <a:endParaRPr lang="en-US"/>
          </a:p>
        </p:txBody>
      </p:sp>
      <p:sp>
        <p:nvSpPr>
          <p:cNvPr id="34" name="Picture Placeholder 33">
            <a:extLst>
              <a:ext uri="{FF2B5EF4-FFF2-40B4-BE49-F238E27FC236}">
                <a16:creationId xmlns:a16="http://schemas.microsoft.com/office/drawing/2014/main" id="{A5A64369-CA00-0202-1F0E-E985284D09B0}"/>
              </a:ext>
            </a:extLst>
          </p:cNvPr>
          <p:cNvSpPr>
            <a:spLocks noGrp="1"/>
          </p:cNvSpPr>
          <p:nvPr>
            <p:ph type="pic" sz="quarter" idx="20"/>
          </p:nvPr>
        </p:nvSpPr>
        <p:spPr>
          <a:xfrm>
            <a:off x="8597899" y="3429000"/>
            <a:ext cx="3594101" cy="2870200"/>
          </a:xfrm>
          <a:solidFill>
            <a:schemeClr val="tx2">
              <a:lumMod val="75000"/>
            </a:schemeClr>
          </a:solidFill>
        </p:spPr>
        <p:txBody>
          <a:bodyPr/>
          <a:lstStyle/>
          <a:p>
            <a:endParaRPr lang="en-US"/>
          </a:p>
        </p:txBody>
      </p:sp>
      <p:sp>
        <p:nvSpPr>
          <p:cNvPr id="8" name="Google Shape;455;p24">
            <a:extLst>
              <a:ext uri="{FF2B5EF4-FFF2-40B4-BE49-F238E27FC236}">
                <a16:creationId xmlns:a16="http://schemas.microsoft.com/office/drawing/2014/main" id="{52CA24F2-6B82-B454-570E-D5365C13EA47}"/>
              </a:ext>
            </a:extLst>
          </p:cNvPr>
          <p:cNvSpPr/>
          <p:nvPr userDrawn="1"/>
        </p:nvSpPr>
        <p:spPr>
          <a:xfrm>
            <a:off x="0" y="0"/>
            <a:ext cx="6095995"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 name="Picture 13" descr="A logo with white text&#10;&#10;Description automatically generated">
            <a:extLst>
              <a:ext uri="{FF2B5EF4-FFF2-40B4-BE49-F238E27FC236}">
                <a16:creationId xmlns:a16="http://schemas.microsoft.com/office/drawing/2014/main" id="{6A5CBA10-D09E-7049-9952-59710EFE54F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2963" y="3459480"/>
            <a:ext cx="1714244" cy="522484"/>
          </a:xfrm>
          <a:prstGeom prst="rect">
            <a:avLst/>
          </a:prstGeom>
        </p:spPr>
      </p:pic>
      <p:sp>
        <p:nvSpPr>
          <p:cNvPr id="15" name="Title 14">
            <a:extLst>
              <a:ext uri="{FF2B5EF4-FFF2-40B4-BE49-F238E27FC236}">
                <a16:creationId xmlns:a16="http://schemas.microsoft.com/office/drawing/2014/main" id="{DC794E4A-4C38-A2F7-2C0C-D5051D234D13}"/>
              </a:ext>
            </a:extLst>
          </p:cNvPr>
          <p:cNvSpPr>
            <a:spLocks noGrp="1"/>
          </p:cNvSpPr>
          <p:nvPr>
            <p:ph type="title" hasCustomPrompt="1"/>
          </p:nvPr>
        </p:nvSpPr>
        <p:spPr>
          <a:xfrm>
            <a:off x="1072963" y="4572822"/>
            <a:ext cx="3055938" cy="1447800"/>
          </a:xfrm>
        </p:spPr>
        <p:txBody>
          <a:bodyPr vert="horz">
            <a:noAutofit/>
          </a:bodyPr>
          <a:lstStyle>
            <a:lvl1pPr>
              <a:defRPr sz="4400">
                <a:solidFill>
                  <a:schemeClr val="bg1"/>
                </a:solidFill>
              </a:defRPr>
            </a:lvl1pPr>
          </a:lstStyle>
          <a:p>
            <a:r>
              <a:rPr lang="en-US"/>
              <a:t>Click to edit title</a:t>
            </a:r>
          </a:p>
        </p:txBody>
      </p:sp>
      <p:sp>
        <p:nvSpPr>
          <p:cNvPr id="23" name="Text Placeholder 22">
            <a:extLst>
              <a:ext uri="{FF2B5EF4-FFF2-40B4-BE49-F238E27FC236}">
                <a16:creationId xmlns:a16="http://schemas.microsoft.com/office/drawing/2014/main" id="{BDA93116-EC46-7089-DDCE-BDF3BC4E6531}"/>
              </a:ext>
            </a:extLst>
          </p:cNvPr>
          <p:cNvSpPr>
            <a:spLocks noGrp="1"/>
          </p:cNvSpPr>
          <p:nvPr>
            <p:ph type="body" sz="quarter" idx="10" hasCustomPrompt="1"/>
          </p:nvPr>
        </p:nvSpPr>
        <p:spPr>
          <a:xfrm>
            <a:off x="1073149" y="4265728"/>
            <a:ext cx="3055938" cy="369888"/>
          </a:xfrm>
        </p:spPr>
        <p:txBody>
          <a:bodyPr>
            <a:noAutofit/>
          </a:bodyPr>
          <a:lstStyle>
            <a:lvl1pPr marL="0" indent="0">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Sample headline</a:t>
            </a:r>
          </a:p>
        </p:txBody>
      </p:sp>
      <p:sp>
        <p:nvSpPr>
          <p:cNvPr id="9" name="Google Shape;456;p24">
            <a:extLst>
              <a:ext uri="{FF2B5EF4-FFF2-40B4-BE49-F238E27FC236}">
                <a16:creationId xmlns:a16="http://schemas.microsoft.com/office/drawing/2014/main" id="{822FB033-E04E-696D-B784-4CA7BAA5F8FC}"/>
              </a:ext>
            </a:extLst>
          </p:cNvPr>
          <p:cNvSpPr/>
          <p:nvPr userDrawn="1"/>
        </p:nvSpPr>
        <p:spPr>
          <a:xfrm>
            <a:off x="3295650" y="0"/>
            <a:ext cx="3417665" cy="342872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 name="Text Placeholder 24">
            <a:extLst>
              <a:ext uri="{FF2B5EF4-FFF2-40B4-BE49-F238E27FC236}">
                <a16:creationId xmlns:a16="http://schemas.microsoft.com/office/drawing/2014/main" id="{30E5A98E-F9B6-8382-4F1E-CB920B137504}"/>
              </a:ext>
            </a:extLst>
          </p:cNvPr>
          <p:cNvSpPr>
            <a:spLocks noGrp="1"/>
          </p:cNvSpPr>
          <p:nvPr>
            <p:ph type="body" sz="quarter" idx="11" hasCustomPrompt="1"/>
          </p:nvPr>
        </p:nvSpPr>
        <p:spPr>
          <a:xfrm>
            <a:off x="3668469" y="783409"/>
            <a:ext cx="2713038" cy="461963"/>
          </a:xfrm>
        </p:spPr>
        <p:txBody>
          <a:bodyPr>
            <a:noAutofit/>
          </a:bodyPr>
          <a:lstStyle>
            <a:lvl1pPr marL="0" indent="0">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Sample headline here</a:t>
            </a:r>
          </a:p>
        </p:txBody>
      </p:sp>
      <p:sp>
        <p:nvSpPr>
          <p:cNvPr id="28" name="Text Placeholder 32">
            <a:extLst>
              <a:ext uri="{FF2B5EF4-FFF2-40B4-BE49-F238E27FC236}">
                <a16:creationId xmlns:a16="http://schemas.microsoft.com/office/drawing/2014/main" id="{C34541B6-DC53-1CC4-2D65-FA04AAAD74C2}"/>
              </a:ext>
            </a:extLst>
          </p:cNvPr>
          <p:cNvSpPr>
            <a:spLocks noGrp="1"/>
          </p:cNvSpPr>
          <p:nvPr>
            <p:ph type="body" sz="quarter" idx="17"/>
          </p:nvPr>
        </p:nvSpPr>
        <p:spPr>
          <a:xfrm>
            <a:off x="3668469" y="1544684"/>
            <a:ext cx="2713038" cy="1200150"/>
          </a:xfrm>
        </p:spPr>
        <p:txBody>
          <a:bodyPr/>
          <a:lstStyle>
            <a:lvl1pPr>
              <a:lnSpc>
                <a:spcPct val="150000"/>
              </a:lnSpc>
              <a:buClr>
                <a:schemeClr val="bg1"/>
              </a:buClr>
              <a:defRPr>
                <a:solidFill>
                  <a:schemeClr val="bg1"/>
                </a:solidFill>
              </a:defRPr>
            </a:lvl1pPr>
            <a:lvl2pPr>
              <a:lnSpc>
                <a:spcPct val="150000"/>
              </a:lnSpc>
              <a:buClr>
                <a:schemeClr val="bg1"/>
              </a:buClr>
              <a:defRPr>
                <a:solidFill>
                  <a:schemeClr val="bg1"/>
                </a:solidFill>
              </a:defRPr>
            </a:lvl2pPr>
            <a:lvl3pPr>
              <a:lnSpc>
                <a:spcPct val="150000"/>
              </a:lnSpc>
              <a:buClr>
                <a:schemeClr val="bg1"/>
              </a:buClr>
              <a:defRPr>
                <a:solidFill>
                  <a:schemeClr val="bg1"/>
                </a:solidFill>
              </a:defRPr>
            </a:lvl3pPr>
            <a:lvl4pPr>
              <a:lnSpc>
                <a:spcPct val="150000"/>
              </a:lnSpc>
              <a:buClr>
                <a:schemeClr val="bg1"/>
              </a:buClr>
              <a:defRPr>
                <a:solidFill>
                  <a:schemeClr val="bg1"/>
                </a:solidFill>
              </a:defRPr>
            </a:lvl4pPr>
            <a:lvl5pPr>
              <a:lnSpc>
                <a:spcPct val="15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5B2E5742-027B-9F17-48E5-597A23E075FC}"/>
              </a:ext>
            </a:extLst>
          </p:cNvPr>
          <p:cNvSpPr>
            <a:spLocks noGrp="1"/>
          </p:cNvSpPr>
          <p:nvPr>
            <p:ph type="ftr" sz="quarter" idx="21"/>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344884850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ample Layout_20">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1292802734"/>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466;p25">
            <a:extLst>
              <a:ext uri="{FF2B5EF4-FFF2-40B4-BE49-F238E27FC236}">
                <a16:creationId xmlns:a16="http://schemas.microsoft.com/office/drawing/2014/main" id="{DEE0E898-73A0-98F1-E7B6-6915C2EE7B92}"/>
              </a:ext>
            </a:extLst>
          </p:cNvPr>
          <p:cNvSpPr/>
          <p:nvPr userDrawn="1"/>
        </p:nvSpPr>
        <p:spPr>
          <a:xfrm>
            <a:off x="2438401" y="1066800"/>
            <a:ext cx="2438400" cy="24384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 name="Google Shape;467;p25">
            <a:extLst>
              <a:ext uri="{FF2B5EF4-FFF2-40B4-BE49-F238E27FC236}">
                <a16:creationId xmlns:a16="http://schemas.microsoft.com/office/drawing/2014/main" id="{6C785FAC-3100-FEF5-25C6-6A1BC7B6551D}"/>
              </a:ext>
            </a:extLst>
          </p:cNvPr>
          <p:cNvSpPr/>
          <p:nvPr userDrawn="1"/>
        </p:nvSpPr>
        <p:spPr>
          <a:xfrm>
            <a:off x="7315201" y="3505200"/>
            <a:ext cx="2438400" cy="24384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 name="Google Shape;473;p25">
            <a:extLst>
              <a:ext uri="{FF2B5EF4-FFF2-40B4-BE49-F238E27FC236}">
                <a16:creationId xmlns:a16="http://schemas.microsoft.com/office/drawing/2014/main" id="{63CA0843-4756-23BB-0CBC-FE07BCE8751D}"/>
              </a:ext>
            </a:extLst>
          </p:cNvPr>
          <p:cNvPicPr preferRelativeResize="0">
            <a:picLocks/>
          </p:cNvPicPr>
          <p:nvPr userDrawn="1"/>
        </p:nvPicPr>
        <p:blipFill rotWithShape="1">
          <a:blip r:embed="rId5" cstate="screen">
            <a:alphaModFix/>
            <a:extLst>
              <a:ext uri="{28A0092B-C50C-407E-A947-70E740481C1C}">
                <a14:useLocalDpi xmlns:a14="http://schemas.microsoft.com/office/drawing/2010/main"/>
              </a:ext>
            </a:extLst>
          </a:blip>
          <a:srcRect/>
          <a:stretch/>
        </p:blipFill>
        <p:spPr>
          <a:xfrm>
            <a:off x="1" y="3505200"/>
            <a:ext cx="2438400" cy="2438400"/>
          </a:xfrm>
          <a:prstGeom prst="rect">
            <a:avLst/>
          </a:prstGeom>
          <a:solidFill>
            <a:schemeClr val="lt1"/>
          </a:solidFill>
          <a:ln>
            <a:noFill/>
          </a:ln>
        </p:spPr>
      </p:pic>
      <p:cxnSp>
        <p:nvCxnSpPr>
          <p:cNvPr id="17" name="Google Shape;481;p25">
            <a:extLst>
              <a:ext uri="{FF2B5EF4-FFF2-40B4-BE49-F238E27FC236}">
                <a16:creationId xmlns:a16="http://schemas.microsoft.com/office/drawing/2014/main" id="{F76FC31D-0786-1BA0-910D-D8789A2CDB91}"/>
              </a:ext>
            </a:extLst>
          </p:cNvPr>
          <p:cNvCxnSpPr/>
          <p:nvPr userDrawn="1"/>
        </p:nvCxnSpPr>
        <p:spPr>
          <a:xfrm>
            <a:off x="-12" y="6171070"/>
            <a:ext cx="1990200" cy="0"/>
          </a:xfrm>
          <a:prstGeom prst="straightConnector1">
            <a:avLst/>
          </a:prstGeom>
          <a:noFill/>
          <a:ln w="28575" cap="flat" cmpd="sng">
            <a:solidFill>
              <a:schemeClr val="accent4"/>
            </a:solidFill>
            <a:prstDash val="solid"/>
            <a:miter lim="800000"/>
            <a:headEnd type="none" w="sm" len="sm"/>
            <a:tailEnd type="none" w="sm" len="sm"/>
          </a:ln>
        </p:spPr>
      </p:cxnSp>
      <p:cxnSp>
        <p:nvCxnSpPr>
          <p:cNvPr id="18" name="Google Shape;482;p25">
            <a:extLst>
              <a:ext uri="{FF2B5EF4-FFF2-40B4-BE49-F238E27FC236}">
                <a16:creationId xmlns:a16="http://schemas.microsoft.com/office/drawing/2014/main" id="{4401DAEF-3BBE-D402-BFEA-068AB8E54353}"/>
              </a:ext>
            </a:extLst>
          </p:cNvPr>
          <p:cNvCxnSpPr>
            <a:cxnSpLocks/>
          </p:cNvCxnSpPr>
          <p:nvPr userDrawn="1"/>
        </p:nvCxnSpPr>
        <p:spPr>
          <a:xfrm>
            <a:off x="0" y="509265"/>
            <a:ext cx="1990200" cy="0"/>
          </a:xfrm>
          <a:prstGeom prst="straightConnector1">
            <a:avLst/>
          </a:prstGeom>
          <a:noFill/>
          <a:ln w="28575" cap="flat" cmpd="sng">
            <a:solidFill>
              <a:schemeClr val="accent4"/>
            </a:solidFill>
            <a:prstDash val="solid"/>
            <a:miter lim="800000"/>
            <a:headEnd type="none" w="sm" len="sm"/>
            <a:tailEnd type="none" w="sm" len="sm"/>
          </a:ln>
        </p:spPr>
      </p:cxnSp>
      <p:pic>
        <p:nvPicPr>
          <p:cNvPr id="19" name="Picture 18" descr="A logo with a black background&#10;&#10;Description automatically generated">
            <a:extLst>
              <a:ext uri="{FF2B5EF4-FFF2-40B4-BE49-F238E27FC236}">
                <a16:creationId xmlns:a16="http://schemas.microsoft.com/office/drawing/2014/main" id="{EECC6725-E1E9-AB8B-32D9-53847E6BF5D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12222" y="276399"/>
            <a:ext cx="1631436" cy="689552"/>
          </a:xfrm>
          <a:prstGeom prst="rect">
            <a:avLst/>
          </a:prstGeom>
        </p:spPr>
      </p:pic>
      <p:sp>
        <p:nvSpPr>
          <p:cNvPr id="23" name="Text Placeholder 32">
            <a:extLst>
              <a:ext uri="{FF2B5EF4-FFF2-40B4-BE49-F238E27FC236}">
                <a16:creationId xmlns:a16="http://schemas.microsoft.com/office/drawing/2014/main" id="{B03D3279-1361-A8E7-8753-F8A8847DA999}"/>
              </a:ext>
            </a:extLst>
          </p:cNvPr>
          <p:cNvSpPr>
            <a:spLocks noGrp="1"/>
          </p:cNvSpPr>
          <p:nvPr>
            <p:ph type="body" sz="quarter" idx="14"/>
          </p:nvPr>
        </p:nvSpPr>
        <p:spPr>
          <a:xfrm>
            <a:off x="7649028" y="4202113"/>
            <a:ext cx="1844245" cy="1563688"/>
          </a:xfrm>
        </p:spPr>
        <p:txBody>
          <a:bodyPr/>
          <a:lstStyle>
            <a:lvl1pPr>
              <a:lnSpc>
                <a:spcPct val="150000"/>
              </a:lnSpc>
              <a:buClr>
                <a:schemeClr val="bg1"/>
              </a:buClr>
              <a:defRPr>
                <a:solidFill>
                  <a:schemeClr val="bg1"/>
                </a:solidFill>
              </a:defRPr>
            </a:lvl1pPr>
            <a:lvl2pPr>
              <a:lnSpc>
                <a:spcPct val="150000"/>
              </a:lnSpc>
              <a:buClr>
                <a:schemeClr val="bg1"/>
              </a:buClr>
              <a:defRPr>
                <a:solidFill>
                  <a:schemeClr val="bg1"/>
                </a:solidFill>
              </a:defRPr>
            </a:lvl2pPr>
            <a:lvl3pPr>
              <a:lnSpc>
                <a:spcPct val="150000"/>
              </a:lnSpc>
              <a:buClr>
                <a:schemeClr val="bg1"/>
              </a:buClr>
              <a:defRPr>
                <a:solidFill>
                  <a:schemeClr val="bg1"/>
                </a:solidFill>
              </a:defRPr>
            </a:lvl3pPr>
            <a:lvl4pPr>
              <a:lnSpc>
                <a:spcPct val="150000"/>
              </a:lnSpc>
              <a:buClr>
                <a:schemeClr val="bg1"/>
              </a:buClr>
              <a:defRPr>
                <a:solidFill>
                  <a:schemeClr val="bg1"/>
                </a:solidFill>
              </a:defRPr>
            </a:lvl4pPr>
            <a:lvl5pPr>
              <a:lnSpc>
                <a:spcPct val="15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97DBA986-D817-B25D-EA88-D04DABD696BC}"/>
              </a:ext>
            </a:extLst>
          </p:cNvPr>
          <p:cNvSpPr>
            <a:spLocks noGrp="1"/>
          </p:cNvSpPr>
          <p:nvPr>
            <p:ph type="body" sz="quarter" idx="16" hasCustomPrompt="1"/>
          </p:nvPr>
        </p:nvSpPr>
        <p:spPr>
          <a:xfrm>
            <a:off x="7648598" y="3790263"/>
            <a:ext cx="1844675" cy="338138"/>
          </a:xfrm>
        </p:spPr>
        <p:txBody>
          <a:bodyPr>
            <a:normAutofit/>
          </a:bodyPr>
          <a:lstStyle>
            <a:lvl1pPr marL="0" indent="0">
              <a:buNone/>
              <a:defRPr sz="1400">
                <a:solidFill>
                  <a:schemeClr val="bg1"/>
                </a:solidFill>
              </a:defRPr>
            </a:lvl1pPr>
          </a:lstStyle>
          <a:p>
            <a:pPr lvl="0"/>
            <a:r>
              <a:rPr lang="en-US"/>
              <a:t>Your text here</a:t>
            </a:r>
          </a:p>
        </p:txBody>
      </p:sp>
      <p:sp>
        <p:nvSpPr>
          <p:cNvPr id="37" name="Text Placeholder 32">
            <a:extLst>
              <a:ext uri="{FF2B5EF4-FFF2-40B4-BE49-F238E27FC236}">
                <a16:creationId xmlns:a16="http://schemas.microsoft.com/office/drawing/2014/main" id="{6441EE82-5437-017C-86B7-270000684AEB}"/>
              </a:ext>
            </a:extLst>
          </p:cNvPr>
          <p:cNvSpPr>
            <a:spLocks noGrp="1"/>
          </p:cNvSpPr>
          <p:nvPr>
            <p:ph type="body" sz="quarter" idx="17"/>
          </p:nvPr>
        </p:nvSpPr>
        <p:spPr>
          <a:xfrm>
            <a:off x="2772183" y="1763714"/>
            <a:ext cx="1844245" cy="1563688"/>
          </a:xfrm>
        </p:spPr>
        <p:txBody>
          <a:bodyPr/>
          <a:lstStyle>
            <a:lvl1pPr>
              <a:lnSpc>
                <a:spcPct val="150000"/>
              </a:lnSpc>
              <a:buClr>
                <a:schemeClr val="bg1"/>
              </a:buClr>
              <a:defRPr>
                <a:solidFill>
                  <a:schemeClr val="bg1"/>
                </a:solidFill>
              </a:defRPr>
            </a:lvl1pPr>
            <a:lvl2pPr>
              <a:lnSpc>
                <a:spcPct val="150000"/>
              </a:lnSpc>
              <a:buClr>
                <a:schemeClr val="bg1"/>
              </a:buClr>
              <a:defRPr>
                <a:solidFill>
                  <a:schemeClr val="bg1"/>
                </a:solidFill>
              </a:defRPr>
            </a:lvl2pPr>
            <a:lvl3pPr>
              <a:lnSpc>
                <a:spcPct val="150000"/>
              </a:lnSpc>
              <a:buClr>
                <a:schemeClr val="bg1"/>
              </a:buClr>
              <a:defRPr>
                <a:solidFill>
                  <a:schemeClr val="bg1"/>
                </a:solidFill>
              </a:defRPr>
            </a:lvl3pPr>
            <a:lvl4pPr>
              <a:lnSpc>
                <a:spcPct val="150000"/>
              </a:lnSpc>
              <a:buClr>
                <a:schemeClr val="bg1"/>
              </a:buClr>
              <a:defRPr>
                <a:solidFill>
                  <a:schemeClr val="bg1"/>
                </a:solidFill>
              </a:defRPr>
            </a:lvl4pPr>
            <a:lvl5pPr>
              <a:lnSpc>
                <a:spcPct val="15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33">
            <a:extLst>
              <a:ext uri="{FF2B5EF4-FFF2-40B4-BE49-F238E27FC236}">
                <a16:creationId xmlns:a16="http://schemas.microsoft.com/office/drawing/2014/main" id="{4523F27B-43DD-A67A-CD74-B91F61600963}"/>
              </a:ext>
            </a:extLst>
          </p:cNvPr>
          <p:cNvSpPr>
            <a:spLocks noGrp="1"/>
          </p:cNvSpPr>
          <p:nvPr>
            <p:ph type="body" sz="quarter" idx="18" hasCustomPrompt="1"/>
          </p:nvPr>
        </p:nvSpPr>
        <p:spPr>
          <a:xfrm>
            <a:off x="2772183" y="1351864"/>
            <a:ext cx="1844675" cy="338138"/>
          </a:xfrm>
        </p:spPr>
        <p:txBody>
          <a:bodyPr>
            <a:normAutofit/>
          </a:bodyPr>
          <a:lstStyle>
            <a:lvl1pPr marL="0" indent="0">
              <a:buNone/>
              <a:defRPr sz="1400">
                <a:solidFill>
                  <a:schemeClr val="bg1"/>
                </a:solidFill>
              </a:defRPr>
            </a:lvl1pPr>
          </a:lstStyle>
          <a:p>
            <a:pPr lvl="0"/>
            <a:r>
              <a:rPr lang="en-US"/>
              <a:t>Your text here</a:t>
            </a:r>
          </a:p>
        </p:txBody>
      </p:sp>
      <p:sp>
        <p:nvSpPr>
          <p:cNvPr id="41" name="Picture Placeholder 39">
            <a:extLst>
              <a:ext uri="{FF2B5EF4-FFF2-40B4-BE49-F238E27FC236}">
                <a16:creationId xmlns:a16="http://schemas.microsoft.com/office/drawing/2014/main" id="{C235348B-9789-E26F-F661-42E58F026D63}"/>
              </a:ext>
            </a:extLst>
          </p:cNvPr>
          <p:cNvSpPr>
            <a:spLocks noGrp="1"/>
          </p:cNvSpPr>
          <p:nvPr>
            <p:ph type="pic" sz="quarter" idx="19"/>
          </p:nvPr>
        </p:nvSpPr>
        <p:spPr>
          <a:xfrm>
            <a:off x="1" y="1066800"/>
            <a:ext cx="2438400" cy="2438400"/>
          </a:xfrm>
          <a:solidFill>
            <a:schemeClr val="tx2"/>
          </a:solidFill>
        </p:spPr>
        <p:txBody>
          <a:bodyPr/>
          <a:lstStyle/>
          <a:p>
            <a:endParaRPr lang="en-US"/>
          </a:p>
        </p:txBody>
      </p:sp>
      <p:sp>
        <p:nvSpPr>
          <p:cNvPr id="44" name="Picture Placeholder 42">
            <a:extLst>
              <a:ext uri="{FF2B5EF4-FFF2-40B4-BE49-F238E27FC236}">
                <a16:creationId xmlns:a16="http://schemas.microsoft.com/office/drawing/2014/main" id="{53B07E51-F485-E5BC-6F08-02603D8C6885}"/>
              </a:ext>
            </a:extLst>
          </p:cNvPr>
          <p:cNvSpPr>
            <a:spLocks noGrp="1"/>
          </p:cNvSpPr>
          <p:nvPr>
            <p:ph type="pic" sz="quarter" idx="20"/>
          </p:nvPr>
        </p:nvSpPr>
        <p:spPr>
          <a:xfrm>
            <a:off x="2438401" y="3505200"/>
            <a:ext cx="2438400" cy="2438400"/>
          </a:xfrm>
          <a:solidFill>
            <a:schemeClr val="tx2"/>
          </a:solidFill>
        </p:spPr>
        <p:txBody>
          <a:bodyPr/>
          <a:lstStyle/>
          <a:p>
            <a:endParaRPr lang="en-US"/>
          </a:p>
        </p:txBody>
      </p:sp>
      <p:sp>
        <p:nvSpPr>
          <p:cNvPr id="47" name="Picture Placeholder 45">
            <a:extLst>
              <a:ext uri="{FF2B5EF4-FFF2-40B4-BE49-F238E27FC236}">
                <a16:creationId xmlns:a16="http://schemas.microsoft.com/office/drawing/2014/main" id="{04A3A635-FF2C-F11A-EBDE-C5FF57D0D3AC}"/>
              </a:ext>
            </a:extLst>
          </p:cNvPr>
          <p:cNvSpPr>
            <a:spLocks noGrp="1"/>
          </p:cNvSpPr>
          <p:nvPr>
            <p:ph type="pic" sz="quarter" idx="21"/>
          </p:nvPr>
        </p:nvSpPr>
        <p:spPr>
          <a:xfrm>
            <a:off x="-1" y="3505199"/>
            <a:ext cx="2438400" cy="2438400"/>
          </a:xfrm>
          <a:solidFill>
            <a:schemeClr val="accent3"/>
          </a:solidFill>
        </p:spPr>
        <p:txBody>
          <a:bodyPr/>
          <a:lstStyle/>
          <a:p>
            <a:endParaRPr lang="en-US"/>
          </a:p>
        </p:txBody>
      </p:sp>
      <p:sp>
        <p:nvSpPr>
          <p:cNvPr id="50" name="Picture Placeholder 48">
            <a:extLst>
              <a:ext uri="{FF2B5EF4-FFF2-40B4-BE49-F238E27FC236}">
                <a16:creationId xmlns:a16="http://schemas.microsoft.com/office/drawing/2014/main" id="{03D0A4D8-CDCB-7B0F-FEA9-B6A9BA17548D}"/>
              </a:ext>
            </a:extLst>
          </p:cNvPr>
          <p:cNvSpPr>
            <a:spLocks noGrp="1"/>
          </p:cNvSpPr>
          <p:nvPr>
            <p:ph type="pic" sz="quarter" idx="22"/>
          </p:nvPr>
        </p:nvSpPr>
        <p:spPr>
          <a:xfrm>
            <a:off x="4876801" y="3505200"/>
            <a:ext cx="2438400" cy="2438400"/>
          </a:xfrm>
          <a:solidFill>
            <a:schemeClr val="accent3"/>
          </a:solidFill>
        </p:spPr>
        <p:txBody>
          <a:bodyPr/>
          <a:lstStyle/>
          <a:p>
            <a:endParaRPr lang="en-US"/>
          </a:p>
        </p:txBody>
      </p:sp>
      <p:sp>
        <p:nvSpPr>
          <p:cNvPr id="53" name="Picture Placeholder 51">
            <a:extLst>
              <a:ext uri="{FF2B5EF4-FFF2-40B4-BE49-F238E27FC236}">
                <a16:creationId xmlns:a16="http://schemas.microsoft.com/office/drawing/2014/main" id="{AE4FE6A3-CAA0-3E4E-414A-17DAB8060054}"/>
              </a:ext>
            </a:extLst>
          </p:cNvPr>
          <p:cNvSpPr>
            <a:spLocks noGrp="1"/>
          </p:cNvSpPr>
          <p:nvPr>
            <p:ph type="pic" sz="quarter" idx="23"/>
          </p:nvPr>
        </p:nvSpPr>
        <p:spPr>
          <a:xfrm>
            <a:off x="4876801" y="1066800"/>
            <a:ext cx="2438400" cy="2438400"/>
          </a:xfrm>
          <a:solidFill>
            <a:schemeClr val="tx2"/>
          </a:solidFill>
        </p:spPr>
        <p:txBody>
          <a:bodyPr/>
          <a:lstStyle/>
          <a:p>
            <a:endParaRPr lang="en-US"/>
          </a:p>
        </p:txBody>
      </p:sp>
      <p:sp>
        <p:nvSpPr>
          <p:cNvPr id="56" name="Picture Placeholder 54">
            <a:extLst>
              <a:ext uri="{FF2B5EF4-FFF2-40B4-BE49-F238E27FC236}">
                <a16:creationId xmlns:a16="http://schemas.microsoft.com/office/drawing/2014/main" id="{925A3E16-69EA-94F1-1684-1493FA9993A0}"/>
              </a:ext>
            </a:extLst>
          </p:cNvPr>
          <p:cNvSpPr>
            <a:spLocks noGrp="1"/>
          </p:cNvSpPr>
          <p:nvPr>
            <p:ph type="pic" sz="quarter" idx="24"/>
          </p:nvPr>
        </p:nvSpPr>
        <p:spPr>
          <a:xfrm>
            <a:off x="7315201" y="1066800"/>
            <a:ext cx="2438400" cy="2438400"/>
          </a:xfrm>
          <a:solidFill>
            <a:schemeClr val="accent3"/>
          </a:solidFill>
        </p:spPr>
        <p:txBody>
          <a:bodyPr/>
          <a:lstStyle/>
          <a:p>
            <a:endParaRPr lang="en-US"/>
          </a:p>
        </p:txBody>
      </p:sp>
      <p:sp>
        <p:nvSpPr>
          <p:cNvPr id="60" name="Picture Placeholder 57">
            <a:extLst>
              <a:ext uri="{FF2B5EF4-FFF2-40B4-BE49-F238E27FC236}">
                <a16:creationId xmlns:a16="http://schemas.microsoft.com/office/drawing/2014/main" id="{FB44E4FE-E684-551D-E986-BCC24076204D}"/>
              </a:ext>
            </a:extLst>
          </p:cNvPr>
          <p:cNvSpPr>
            <a:spLocks noGrp="1"/>
          </p:cNvSpPr>
          <p:nvPr>
            <p:ph type="pic" sz="quarter" idx="25"/>
          </p:nvPr>
        </p:nvSpPr>
        <p:spPr>
          <a:xfrm>
            <a:off x="9753598" y="1066800"/>
            <a:ext cx="2438400" cy="2441575"/>
          </a:xfrm>
          <a:solidFill>
            <a:schemeClr val="tx2"/>
          </a:solidFill>
        </p:spPr>
        <p:txBody>
          <a:bodyPr/>
          <a:lstStyle/>
          <a:p>
            <a:endParaRPr lang="en-US"/>
          </a:p>
        </p:txBody>
      </p:sp>
      <p:sp>
        <p:nvSpPr>
          <p:cNvPr id="63" name="Picture Placeholder 61">
            <a:extLst>
              <a:ext uri="{FF2B5EF4-FFF2-40B4-BE49-F238E27FC236}">
                <a16:creationId xmlns:a16="http://schemas.microsoft.com/office/drawing/2014/main" id="{DC8227E1-9E30-6097-1E5A-FA5CBD62E324}"/>
              </a:ext>
            </a:extLst>
          </p:cNvPr>
          <p:cNvSpPr>
            <a:spLocks noGrp="1"/>
          </p:cNvSpPr>
          <p:nvPr>
            <p:ph type="pic" sz="quarter" idx="26"/>
          </p:nvPr>
        </p:nvSpPr>
        <p:spPr>
          <a:xfrm>
            <a:off x="9753601" y="3505198"/>
            <a:ext cx="2438400" cy="2438400"/>
          </a:xfrm>
          <a:solidFill>
            <a:schemeClr val="accent3"/>
          </a:solidFill>
        </p:spPr>
        <p:txBody>
          <a:bodyPr/>
          <a:lstStyle/>
          <a:p>
            <a:endParaRPr lang="en-US"/>
          </a:p>
        </p:txBody>
      </p:sp>
      <p:sp>
        <p:nvSpPr>
          <p:cNvPr id="9" name="Footer Placeholder 8">
            <a:extLst>
              <a:ext uri="{FF2B5EF4-FFF2-40B4-BE49-F238E27FC236}">
                <a16:creationId xmlns:a16="http://schemas.microsoft.com/office/drawing/2014/main" id="{56A1834A-18D0-CEC8-8A58-70B2F6F24D26}"/>
              </a:ext>
            </a:extLst>
          </p:cNvPr>
          <p:cNvSpPr>
            <a:spLocks noGrp="1"/>
          </p:cNvSpPr>
          <p:nvPr>
            <p:ph type="ftr" sz="quarter" idx="29"/>
          </p:nvPr>
        </p:nvSpPr>
        <p:spPr/>
        <p:txBody>
          <a:bodyPr/>
          <a:lstStyle/>
          <a:p>
            <a:endParaRPr lang="en-US"/>
          </a:p>
        </p:txBody>
      </p:sp>
    </p:spTree>
    <p:extLst>
      <p:ext uri="{BB962C8B-B14F-4D97-AF65-F5344CB8AC3E}">
        <p14:creationId xmlns:p14="http://schemas.microsoft.com/office/powerpoint/2010/main" val="5404136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ample Layout_21">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3806773467"/>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7" name="Google Shape;491;p26">
            <a:extLst>
              <a:ext uri="{FF2B5EF4-FFF2-40B4-BE49-F238E27FC236}">
                <a16:creationId xmlns:a16="http://schemas.microsoft.com/office/drawing/2014/main" id="{CA7E24AA-2512-1804-8B39-3CF59A323295}"/>
              </a:ext>
            </a:extLst>
          </p:cNvPr>
          <p:cNvSpPr/>
          <p:nvPr userDrawn="1"/>
        </p:nvSpPr>
        <p:spPr>
          <a:xfrm>
            <a:off x="7963384" y="3436618"/>
            <a:ext cx="3645638" cy="2783032"/>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 name="Picture Placeholder 12">
            <a:extLst>
              <a:ext uri="{FF2B5EF4-FFF2-40B4-BE49-F238E27FC236}">
                <a16:creationId xmlns:a16="http://schemas.microsoft.com/office/drawing/2014/main" id="{B0B033EA-90EC-F70E-DC71-C8A493CD1A00}"/>
              </a:ext>
            </a:extLst>
          </p:cNvPr>
          <p:cNvSpPr>
            <a:spLocks noGrp="1"/>
          </p:cNvSpPr>
          <p:nvPr>
            <p:ph type="pic" sz="quarter" idx="10"/>
          </p:nvPr>
        </p:nvSpPr>
        <p:spPr>
          <a:xfrm>
            <a:off x="582868" y="630736"/>
            <a:ext cx="4394200" cy="5597525"/>
          </a:xfrm>
          <a:solidFill>
            <a:schemeClr val="tx2"/>
          </a:solidFill>
        </p:spPr>
        <p:txBody>
          <a:bodyPr/>
          <a:lstStyle/>
          <a:p>
            <a:endParaRPr lang="en-US"/>
          </a:p>
        </p:txBody>
      </p:sp>
      <p:sp>
        <p:nvSpPr>
          <p:cNvPr id="19" name="Picture Placeholder 15">
            <a:extLst>
              <a:ext uri="{FF2B5EF4-FFF2-40B4-BE49-F238E27FC236}">
                <a16:creationId xmlns:a16="http://schemas.microsoft.com/office/drawing/2014/main" id="{A794F2B4-6BC4-CC5F-9838-EB5399ADF722}"/>
              </a:ext>
            </a:extLst>
          </p:cNvPr>
          <p:cNvSpPr>
            <a:spLocks noGrp="1"/>
          </p:cNvSpPr>
          <p:nvPr>
            <p:ph type="pic" sz="quarter" idx="11"/>
          </p:nvPr>
        </p:nvSpPr>
        <p:spPr>
          <a:xfrm>
            <a:off x="4976813" y="629916"/>
            <a:ext cx="2986088" cy="2806700"/>
          </a:xfrm>
          <a:solidFill>
            <a:schemeClr val="accent3"/>
          </a:solidFill>
          <a:ln>
            <a:noFill/>
          </a:ln>
        </p:spPr>
        <p:txBody>
          <a:bodyPr/>
          <a:lstStyle/>
          <a:p>
            <a:endParaRPr lang="en-US"/>
          </a:p>
        </p:txBody>
      </p:sp>
      <p:sp>
        <p:nvSpPr>
          <p:cNvPr id="22" name="Picture Placeholder 21">
            <a:extLst>
              <a:ext uri="{FF2B5EF4-FFF2-40B4-BE49-F238E27FC236}">
                <a16:creationId xmlns:a16="http://schemas.microsoft.com/office/drawing/2014/main" id="{C30B590D-0C97-363B-F38D-1888FC0498D6}"/>
              </a:ext>
            </a:extLst>
          </p:cNvPr>
          <p:cNvSpPr>
            <a:spLocks noGrp="1"/>
          </p:cNvSpPr>
          <p:nvPr>
            <p:ph type="pic" sz="quarter" idx="12"/>
          </p:nvPr>
        </p:nvSpPr>
        <p:spPr>
          <a:xfrm>
            <a:off x="4977292" y="3436279"/>
            <a:ext cx="2986088" cy="2782888"/>
          </a:xfrm>
          <a:solidFill>
            <a:schemeClr val="accent2"/>
          </a:solidFill>
        </p:spPr>
        <p:txBody>
          <a:bodyPr/>
          <a:lstStyle/>
          <a:p>
            <a:endParaRPr lang="en-US"/>
          </a:p>
        </p:txBody>
      </p:sp>
      <p:sp>
        <p:nvSpPr>
          <p:cNvPr id="25" name="Picture Placeholder 23">
            <a:extLst>
              <a:ext uri="{FF2B5EF4-FFF2-40B4-BE49-F238E27FC236}">
                <a16:creationId xmlns:a16="http://schemas.microsoft.com/office/drawing/2014/main" id="{9AF8AC9D-EEE0-665A-32FE-52FB26A5E8D0}"/>
              </a:ext>
            </a:extLst>
          </p:cNvPr>
          <p:cNvSpPr>
            <a:spLocks noGrp="1"/>
          </p:cNvSpPr>
          <p:nvPr>
            <p:ph type="pic" sz="quarter" idx="13"/>
          </p:nvPr>
        </p:nvSpPr>
        <p:spPr>
          <a:xfrm>
            <a:off x="7963384" y="629916"/>
            <a:ext cx="3646488" cy="2806700"/>
          </a:xfrm>
          <a:solidFill>
            <a:schemeClr val="tx2"/>
          </a:solidFill>
        </p:spPr>
        <p:txBody>
          <a:bodyPr/>
          <a:lstStyle/>
          <a:p>
            <a:endParaRPr lang="en-US"/>
          </a:p>
        </p:txBody>
      </p:sp>
      <p:sp>
        <p:nvSpPr>
          <p:cNvPr id="26" name="Title 25">
            <a:extLst>
              <a:ext uri="{FF2B5EF4-FFF2-40B4-BE49-F238E27FC236}">
                <a16:creationId xmlns:a16="http://schemas.microsoft.com/office/drawing/2014/main" id="{0B9F1F97-8E23-998E-E05A-B53D053091CD}"/>
              </a:ext>
            </a:extLst>
          </p:cNvPr>
          <p:cNvSpPr>
            <a:spLocks noGrp="1"/>
          </p:cNvSpPr>
          <p:nvPr>
            <p:ph type="title" hasCustomPrompt="1"/>
          </p:nvPr>
        </p:nvSpPr>
        <p:spPr>
          <a:xfrm>
            <a:off x="8429624" y="4060645"/>
            <a:ext cx="2713038" cy="338138"/>
          </a:xfrm>
        </p:spPr>
        <p:txBody>
          <a:bodyPr vert="horz">
            <a:normAutofit/>
          </a:bodyPr>
          <a:lstStyle>
            <a:lvl1pPr>
              <a:defRPr sz="1600">
                <a:solidFill>
                  <a:schemeClr val="bg1"/>
                </a:solidFill>
              </a:defRPr>
            </a:lvl1pPr>
          </a:lstStyle>
          <a:p>
            <a:r>
              <a:rPr lang="en-US"/>
              <a:t>Your text here</a:t>
            </a:r>
          </a:p>
        </p:txBody>
      </p:sp>
      <p:sp>
        <p:nvSpPr>
          <p:cNvPr id="33" name="Text Placeholder 32">
            <a:extLst>
              <a:ext uri="{FF2B5EF4-FFF2-40B4-BE49-F238E27FC236}">
                <a16:creationId xmlns:a16="http://schemas.microsoft.com/office/drawing/2014/main" id="{2780D076-877F-3842-EF69-5CFCFA385967}"/>
              </a:ext>
            </a:extLst>
          </p:cNvPr>
          <p:cNvSpPr>
            <a:spLocks noGrp="1"/>
          </p:cNvSpPr>
          <p:nvPr>
            <p:ph type="body" sz="quarter" idx="14"/>
          </p:nvPr>
        </p:nvSpPr>
        <p:spPr>
          <a:xfrm>
            <a:off x="8429248" y="4472806"/>
            <a:ext cx="2713038" cy="1201738"/>
          </a:xfrm>
        </p:spPr>
        <p:txBody>
          <a:bodyPr/>
          <a:lstStyle>
            <a:lvl1pPr>
              <a:lnSpc>
                <a:spcPct val="150000"/>
              </a:lnSpc>
              <a:buClr>
                <a:schemeClr val="bg1"/>
              </a:buClr>
              <a:defRPr>
                <a:solidFill>
                  <a:schemeClr val="bg1"/>
                </a:solidFill>
              </a:defRPr>
            </a:lvl1pPr>
            <a:lvl2pPr>
              <a:lnSpc>
                <a:spcPct val="150000"/>
              </a:lnSpc>
              <a:buClr>
                <a:schemeClr val="bg1"/>
              </a:buClr>
              <a:defRPr>
                <a:solidFill>
                  <a:schemeClr val="bg1"/>
                </a:solidFill>
              </a:defRPr>
            </a:lvl2pPr>
            <a:lvl3pPr>
              <a:lnSpc>
                <a:spcPct val="150000"/>
              </a:lnSpc>
              <a:buClr>
                <a:schemeClr val="bg1"/>
              </a:buClr>
              <a:defRPr>
                <a:solidFill>
                  <a:schemeClr val="bg1"/>
                </a:solidFill>
              </a:defRPr>
            </a:lvl3pPr>
            <a:lvl4pPr>
              <a:lnSpc>
                <a:spcPct val="150000"/>
              </a:lnSpc>
              <a:buClr>
                <a:schemeClr val="bg1"/>
              </a:buClr>
              <a:defRPr>
                <a:solidFill>
                  <a:schemeClr val="bg1"/>
                </a:solidFill>
              </a:defRPr>
            </a:lvl4pPr>
            <a:lvl5pPr>
              <a:lnSpc>
                <a:spcPct val="15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3FA3C930-7A19-AF95-84EA-896F7E78BF6E}"/>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428943880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3549319987"/>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126;p1">
            <a:extLst>
              <a:ext uri="{FF2B5EF4-FFF2-40B4-BE49-F238E27FC236}">
                <a16:creationId xmlns:a16="http://schemas.microsoft.com/office/drawing/2014/main" id="{0FCD3FAD-43E3-2C0E-CED1-B28F616E5F45}"/>
              </a:ext>
            </a:extLst>
          </p:cNvPr>
          <p:cNvSpPr/>
          <p:nvPr userDrawn="1"/>
        </p:nvSpPr>
        <p:spPr>
          <a:xfrm>
            <a:off x="293211" y="0"/>
            <a:ext cx="5938200" cy="62073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 name="Google Shape;127;p1">
            <a:extLst>
              <a:ext uri="{FF2B5EF4-FFF2-40B4-BE49-F238E27FC236}">
                <a16:creationId xmlns:a16="http://schemas.microsoft.com/office/drawing/2014/main" id="{D800B490-30C4-191F-9A35-A8A6369155E3}"/>
              </a:ext>
            </a:extLst>
          </p:cNvPr>
          <p:cNvSpPr/>
          <p:nvPr userDrawn="1"/>
        </p:nvSpPr>
        <p:spPr>
          <a:xfrm>
            <a:off x="0" y="0"/>
            <a:ext cx="5938221" cy="5938221"/>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 name="Google Shape;130;p1">
            <a:extLst>
              <a:ext uri="{FF2B5EF4-FFF2-40B4-BE49-F238E27FC236}">
                <a16:creationId xmlns:a16="http://schemas.microsoft.com/office/drawing/2014/main" id="{9956CD4A-F61C-8180-3747-8E45C3C8BF1D}"/>
              </a:ext>
            </a:extLst>
          </p:cNvPr>
          <p:cNvSpPr txBox="1"/>
          <p:nvPr userDrawn="1"/>
        </p:nvSpPr>
        <p:spPr>
          <a:xfrm>
            <a:off x="6743937" y="4637552"/>
            <a:ext cx="4354987" cy="646290"/>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None/>
            </a:pPr>
            <a:r>
              <a:rPr lang="en-US" sz="1200">
                <a:solidFill>
                  <a:schemeClr val="tx2"/>
                </a:solidFill>
                <a:ea typeface="Poppins"/>
                <a:cs typeface="Poppins"/>
                <a:sym typeface="Poppins"/>
              </a:rPr>
              <a:t>Lorem ipsum dolor sit amet, consectetur adipiscing elit, sed do </a:t>
            </a:r>
            <a:r>
              <a:rPr lang="en-US" sz="1200" err="1">
                <a:solidFill>
                  <a:schemeClr val="tx2"/>
                </a:solidFill>
                <a:ea typeface="Poppins"/>
                <a:cs typeface="Poppins"/>
                <a:sym typeface="Poppins"/>
              </a:rPr>
              <a:t>eiusmod</a:t>
            </a:r>
            <a:r>
              <a:rPr lang="en-US" sz="1200">
                <a:solidFill>
                  <a:schemeClr val="tx2"/>
                </a:solidFill>
                <a:ea typeface="Poppins"/>
                <a:cs typeface="Poppins"/>
                <a:sym typeface="Poppins"/>
              </a:rPr>
              <a:t> </a:t>
            </a:r>
            <a:r>
              <a:rPr lang="en-US" sz="1200" err="1">
                <a:solidFill>
                  <a:schemeClr val="tx2"/>
                </a:solidFill>
                <a:ea typeface="Poppins"/>
                <a:cs typeface="Poppins"/>
                <a:sym typeface="Poppins"/>
              </a:rPr>
              <a:t>tempor</a:t>
            </a:r>
            <a:r>
              <a:rPr lang="en-US" sz="1200">
                <a:solidFill>
                  <a:schemeClr val="tx2"/>
                </a:solidFill>
                <a:ea typeface="Poppins"/>
                <a:cs typeface="Poppins"/>
                <a:sym typeface="Poppins"/>
              </a:rPr>
              <a:t> </a:t>
            </a:r>
            <a:r>
              <a:rPr lang="en-US" sz="1200" err="1">
                <a:solidFill>
                  <a:schemeClr val="tx2"/>
                </a:solidFill>
                <a:ea typeface="Poppins"/>
                <a:cs typeface="Poppins"/>
                <a:sym typeface="Poppins"/>
              </a:rPr>
              <a:t>incididunt</a:t>
            </a:r>
            <a:r>
              <a:rPr lang="en-US" sz="1200">
                <a:solidFill>
                  <a:schemeClr val="tx2"/>
                </a:solidFill>
                <a:ea typeface="Poppins"/>
                <a:cs typeface="Poppins"/>
                <a:sym typeface="Poppins"/>
              </a:rPr>
              <a:t> </a:t>
            </a:r>
            <a:r>
              <a:rPr lang="en-US" sz="1200" err="1">
                <a:solidFill>
                  <a:schemeClr val="tx2"/>
                </a:solidFill>
                <a:ea typeface="Poppins"/>
                <a:cs typeface="Poppins"/>
                <a:sym typeface="Poppins"/>
              </a:rPr>
              <a:t>ut</a:t>
            </a:r>
            <a:r>
              <a:rPr lang="en-US" sz="1200">
                <a:solidFill>
                  <a:schemeClr val="tx2"/>
                </a:solidFill>
                <a:ea typeface="Poppins"/>
                <a:cs typeface="Poppins"/>
                <a:sym typeface="Poppins"/>
              </a:rPr>
              <a:t> </a:t>
            </a:r>
            <a:r>
              <a:rPr lang="en-US" sz="1200" err="1">
                <a:solidFill>
                  <a:schemeClr val="tx2"/>
                </a:solidFill>
                <a:ea typeface="Poppins"/>
                <a:cs typeface="Poppins"/>
                <a:sym typeface="Poppins"/>
              </a:rPr>
              <a:t>labore</a:t>
            </a:r>
            <a:r>
              <a:rPr lang="en-US" sz="1200">
                <a:solidFill>
                  <a:schemeClr val="tx2"/>
                </a:solidFill>
                <a:ea typeface="Poppins"/>
                <a:cs typeface="Poppins"/>
                <a:sym typeface="Poppins"/>
              </a:rPr>
              <a:t> et dolore magna </a:t>
            </a:r>
            <a:r>
              <a:rPr lang="en-US" sz="1200" err="1">
                <a:solidFill>
                  <a:schemeClr val="tx2"/>
                </a:solidFill>
                <a:ea typeface="Poppins"/>
                <a:cs typeface="Poppins"/>
                <a:sym typeface="Poppins"/>
              </a:rPr>
              <a:t>aliqua</a:t>
            </a:r>
            <a:r>
              <a:rPr lang="en-US" sz="1200">
                <a:solidFill>
                  <a:schemeClr val="tx2"/>
                </a:solidFill>
                <a:ea typeface="Poppins"/>
                <a:cs typeface="Poppins"/>
                <a:sym typeface="Poppins"/>
              </a:rPr>
              <a:t>.</a:t>
            </a:r>
            <a:endParaRPr>
              <a:solidFill>
                <a:schemeClr val="tx2"/>
              </a:solidFill>
            </a:endParaRPr>
          </a:p>
        </p:txBody>
      </p:sp>
      <p:cxnSp>
        <p:nvCxnSpPr>
          <p:cNvPr id="6" name="Google Shape;134;p1">
            <a:extLst>
              <a:ext uri="{FF2B5EF4-FFF2-40B4-BE49-F238E27FC236}">
                <a16:creationId xmlns:a16="http://schemas.microsoft.com/office/drawing/2014/main" id="{0C7AC4FA-BEED-1CFF-03B8-B1C891BE2CFE}"/>
              </a:ext>
            </a:extLst>
          </p:cNvPr>
          <p:cNvCxnSpPr/>
          <p:nvPr userDrawn="1"/>
        </p:nvCxnSpPr>
        <p:spPr>
          <a:xfrm>
            <a:off x="6841863" y="5938215"/>
            <a:ext cx="1669500" cy="0"/>
          </a:xfrm>
          <a:prstGeom prst="straightConnector1">
            <a:avLst/>
          </a:prstGeom>
          <a:noFill/>
          <a:ln w="28575" cap="flat" cmpd="sng">
            <a:solidFill>
              <a:schemeClr val="accent4"/>
            </a:solidFill>
            <a:prstDash val="solid"/>
            <a:miter lim="800000"/>
            <a:headEnd type="none" w="sm" len="sm"/>
            <a:tailEnd type="none" w="sm" len="sm"/>
          </a:ln>
        </p:spPr>
      </p:cxnSp>
      <p:sp>
        <p:nvSpPr>
          <p:cNvPr id="45" name="Title 1">
            <a:extLst>
              <a:ext uri="{FF2B5EF4-FFF2-40B4-BE49-F238E27FC236}">
                <a16:creationId xmlns:a16="http://schemas.microsoft.com/office/drawing/2014/main" id="{D6433ED0-27AC-9FCF-D85B-4D82E17DE229}"/>
              </a:ext>
            </a:extLst>
          </p:cNvPr>
          <p:cNvSpPr>
            <a:spLocks noGrp="1"/>
          </p:cNvSpPr>
          <p:nvPr userDrawn="1">
            <p:ph type="title" hasCustomPrompt="1"/>
          </p:nvPr>
        </p:nvSpPr>
        <p:spPr>
          <a:xfrm>
            <a:off x="419101" y="2286000"/>
            <a:ext cx="5124450" cy="1206500"/>
          </a:xfrm>
        </p:spPr>
        <p:txBody>
          <a:bodyPr vert="horz">
            <a:normAutofit/>
          </a:bodyPr>
          <a:lstStyle>
            <a:lvl1pPr>
              <a:defRPr sz="2400" b="1">
                <a:solidFill>
                  <a:schemeClr val="bg1"/>
                </a:solidFill>
              </a:defRPr>
            </a:lvl1pPr>
          </a:lstStyle>
          <a:p>
            <a:r>
              <a:rPr lang="en-US"/>
              <a:t>PRESENTATION</a:t>
            </a:r>
            <a:br>
              <a:rPr lang="en-US"/>
            </a:br>
            <a:r>
              <a:rPr lang="en-US"/>
              <a:t>TITLE GOES HERE</a:t>
            </a:r>
          </a:p>
        </p:txBody>
      </p:sp>
      <p:sp>
        <p:nvSpPr>
          <p:cNvPr id="46" name="Text Placeholder 6">
            <a:extLst>
              <a:ext uri="{FF2B5EF4-FFF2-40B4-BE49-F238E27FC236}">
                <a16:creationId xmlns:a16="http://schemas.microsoft.com/office/drawing/2014/main" id="{8D77B1AC-DD95-31EA-D4D9-307FB3DFB228}"/>
              </a:ext>
            </a:extLst>
          </p:cNvPr>
          <p:cNvSpPr>
            <a:spLocks noGrp="1"/>
          </p:cNvSpPr>
          <p:nvPr userDrawn="1">
            <p:ph type="body" sz="quarter" idx="13" hasCustomPrompt="1"/>
          </p:nvPr>
        </p:nvSpPr>
        <p:spPr>
          <a:xfrm>
            <a:off x="419102" y="3717269"/>
            <a:ext cx="5124450" cy="261938"/>
          </a:xfrm>
          <a:prstGeom prst="rect">
            <a:avLst/>
          </a:prstGeom>
        </p:spPr>
        <p:txBody>
          <a:bodyPr>
            <a:normAutofit/>
          </a:bodyPr>
          <a:lstStyle>
            <a:lvl1pPr marL="0" indent="0">
              <a:buNone/>
              <a:defRPr sz="1800">
                <a:solidFill>
                  <a:schemeClr val="bg1"/>
                </a:solidFill>
                <a:latin typeface="+mj-lt"/>
              </a:defRPr>
            </a:lvl1pPr>
          </a:lstStyle>
          <a:p>
            <a:pPr marL="114300" lvl="0" indent="-342900" defTabSz="914323">
              <a:lnSpc>
                <a:spcPct val="85000"/>
              </a:lnSpc>
              <a:spcBef>
                <a:spcPct val="0"/>
              </a:spcBef>
            </a:pPr>
            <a:r>
              <a:rPr lang="en-US"/>
              <a:t>Subtitle</a:t>
            </a:r>
          </a:p>
        </p:txBody>
      </p:sp>
      <p:sp>
        <p:nvSpPr>
          <p:cNvPr id="47" name="Text Placeholder 47">
            <a:extLst>
              <a:ext uri="{FF2B5EF4-FFF2-40B4-BE49-F238E27FC236}">
                <a16:creationId xmlns:a16="http://schemas.microsoft.com/office/drawing/2014/main" id="{D54450E6-6EED-BF9A-EA40-59D11387E82F}"/>
              </a:ext>
            </a:extLst>
          </p:cNvPr>
          <p:cNvSpPr>
            <a:spLocks noGrp="1"/>
          </p:cNvSpPr>
          <p:nvPr userDrawn="1">
            <p:ph type="body" sz="quarter" idx="15" hasCustomPrompt="1"/>
          </p:nvPr>
        </p:nvSpPr>
        <p:spPr>
          <a:xfrm>
            <a:off x="419102" y="4203609"/>
            <a:ext cx="5124450" cy="209550"/>
          </a:xfrm>
          <a:prstGeom prst="rect">
            <a:avLst/>
          </a:prstGeom>
        </p:spPr>
        <p:txBody>
          <a:bodyPr/>
          <a:lstStyle>
            <a:lvl1pPr marL="0" indent="0">
              <a:buNone/>
              <a:defRPr>
                <a:solidFill>
                  <a:schemeClr val="bg1"/>
                </a:solidFill>
              </a:defRPr>
            </a:lvl1pPr>
          </a:lstStyle>
          <a:p>
            <a:pPr lvl="0"/>
            <a:r>
              <a:rPr lang="en-US"/>
              <a:t>Date</a:t>
            </a:r>
          </a:p>
        </p:txBody>
      </p:sp>
      <p:pic>
        <p:nvPicPr>
          <p:cNvPr id="21" name="Picture 20" descr="A logo with white text&#10;&#10;Description automatically generated">
            <a:extLst>
              <a:ext uri="{FF2B5EF4-FFF2-40B4-BE49-F238E27FC236}">
                <a16:creationId xmlns:a16="http://schemas.microsoft.com/office/drawing/2014/main" id="{5A1F00B0-3F3A-9CC9-F4EB-47B24A8E154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34913" y="1333500"/>
            <a:ext cx="2446399" cy="745636"/>
          </a:xfrm>
          <a:prstGeom prst="rect">
            <a:avLst/>
          </a:prstGeom>
        </p:spPr>
      </p:pic>
      <p:grpSp>
        <p:nvGrpSpPr>
          <p:cNvPr id="7" name="Group 6">
            <a:extLst>
              <a:ext uri="{FF2B5EF4-FFF2-40B4-BE49-F238E27FC236}">
                <a16:creationId xmlns:a16="http://schemas.microsoft.com/office/drawing/2014/main" id="{1E7D42B0-2C48-83BF-B388-423144A5EF07}"/>
              </a:ext>
            </a:extLst>
          </p:cNvPr>
          <p:cNvGrpSpPr/>
          <p:nvPr userDrawn="1"/>
        </p:nvGrpSpPr>
        <p:grpSpPr>
          <a:xfrm>
            <a:off x="5938220" y="0"/>
            <a:ext cx="5507999" cy="4237199"/>
            <a:chOff x="5938220" y="0"/>
            <a:chExt cx="5507999" cy="4237199"/>
          </a:xfrm>
        </p:grpSpPr>
        <p:pic>
          <p:nvPicPr>
            <p:cNvPr id="8" name="Picture 7" descr="A large white building with a large wall&#10;&#10;Description automatically generated with medium confidence">
              <a:extLst>
                <a:ext uri="{FF2B5EF4-FFF2-40B4-BE49-F238E27FC236}">
                  <a16:creationId xmlns:a16="http://schemas.microsoft.com/office/drawing/2014/main" id="{7FD3735B-F7F0-AF83-6AD8-1570BEEE419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938220" y="0"/>
              <a:ext cx="5507999" cy="4237199"/>
            </a:xfrm>
            <a:prstGeom prst="rect">
              <a:avLst/>
            </a:prstGeom>
          </p:spPr>
        </p:pic>
        <p:sp>
          <p:nvSpPr>
            <p:cNvPr id="9" name="Google Shape;127;p1">
              <a:extLst>
                <a:ext uri="{FF2B5EF4-FFF2-40B4-BE49-F238E27FC236}">
                  <a16:creationId xmlns:a16="http://schemas.microsoft.com/office/drawing/2014/main" id="{34B13D44-6D02-2B44-7FED-4231D19367BB}"/>
                </a:ext>
              </a:extLst>
            </p:cNvPr>
            <p:cNvSpPr/>
            <p:nvPr/>
          </p:nvSpPr>
          <p:spPr>
            <a:xfrm>
              <a:off x="5939181" y="0"/>
              <a:ext cx="5507038" cy="4237038"/>
            </a:xfrm>
            <a:prstGeom prst="rect">
              <a:avLst/>
            </a:prstGeom>
            <a:solidFill>
              <a:schemeClr val="accent3">
                <a:alpha val="34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grpSp>
    </p:spTree>
    <p:extLst>
      <p:ext uri="{BB962C8B-B14F-4D97-AF65-F5344CB8AC3E}">
        <p14:creationId xmlns:p14="http://schemas.microsoft.com/office/powerpoint/2010/main" val="36438528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ample Layout_22">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1239628959"/>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4" name="Google Shape;502;p27">
            <a:extLst>
              <a:ext uri="{FF2B5EF4-FFF2-40B4-BE49-F238E27FC236}">
                <a16:creationId xmlns:a16="http://schemas.microsoft.com/office/drawing/2014/main" id="{20D16371-042A-15D9-60B1-97D7BA56CB00}"/>
              </a:ext>
            </a:extLst>
          </p:cNvPr>
          <p:cNvSpPr/>
          <p:nvPr userDrawn="1"/>
        </p:nvSpPr>
        <p:spPr>
          <a:xfrm>
            <a:off x="-25" y="0"/>
            <a:ext cx="6308100" cy="888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 name="Google Shape;506;p27">
            <a:extLst>
              <a:ext uri="{FF2B5EF4-FFF2-40B4-BE49-F238E27FC236}">
                <a16:creationId xmlns:a16="http://schemas.microsoft.com/office/drawing/2014/main" id="{19359807-2E3D-1AC3-BA72-B4155778D386}"/>
              </a:ext>
            </a:extLst>
          </p:cNvPr>
          <p:cNvSpPr/>
          <p:nvPr userDrawn="1"/>
        </p:nvSpPr>
        <p:spPr>
          <a:xfrm>
            <a:off x="-1" y="4294200"/>
            <a:ext cx="1377387" cy="25638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 name="Picture 8" descr="A logo with a black background&#10;&#10;Description automatically generated">
            <a:extLst>
              <a:ext uri="{FF2B5EF4-FFF2-40B4-BE49-F238E27FC236}">
                <a16:creationId xmlns:a16="http://schemas.microsoft.com/office/drawing/2014/main" id="{CAD33F60-2B06-1217-E043-0BAECE430C6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941875" y="2012890"/>
            <a:ext cx="2197848" cy="928955"/>
          </a:xfrm>
          <a:prstGeom prst="rect">
            <a:avLst/>
          </a:prstGeom>
        </p:spPr>
      </p:pic>
      <p:sp>
        <p:nvSpPr>
          <p:cNvPr id="11" name="Picture Placeholder 10">
            <a:extLst>
              <a:ext uri="{FF2B5EF4-FFF2-40B4-BE49-F238E27FC236}">
                <a16:creationId xmlns:a16="http://schemas.microsoft.com/office/drawing/2014/main" id="{104D33E2-1093-ADF7-82A4-7C864D0AAA80}"/>
              </a:ext>
            </a:extLst>
          </p:cNvPr>
          <p:cNvSpPr>
            <a:spLocks noGrp="1"/>
          </p:cNvSpPr>
          <p:nvPr>
            <p:ph type="pic" sz="quarter" idx="10"/>
          </p:nvPr>
        </p:nvSpPr>
        <p:spPr>
          <a:xfrm>
            <a:off x="-650" y="729206"/>
            <a:ext cx="6308725" cy="3414713"/>
          </a:xfrm>
          <a:solidFill>
            <a:schemeClr val="tx2"/>
          </a:solidFill>
        </p:spPr>
        <p:txBody>
          <a:bodyPr/>
          <a:lstStyle/>
          <a:p>
            <a:endParaRPr lang="en-US"/>
          </a:p>
        </p:txBody>
      </p:sp>
      <p:sp>
        <p:nvSpPr>
          <p:cNvPr id="13" name="Picture Placeholder 12">
            <a:extLst>
              <a:ext uri="{FF2B5EF4-FFF2-40B4-BE49-F238E27FC236}">
                <a16:creationId xmlns:a16="http://schemas.microsoft.com/office/drawing/2014/main" id="{BE8AD17E-AA64-451A-C59A-F364F93BD873}"/>
              </a:ext>
            </a:extLst>
          </p:cNvPr>
          <p:cNvSpPr>
            <a:spLocks noGrp="1"/>
          </p:cNvSpPr>
          <p:nvPr>
            <p:ph type="pic" sz="quarter" idx="11"/>
          </p:nvPr>
        </p:nvSpPr>
        <p:spPr>
          <a:xfrm>
            <a:off x="1377413" y="4294187"/>
            <a:ext cx="4930775" cy="2563813"/>
          </a:xfrm>
          <a:solidFill>
            <a:schemeClr val="tx2"/>
          </a:solidFill>
        </p:spPr>
        <p:txBody>
          <a:bodyPr/>
          <a:lstStyle/>
          <a:p>
            <a:endParaRPr lang="en-US"/>
          </a:p>
        </p:txBody>
      </p:sp>
      <p:sp>
        <p:nvSpPr>
          <p:cNvPr id="20" name="Text Placeholder 19">
            <a:extLst>
              <a:ext uri="{FF2B5EF4-FFF2-40B4-BE49-F238E27FC236}">
                <a16:creationId xmlns:a16="http://schemas.microsoft.com/office/drawing/2014/main" id="{38A2AE51-569E-5BEA-D08F-749A4EC6957A}"/>
              </a:ext>
            </a:extLst>
          </p:cNvPr>
          <p:cNvSpPr>
            <a:spLocks noGrp="1"/>
          </p:cNvSpPr>
          <p:nvPr>
            <p:ph type="body" sz="quarter" idx="12" hasCustomPrompt="1"/>
          </p:nvPr>
        </p:nvSpPr>
        <p:spPr>
          <a:xfrm>
            <a:off x="7132981" y="4353601"/>
            <a:ext cx="3922713" cy="338138"/>
          </a:xfrm>
        </p:spPr>
        <p:txBody>
          <a:bodyPr>
            <a:normAutofit/>
          </a:bodyPr>
          <a:lstStyle>
            <a:lvl1pPr marL="0" indent="0">
              <a:buNone/>
              <a:defRPr sz="1600"/>
            </a:lvl1pPr>
          </a:lstStyle>
          <a:p>
            <a:pPr lvl="0"/>
            <a:r>
              <a:rPr lang="en-US"/>
              <a:t>Your text here</a:t>
            </a:r>
          </a:p>
        </p:txBody>
      </p:sp>
      <p:sp>
        <p:nvSpPr>
          <p:cNvPr id="19" name="Title 18">
            <a:extLst>
              <a:ext uri="{FF2B5EF4-FFF2-40B4-BE49-F238E27FC236}">
                <a16:creationId xmlns:a16="http://schemas.microsoft.com/office/drawing/2014/main" id="{599A3E15-1789-A4CB-3CD0-EE5431286458}"/>
              </a:ext>
            </a:extLst>
          </p:cNvPr>
          <p:cNvSpPr>
            <a:spLocks noGrp="1"/>
          </p:cNvSpPr>
          <p:nvPr>
            <p:ph type="title" hasCustomPrompt="1"/>
          </p:nvPr>
        </p:nvSpPr>
        <p:spPr>
          <a:xfrm>
            <a:off x="7132981" y="2817585"/>
            <a:ext cx="3922713" cy="1016000"/>
          </a:xfrm>
        </p:spPr>
        <p:txBody>
          <a:bodyPr vert="horz" anchor="t">
            <a:normAutofit/>
          </a:bodyPr>
          <a:lstStyle>
            <a:lvl1pPr>
              <a:defRPr sz="6000"/>
            </a:lvl1pPr>
          </a:lstStyle>
          <a:p>
            <a:r>
              <a:rPr lang="en-US"/>
              <a:t>SAMPLE </a:t>
            </a:r>
            <a:br>
              <a:rPr lang="en-US"/>
            </a:br>
            <a:r>
              <a:rPr lang="en-US"/>
              <a:t>TITLE</a:t>
            </a:r>
          </a:p>
        </p:txBody>
      </p:sp>
    </p:spTree>
    <p:extLst>
      <p:ext uri="{BB962C8B-B14F-4D97-AF65-F5344CB8AC3E}">
        <p14:creationId xmlns:p14="http://schemas.microsoft.com/office/powerpoint/2010/main" val="49443109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ample Layout_23">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4188881528"/>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cxnSp>
        <p:nvCxnSpPr>
          <p:cNvPr id="8" name="Google Shape;537;p29">
            <a:extLst>
              <a:ext uri="{FF2B5EF4-FFF2-40B4-BE49-F238E27FC236}">
                <a16:creationId xmlns:a16="http://schemas.microsoft.com/office/drawing/2014/main" id="{C7C61206-35B6-F109-EF10-E92E02FE362A}"/>
              </a:ext>
            </a:extLst>
          </p:cNvPr>
          <p:cNvCxnSpPr/>
          <p:nvPr userDrawn="1"/>
        </p:nvCxnSpPr>
        <p:spPr>
          <a:xfrm>
            <a:off x="11415656" y="0"/>
            <a:ext cx="0" cy="1377387"/>
          </a:xfrm>
          <a:prstGeom prst="straightConnector1">
            <a:avLst/>
          </a:prstGeom>
          <a:noFill/>
          <a:ln w="28575" cap="flat" cmpd="sng">
            <a:solidFill>
              <a:schemeClr val="accent4"/>
            </a:solidFill>
            <a:prstDash val="solid"/>
            <a:miter lim="800000"/>
            <a:headEnd type="none" w="sm" len="sm"/>
            <a:tailEnd type="none" w="sm" len="sm"/>
          </a:ln>
        </p:spPr>
      </p:cxnSp>
      <p:pic>
        <p:nvPicPr>
          <p:cNvPr id="9" name="Picture 8" descr="A logo with a black background&#10;&#10;Description automatically generated">
            <a:extLst>
              <a:ext uri="{FF2B5EF4-FFF2-40B4-BE49-F238E27FC236}">
                <a16:creationId xmlns:a16="http://schemas.microsoft.com/office/drawing/2014/main" id="{1ADFDCBE-7742-1824-AF14-CBC08CCB6B5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635132" y="4976807"/>
            <a:ext cx="2197848" cy="928955"/>
          </a:xfrm>
          <a:prstGeom prst="rect">
            <a:avLst/>
          </a:prstGeom>
        </p:spPr>
      </p:pic>
      <p:sp>
        <p:nvSpPr>
          <p:cNvPr id="11" name="Picture Placeholder 10">
            <a:extLst>
              <a:ext uri="{FF2B5EF4-FFF2-40B4-BE49-F238E27FC236}">
                <a16:creationId xmlns:a16="http://schemas.microsoft.com/office/drawing/2014/main" id="{B9E79CA2-8D0D-0C83-BF45-A06B2FDA9319}"/>
              </a:ext>
            </a:extLst>
          </p:cNvPr>
          <p:cNvSpPr>
            <a:spLocks noGrp="1"/>
          </p:cNvSpPr>
          <p:nvPr>
            <p:ph type="pic" sz="quarter" idx="10"/>
          </p:nvPr>
        </p:nvSpPr>
        <p:spPr>
          <a:xfrm>
            <a:off x="3167599" y="0"/>
            <a:ext cx="3724275" cy="6858000"/>
          </a:xfrm>
          <a:solidFill>
            <a:schemeClr val="tx2"/>
          </a:solidFill>
        </p:spPr>
        <p:txBody>
          <a:bodyPr/>
          <a:lstStyle/>
          <a:p>
            <a:endParaRPr lang="en-US"/>
          </a:p>
        </p:txBody>
      </p:sp>
      <p:sp>
        <p:nvSpPr>
          <p:cNvPr id="12" name="Title 11">
            <a:extLst>
              <a:ext uri="{FF2B5EF4-FFF2-40B4-BE49-F238E27FC236}">
                <a16:creationId xmlns:a16="http://schemas.microsoft.com/office/drawing/2014/main" id="{95C22E5B-047D-02CC-3457-3D1FCD3A2BA0}"/>
              </a:ext>
            </a:extLst>
          </p:cNvPr>
          <p:cNvSpPr>
            <a:spLocks noGrp="1"/>
          </p:cNvSpPr>
          <p:nvPr>
            <p:ph type="title" hasCustomPrompt="1"/>
          </p:nvPr>
        </p:nvSpPr>
        <p:spPr>
          <a:xfrm>
            <a:off x="7831137" y="1438571"/>
            <a:ext cx="3549650" cy="1200150"/>
          </a:xfrm>
        </p:spPr>
        <p:txBody>
          <a:bodyPr vert="horz">
            <a:normAutofit/>
          </a:bodyPr>
          <a:lstStyle>
            <a:lvl1pPr>
              <a:defRPr sz="3600"/>
            </a:lvl1pPr>
          </a:lstStyle>
          <a:p>
            <a:r>
              <a:rPr lang="en-US"/>
              <a:t>SAMPLE </a:t>
            </a:r>
            <a:br>
              <a:rPr lang="en-US"/>
            </a:br>
            <a:r>
              <a:rPr lang="en-US"/>
              <a:t>TITLE</a:t>
            </a:r>
          </a:p>
        </p:txBody>
      </p:sp>
      <p:sp>
        <p:nvSpPr>
          <p:cNvPr id="17" name="Text Placeholder 16">
            <a:extLst>
              <a:ext uri="{FF2B5EF4-FFF2-40B4-BE49-F238E27FC236}">
                <a16:creationId xmlns:a16="http://schemas.microsoft.com/office/drawing/2014/main" id="{40AB38FB-2495-C51D-344E-9398EB71C54C}"/>
              </a:ext>
            </a:extLst>
          </p:cNvPr>
          <p:cNvSpPr>
            <a:spLocks noGrp="1"/>
          </p:cNvSpPr>
          <p:nvPr>
            <p:ph type="body" sz="quarter" idx="11" hasCustomPrompt="1"/>
          </p:nvPr>
        </p:nvSpPr>
        <p:spPr>
          <a:xfrm>
            <a:off x="7831137" y="2637853"/>
            <a:ext cx="3549650" cy="369888"/>
          </a:xfrm>
        </p:spPr>
        <p:txBody>
          <a:bodyPr>
            <a:noAutofit/>
          </a:bodyPr>
          <a:lstStyle>
            <a:lvl1pPr>
              <a:defRPr sz="1800"/>
            </a:lvl1pPr>
            <a:lvl2pPr>
              <a:defRPr sz="1800"/>
            </a:lvl2pPr>
            <a:lvl3pPr>
              <a:defRPr sz="1800"/>
            </a:lvl3pPr>
            <a:lvl4pPr>
              <a:defRPr sz="1800"/>
            </a:lvl4pPr>
            <a:lvl5pPr>
              <a:defRPr sz="1800"/>
            </a:lvl5pPr>
          </a:lstStyle>
          <a:p>
            <a:pPr marL="0" marR="0" lvl="0" indent="0" algn="l" rtl="0">
              <a:spcBef>
                <a:spcPts val="0"/>
              </a:spcBef>
              <a:spcAft>
                <a:spcPts val="0"/>
              </a:spcAft>
              <a:buNone/>
            </a:pPr>
            <a:r>
              <a:rPr lang="en-US">
                <a:solidFill>
                  <a:schemeClr val="tx2"/>
                </a:solidFill>
                <a:latin typeface="+mj-lt"/>
                <a:ea typeface="Poppins Medium"/>
                <a:cs typeface="Poppins Medium"/>
                <a:sym typeface="Poppins Medium"/>
              </a:rPr>
              <a:t>Your text here</a:t>
            </a:r>
            <a:endParaRPr lang="en-US">
              <a:solidFill>
                <a:schemeClr val="tx2"/>
              </a:solidFill>
              <a:latin typeface="+mj-lt"/>
            </a:endParaRPr>
          </a:p>
        </p:txBody>
      </p:sp>
      <p:sp>
        <p:nvSpPr>
          <p:cNvPr id="20" name="Text Placeholder 19">
            <a:extLst>
              <a:ext uri="{FF2B5EF4-FFF2-40B4-BE49-F238E27FC236}">
                <a16:creationId xmlns:a16="http://schemas.microsoft.com/office/drawing/2014/main" id="{2EE55A67-6CD1-6A4A-59CA-83EA103A1157}"/>
              </a:ext>
            </a:extLst>
          </p:cNvPr>
          <p:cNvSpPr>
            <a:spLocks noGrp="1"/>
          </p:cNvSpPr>
          <p:nvPr>
            <p:ph type="body" sz="quarter" idx="12"/>
          </p:nvPr>
        </p:nvSpPr>
        <p:spPr>
          <a:xfrm>
            <a:off x="7831348" y="3245037"/>
            <a:ext cx="3549650" cy="120015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35237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ample Layout_24">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3845824864"/>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547;p30">
            <a:extLst>
              <a:ext uri="{FF2B5EF4-FFF2-40B4-BE49-F238E27FC236}">
                <a16:creationId xmlns:a16="http://schemas.microsoft.com/office/drawing/2014/main" id="{FC56F051-FBD8-CB74-3704-53706E078DE3}"/>
              </a:ext>
            </a:extLst>
          </p:cNvPr>
          <p:cNvSpPr/>
          <p:nvPr userDrawn="1"/>
        </p:nvSpPr>
        <p:spPr>
          <a:xfrm>
            <a:off x="-25" y="0"/>
            <a:ext cx="12192000" cy="2663400"/>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 name="Picture 7" descr="A logo with a black background&#10;&#10;Description automatically generated">
            <a:extLst>
              <a:ext uri="{FF2B5EF4-FFF2-40B4-BE49-F238E27FC236}">
                <a16:creationId xmlns:a16="http://schemas.microsoft.com/office/drawing/2014/main" id="{C6AF1706-8087-85E9-A099-E786496618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62943" y="5876309"/>
            <a:ext cx="1808807" cy="764521"/>
          </a:xfrm>
          <a:prstGeom prst="rect">
            <a:avLst/>
          </a:prstGeom>
        </p:spPr>
      </p:pic>
      <p:sp>
        <p:nvSpPr>
          <p:cNvPr id="11" name="Picture Placeholder 9">
            <a:extLst>
              <a:ext uri="{FF2B5EF4-FFF2-40B4-BE49-F238E27FC236}">
                <a16:creationId xmlns:a16="http://schemas.microsoft.com/office/drawing/2014/main" id="{1E53467A-64F0-F715-6213-0F9ED5941961}"/>
              </a:ext>
            </a:extLst>
          </p:cNvPr>
          <p:cNvSpPr>
            <a:spLocks noGrp="1"/>
          </p:cNvSpPr>
          <p:nvPr>
            <p:ph type="pic" sz="quarter" idx="10"/>
          </p:nvPr>
        </p:nvSpPr>
        <p:spPr>
          <a:xfrm>
            <a:off x="970774" y="942619"/>
            <a:ext cx="10250488" cy="3219450"/>
          </a:xfrm>
          <a:solidFill>
            <a:schemeClr val="tx2"/>
          </a:solidFill>
        </p:spPr>
        <p:txBody>
          <a:bodyPr/>
          <a:lstStyle/>
          <a:p>
            <a:endParaRPr lang="en-US"/>
          </a:p>
        </p:txBody>
      </p:sp>
      <p:sp>
        <p:nvSpPr>
          <p:cNvPr id="12" name="Title 11">
            <a:extLst>
              <a:ext uri="{FF2B5EF4-FFF2-40B4-BE49-F238E27FC236}">
                <a16:creationId xmlns:a16="http://schemas.microsoft.com/office/drawing/2014/main" id="{26DF4BD2-F788-0C2B-8A7C-770FB0ACBD51}"/>
              </a:ext>
            </a:extLst>
          </p:cNvPr>
          <p:cNvSpPr>
            <a:spLocks noGrp="1"/>
          </p:cNvSpPr>
          <p:nvPr>
            <p:ph type="title" hasCustomPrompt="1"/>
          </p:nvPr>
        </p:nvSpPr>
        <p:spPr>
          <a:xfrm>
            <a:off x="938850" y="4612920"/>
            <a:ext cx="2558730" cy="523875"/>
          </a:xfrm>
        </p:spPr>
        <p:txBody>
          <a:bodyPr vert="horz">
            <a:noAutofit/>
          </a:bodyPr>
          <a:lstStyle>
            <a:lvl1pPr>
              <a:defRPr sz="2400"/>
            </a:lvl1pPr>
          </a:lstStyle>
          <a:p>
            <a:r>
              <a:rPr lang="en-US"/>
              <a:t>Click to edit title</a:t>
            </a:r>
          </a:p>
        </p:txBody>
      </p:sp>
      <p:sp>
        <p:nvSpPr>
          <p:cNvPr id="22" name="Text Placeholder 21">
            <a:extLst>
              <a:ext uri="{FF2B5EF4-FFF2-40B4-BE49-F238E27FC236}">
                <a16:creationId xmlns:a16="http://schemas.microsoft.com/office/drawing/2014/main" id="{AB26CEFC-B75D-D0B2-7D81-6E878680CC84}"/>
              </a:ext>
            </a:extLst>
          </p:cNvPr>
          <p:cNvSpPr>
            <a:spLocks noGrp="1"/>
          </p:cNvSpPr>
          <p:nvPr>
            <p:ph type="body" sz="quarter" idx="11" hasCustomPrompt="1"/>
          </p:nvPr>
        </p:nvSpPr>
        <p:spPr>
          <a:xfrm>
            <a:off x="938850" y="5277973"/>
            <a:ext cx="2558730" cy="369888"/>
          </a:xfrm>
        </p:spPr>
        <p:txBody>
          <a:bodyPr>
            <a:normAutofit/>
          </a:bodyPr>
          <a:lstStyle>
            <a:lvl1pPr marL="0" indent="0">
              <a:buNone/>
              <a:defRPr sz="1800"/>
            </a:lvl1pPr>
          </a:lstStyle>
          <a:p>
            <a:pPr lvl="0"/>
            <a:r>
              <a:rPr lang="en-US"/>
              <a:t>Your text here</a:t>
            </a:r>
          </a:p>
        </p:txBody>
      </p:sp>
      <p:sp>
        <p:nvSpPr>
          <p:cNvPr id="25" name="Text Placeholder 24">
            <a:extLst>
              <a:ext uri="{FF2B5EF4-FFF2-40B4-BE49-F238E27FC236}">
                <a16:creationId xmlns:a16="http://schemas.microsoft.com/office/drawing/2014/main" id="{D7E8AE94-0F32-6596-A086-3E3FDEC8DB4E}"/>
              </a:ext>
            </a:extLst>
          </p:cNvPr>
          <p:cNvSpPr>
            <a:spLocks noGrp="1"/>
          </p:cNvSpPr>
          <p:nvPr>
            <p:ph type="body" sz="quarter" idx="12"/>
          </p:nvPr>
        </p:nvSpPr>
        <p:spPr>
          <a:xfrm>
            <a:off x="3590925" y="4612979"/>
            <a:ext cx="2179638" cy="1034882"/>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EB522C4F-2CAD-1E27-5B57-3C7B8F6F4BBE}"/>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2"/>
                </a:solidFill>
                <a:effectLst/>
                <a:latin typeface="+mn-lt"/>
                <a:ea typeface="Calibri" panose="020F0502020204030204" pitchFamily="34" charset="0"/>
                <a:cs typeface="+mn-cs"/>
              </a:rPr>
              <a:t>Embracing </a:t>
            </a:r>
            <a:r>
              <a:rPr lang="en-US" sz="1200" b="1" kern="0" dirty="0" err="1">
                <a:solidFill>
                  <a:schemeClr val="bg2"/>
                </a:solidFill>
                <a:effectLst/>
                <a:latin typeface="+mn-lt"/>
                <a:ea typeface="Calibri" panose="020F0502020204030204" pitchFamily="34" charset="0"/>
                <a:cs typeface="+mn-cs"/>
              </a:rPr>
              <a:t>thePower</a:t>
            </a:r>
            <a:r>
              <a:rPr lang="en-US" sz="1200" b="1" kern="0" dirty="0">
                <a:solidFill>
                  <a:schemeClr val="bg2"/>
                </a:solidFill>
                <a:effectLst/>
                <a:latin typeface="+mn-lt"/>
                <a:ea typeface="Calibri" panose="020F0502020204030204" pitchFamily="34" charset="0"/>
                <a:cs typeface="+mn-cs"/>
              </a:rPr>
              <a:t> of Customer Insight</a:t>
            </a:r>
            <a:endParaRPr lang="en-US" sz="1200" b="1" kern="0" dirty="0">
              <a:solidFill>
                <a:schemeClr val="bg2"/>
              </a:solidFill>
              <a:effectLst/>
              <a:latin typeface="+mn-lt"/>
              <a:cs typeface="+mn-cs"/>
            </a:endParaRPr>
          </a:p>
        </p:txBody>
      </p:sp>
    </p:spTree>
    <p:extLst>
      <p:ext uri="{BB962C8B-B14F-4D97-AF65-F5344CB8AC3E}">
        <p14:creationId xmlns:p14="http://schemas.microsoft.com/office/powerpoint/2010/main" val="2928886619"/>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rvice pag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2301361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Google Shape;353;p16">
            <a:extLst>
              <a:ext uri="{FF2B5EF4-FFF2-40B4-BE49-F238E27FC236}">
                <a16:creationId xmlns:a16="http://schemas.microsoft.com/office/drawing/2014/main" id="{D8E9539F-1393-8BF6-D239-3150E52715CD}"/>
              </a:ext>
            </a:extLst>
          </p:cNvPr>
          <p:cNvSpPr/>
          <p:nvPr userDrawn="1"/>
        </p:nvSpPr>
        <p:spPr>
          <a:xfrm>
            <a:off x="4001774" y="4935834"/>
            <a:ext cx="3399419" cy="995116"/>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9" name="Google Shape;357;p16">
            <a:extLst>
              <a:ext uri="{FF2B5EF4-FFF2-40B4-BE49-F238E27FC236}">
                <a16:creationId xmlns:a16="http://schemas.microsoft.com/office/drawing/2014/main" id="{CD296835-2EAE-8A3E-A805-D586F27A07EC}"/>
              </a:ext>
            </a:extLst>
          </p:cNvPr>
          <p:cNvCxnSpPr/>
          <p:nvPr userDrawn="1"/>
        </p:nvCxnSpPr>
        <p:spPr>
          <a:xfrm>
            <a:off x="6245400" y="5465125"/>
            <a:ext cx="1155900" cy="2100"/>
          </a:xfrm>
          <a:prstGeom prst="straightConnector1">
            <a:avLst/>
          </a:prstGeom>
          <a:noFill/>
          <a:ln w="28575" cap="flat" cmpd="sng">
            <a:solidFill>
              <a:schemeClr val="accent2"/>
            </a:solidFill>
            <a:prstDash val="solid"/>
            <a:miter lim="800000"/>
            <a:headEnd type="none" w="sm" len="sm"/>
            <a:tailEnd type="none" w="sm" len="sm"/>
          </a:ln>
        </p:spPr>
      </p:cxnSp>
      <p:pic>
        <p:nvPicPr>
          <p:cNvPr id="10" name="Picture 9" descr="A logo with a black background&#10;&#10;Description automatically generated">
            <a:extLst>
              <a:ext uri="{FF2B5EF4-FFF2-40B4-BE49-F238E27FC236}">
                <a16:creationId xmlns:a16="http://schemas.microsoft.com/office/drawing/2014/main" id="{4C4DDD28-CE49-92B4-FC71-4401C7BC2B5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994651" y="1928545"/>
            <a:ext cx="2197848" cy="928955"/>
          </a:xfrm>
          <a:prstGeom prst="rect">
            <a:avLst/>
          </a:prstGeom>
        </p:spPr>
      </p:pic>
      <p:sp>
        <p:nvSpPr>
          <p:cNvPr id="15" name="Picture Placeholder 13">
            <a:extLst>
              <a:ext uri="{FF2B5EF4-FFF2-40B4-BE49-F238E27FC236}">
                <a16:creationId xmlns:a16="http://schemas.microsoft.com/office/drawing/2014/main" id="{50DCA42A-B41C-72AD-6A43-3307CD8E30D6}"/>
              </a:ext>
            </a:extLst>
          </p:cNvPr>
          <p:cNvSpPr>
            <a:spLocks noGrp="1"/>
          </p:cNvSpPr>
          <p:nvPr>
            <p:ph type="pic" sz="quarter" idx="10"/>
          </p:nvPr>
        </p:nvSpPr>
        <p:spPr>
          <a:xfrm>
            <a:off x="-388" y="0"/>
            <a:ext cx="4002088" cy="5930900"/>
          </a:xfrm>
          <a:solidFill>
            <a:schemeClr val="tx2"/>
          </a:solidFill>
        </p:spPr>
        <p:txBody>
          <a:bodyPr/>
          <a:lstStyle/>
          <a:p>
            <a:endParaRPr lang="en-US"/>
          </a:p>
        </p:txBody>
      </p:sp>
      <p:sp>
        <p:nvSpPr>
          <p:cNvPr id="18" name="Picture Placeholder 16">
            <a:extLst>
              <a:ext uri="{FF2B5EF4-FFF2-40B4-BE49-F238E27FC236}">
                <a16:creationId xmlns:a16="http://schemas.microsoft.com/office/drawing/2014/main" id="{FEBCDD86-3A48-66E1-4B10-7409E6EEA109}"/>
              </a:ext>
            </a:extLst>
          </p:cNvPr>
          <p:cNvSpPr>
            <a:spLocks noGrp="1"/>
          </p:cNvSpPr>
          <p:nvPr>
            <p:ph type="pic" sz="quarter" idx="11"/>
          </p:nvPr>
        </p:nvSpPr>
        <p:spPr>
          <a:xfrm>
            <a:off x="4002425" y="0"/>
            <a:ext cx="3398838" cy="4935538"/>
          </a:xfrm>
          <a:solidFill>
            <a:schemeClr val="accent3"/>
          </a:solidFill>
        </p:spPr>
        <p:txBody>
          <a:bodyPr/>
          <a:lstStyle/>
          <a:p>
            <a:endParaRPr lang="en-US"/>
          </a:p>
        </p:txBody>
      </p:sp>
      <p:sp>
        <p:nvSpPr>
          <p:cNvPr id="20" name="Text Placeholder 19">
            <a:extLst>
              <a:ext uri="{FF2B5EF4-FFF2-40B4-BE49-F238E27FC236}">
                <a16:creationId xmlns:a16="http://schemas.microsoft.com/office/drawing/2014/main" id="{529C20D8-A1E4-2336-82E0-6A268B8D8C6D}"/>
              </a:ext>
            </a:extLst>
          </p:cNvPr>
          <p:cNvSpPr>
            <a:spLocks noGrp="1"/>
          </p:cNvSpPr>
          <p:nvPr>
            <p:ph type="body" sz="quarter" idx="12" hasCustomPrompt="1"/>
          </p:nvPr>
        </p:nvSpPr>
        <p:spPr>
          <a:xfrm>
            <a:off x="4406587" y="5314712"/>
            <a:ext cx="1838813" cy="277813"/>
          </a:xfrm>
        </p:spPr>
        <p:txBody>
          <a:bodyPr/>
          <a:lstStyle>
            <a:lvl1pPr marL="0" indent="0">
              <a:buNone/>
              <a:defRPr/>
            </a:lvl1pPr>
            <a:lvl2pPr marL="182880" indent="0">
              <a:buNone/>
              <a:defRPr/>
            </a:lvl2pPr>
          </a:lstStyle>
          <a:p>
            <a:pPr lvl="0"/>
            <a:r>
              <a:rPr lang="en-US"/>
              <a:t>Click to edit Master </a:t>
            </a:r>
            <a:br>
              <a:rPr lang="en-US"/>
            </a:br>
            <a:r>
              <a:rPr lang="en-US"/>
              <a:t>text styles</a:t>
            </a:r>
          </a:p>
        </p:txBody>
      </p:sp>
      <p:sp>
        <p:nvSpPr>
          <p:cNvPr id="21" name="Title 20">
            <a:extLst>
              <a:ext uri="{FF2B5EF4-FFF2-40B4-BE49-F238E27FC236}">
                <a16:creationId xmlns:a16="http://schemas.microsoft.com/office/drawing/2014/main" id="{65473BBB-00E2-407C-6CC4-795B6D4657E3}"/>
              </a:ext>
            </a:extLst>
          </p:cNvPr>
          <p:cNvSpPr>
            <a:spLocks noGrp="1"/>
          </p:cNvSpPr>
          <p:nvPr>
            <p:ph type="title" hasCustomPrompt="1"/>
          </p:nvPr>
        </p:nvSpPr>
        <p:spPr>
          <a:xfrm>
            <a:off x="8129208" y="2929174"/>
            <a:ext cx="3108325" cy="830263"/>
          </a:xfrm>
        </p:spPr>
        <p:txBody>
          <a:bodyPr vert="horz">
            <a:noAutofit/>
          </a:bodyPr>
          <a:lstStyle>
            <a:lvl1pPr>
              <a:defRPr sz="4800"/>
            </a:lvl1pPr>
          </a:lstStyle>
          <a:p>
            <a:r>
              <a:rPr lang="en-US"/>
              <a:t>SERVICE</a:t>
            </a:r>
          </a:p>
        </p:txBody>
      </p:sp>
      <p:sp>
        <p:nvSpPr>
          <p:cNvPr id="24" name="Text Placeholder 23">
            <a:extLst>
              <a:ext uri="{FF2B5EF4-FFF2-40B4-BE49-F238E27FC236}">
                <a16:creationId xmlns:a16="http://schemas.microsoft.com/office/drawing/2014/main" id="{DDCD9AC8-3880-1F15-D307-9B31117A67DF}"/>
              </a:ext>
            </a:extLst>
          </p:cNvPr>
          <p:cNvSpPr>
            <a:spLocks noGrp="1"/>
          </p:cNvSpPr>
          <p:nvPr>
            <p:ph type="body" sz="quarter" idx="13" hasCustomPrompt="1"/>
          </p:nvPr>
        </p:nvSpPr>
        <p:spPr>
          <a:xfrm>
            <a:off x="8129208" y="4009684"/>
            <a:ext cx="3108325" cy="338138"/>
          </a:xfrm>
        </p:spPr>
        <p:txBody>
          <a:bodyPr>
            <a:normAutofit/>
          </a:bodyPr>
          <a:lstStyle>
            <a:lvl1pPr marL="0" indent="0">
              <a:buNone/>
              <a:defRPr sz="1600"/>
            </a:lvl1pPr>
          </a:lstStyle>
          <a:p>
            <a:pPr lvl="0"/>
            <a:r>
              <a:rPr lang="en-US"/>
              <a:t>Our Services</a:t>
            </a:r>
          </a:p>
        </p:txBody>
      </p:sp>
    </p:spTree>
    <p:extLst>
      <p:ext uri="{BB962C8B-B14F-4D97-AF65-F5344CB8AC3E}">
        <p14:creationId xmlns:p14="http://schemas.microsoft.com/office/powerpoint/2010/main" val="7870355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Prices-Comparison Slid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1608813324"/>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575;p32">
            <a:extLst>
              <a:ext uri="{FF2B5EF4-FFF2-40B4-BE49-F238E27FC236}">
                <a16:creationId xmlns:a16="http://schemas.microsoft.com/office/drawing/2014/main" id="{96A8B432-99D6-FDFD-C323-83AFD6C1EA7D}"/>
              </a:ext>
            </a:extLst>
          </p:cNvPr>
          <p:cNvSpPr/>
          <p:nvPr userDrawn="1"/>
        </p:nvSpPr>
        <p:spPr>
          <a:xfrm>
            <a:off x="0" y="13198"/>
            <a:ext cx="12192000" cy="6858000"/>
          </a:xfrm>
          <a:prstGeom prst="rect">
            <a:avLst/>
          </a:prstGeom>
          <a:solidFill>
            <a:schemeClr val="accent4">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 name="Google Shape;579;p32">
            <a:extLst>
              <a:ext uri="{FF2B5EF4-FFF2-40B4-BE49-F238E27FC236}">
                <a16:creationId xmlns:a16="http://schemas.microsoft.com/office/drawing/2014/main" id="{0319B339-D5F4-1F99-FFD9-4846ABE914FF}"/>
              </a:ext>
            </a:extLst>
          </p:cNvPr>
          <p:cNvSpPr/>
          <p:nvPr userDrawn="1"/>
        </p:nvSpPr>
        <p:spPr>
          <a:xfrm>
            <a:off x="8087334" y="548506"/>
            <a:ext cx="3468414" cy="5236531"/>
          </a:xfrm>
          <a:prstGeom prst="roundRect">
            <a:avLst>
              <a:gd name="adj" fmla="val 0"/>
            </a:avLst>
          </a:prstGeom>
          <a:solidFill>
            <a:schemeClr val="accent1"/>
          </a:solidFill>
          <a:ln>
            <a:noFill/>
          </a:ln>
          <a:effectLst>
            <a:outerShdw blurRad="274864" dist="38100" dir="5400000" sx="100700" sy="100700" algn="t" rotWithShape="0">
              <a:srgbClr val="5036B2">
                <a:alpha val="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 name="Google Shape;580;p32">
            <a:extLst>
              <a:ext uri="{FF2B5EF4-FFF2-40B4-BE49-F238E27FC236}">
                <a16:creationId xmlns:a16="http://schemas.microsoft.com/office/drawing/2014/main" id="{E684476A-17BA-2356-E1F6-DB56380C2CA2}"/>
              </a:ext>
            </a:extLst>
          </p:cNvPr>
          <p:cNvSpPr/>
          <p:nvPr userDrawn="1"/>
        </p:nvSpPr>
        <p:spPr>
          <a:xfrm>
            <a:off x="8531838" y="729006"/>
            <a:ext cx="2579405" cy="80269"/>
          </a:xfrm>
          <a:prstGeom prst="roundRect">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 name="Google Shape;594;p32">
            <a:extLst>
              <a:ext uri="{FF2B5EF4-FFF2-40B4-BE49-F238E27FC236}">
                <a16:creationId xmlns:a16="http://schemas.microsoft.com/office/drawing/2014/main" id="{265D2A26-B156-AB89-6C0B-9BB9C0998B91}"/>
              </a:ext>
            </a:extLst>
          </p:cNvPr>
          <p:cNvSpPr/>
          <p:nvPr userDrawn="1"/>
        </p:nvSpPr>
        <p:spPr>
          <a:xfrm>
            <a:off x="4285378" y="1072964"/>
            <a:ext cx="3468414" cy="5236531"/>
          </a:xfrm>
          <a:prstGeom prst="roundRect">
            <a:avLst>
              <a:gd name="adj" fmla="val 0"/>
            </a:avLst>
          </a:prstGeom>
          <a:solidFill>
            <a:schemeClr val="lt1"/>
          </a:solidFill>
          <a:ln>
            <a:noFill/>
          </a:ln>
          <a:effectLst>
            <a:outerShdw blurRad="274864" dist="38100" dir="5400000" sx="100700" sy="100700" algn="t" rotWithShape="0">
              <a:srgbClr val="5036B2">
                <a:alpha val="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 name="Google Shape;595;p32">
            <a:extLst>
              <a:ext uri="{FF2B5EF4-FFF2-40B4-BE49-F238E27FC236}">
                <a16:creationId xmlns:a16="http://schemas.microsoft.com/office/drawing/2014/main" id="{7615806B-D2C4-74A5-1CD4-679AF9DB4C3E}"/>
              </a:ext>
            </a:extLst>
          </p:cNvPr>
          <p:cNvSpPr/>
          <p:nvPr userDrawn="1"/>
        </p:nvSpPr>
        <p:spPr>
          <a:xfrm>
            <a:off x="4729882" y="1253464"/>
            <a:ext cx="2579405" cy="80269"/>
          </a:xfrm>
          <a:prstGeom prst="roundRect">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 name="Picture 7" descr="A logo with a black background&#10;&#10;Description automatically generated">
            <a:extLst>
              <a:ext uri="{FF2B5EF4-FFF2-40B4-BE49-F238E27FC236}">
                <a16:creationId xmlns:a16="http://schemas.microsoft.com/office/drawing/2014/main" id="{79987D08-F053-DF53-706B-EE06069E729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98213" y="4984690"/>
            <a:ext cx="2197848" cy="928955"/>
          </a:xfrm>
          <a:prstGeom prst="rect">
            <a:avLst/>
          </a:prstGeom>
        </p:spPr>
      </p:pic>
      <p:sp>
        <p:nvSpPr>
          <p:cNvPr id="12" name="Title 11">
            <a:extLst>
              <a:ext uri="{FF2B5EF4-FFF2-40B4-BE49-F238E27FC236}">
                <a16:creationId xmlns:a16="http://schemas.microsoft.com/office/drawing/2014/main" id="{582B1642-D1E4-E9EE-7473-23FA14218C8D}"/>
              </a:ext>
            </a:extLst>
          </p:cNvPr>
          <p:cNvSpPr>
            <a:spLocks noGrp="1"/>
          </p:cNvSpPr>
          <p:nvPr>
            <p:ph type="title" hasCustomPrompt="1"/>
          </p:nvPr>
        </p:nvSpPr>
        <p:spPr>
          <a:xfrm>
            <a:off x="607399" y="1125550"/>
            <a:ext cx="3054350" cy="1200150"/>
          </a:xfrm>
        </p:spPr>
        <p:txBody>
          <a:bodyPr vert="horz" lIns="91440">
            <a:noAutofit/>
          </a:bodyPr>
          <a:lstStyle>
            <a:lvl1pPr>
              <a:defRPr sz="3600"/>
            </a:lvl1pPr>
          </a:lstStyle>
          <a:p>
            <a:r>
              <a:rPr lang="en-US"/>
              <a:t>Click to edit title style</a:t>
            </a:r>
          </a:p>
        </p:txBody>
      </p:sp>
      <p:sp>
        <p:nvSpPr>
          <p:cNvPr id="14" name="Text Placeholder 13">
            <a:extLst>
              <a:ext uri="{FF2B5EF4-FFF2-40B4-BE49-F238E27FC236}">
                <a16:creationId xmlns:a16="http://schemas.microsoft.com/office/drawing/2014/main" id="{E65E3528-B916-4246-9528-633AFDDD4529}"/>
              </a:ext>
            </a:extLst>
          </p:cNvPr>
          <p:cNvSpPr>
            <a:spLocks noGrp="1"/>
          </p:cNvSpPr>
          <p:nvPr>
            <p:ph type="body" sz="quarter" idx="10" hasCustomPrompt="1"/>
          </p:nvPr>
        </p:nvSpPr>
        <p:spPr>
          <a:xfrm>
            <a:off x="607399" y="2325242"/>
            <a:ext cx="3054350" cy="307975"/>
          </a:xfrm>
        </p:spPr>
        <p:txBody>
          <a:bodyPr lIns="91440">
            <a:normAutofit/>
          </a:bodyPr>
          <a:lstStyle>
            <a:lvl1pPr marL="0" indent="0">
              <a:buNone/>
              <a:defRPr sz="1400">
                <a:solidFill>
                  <a:schemeClr val="tx2"/>
                </a:solidFill>
                <a:latin typeface="Arial" panose="020B0604020202020204" pitchFamily="34" charset="0"/>
                <a:cs typeface="Arial" panose="020B0604020202020204" pitchFamily="34" charset="0"/>
              </a:defRPr>
            </a:lvl1pPr>
          </a:lstStyle>
          <a:p>
            <a:pPr lvl="0"/>
            <a:r>
              <a:rPr lang="en-US"/>
              <a:t>Sub Title</a:t>
            </a:r>
          </a:p>
        </p:txBody>
      </p:sp>
      <p:sp>
        <p:nvSpPr>
          <p:cNvPr id="26" name="Text Placeholder 25">
            <a:extLst>
              <a:ext uri="{FF2B5EF4-FFF2-40B4-BE49-F238E27FC236}">
                <a16:creationId xmlns:a16="http://schemas.microsoft.com/office/drawing/2014/main" id="{8CB116A0-06D6-ECCB-27C7-CA0F26C1DC25}"/>
              </a:ext>
            </a:extLst>
          </p:cNvPr>
          <p:cNvSpPr>
            <a:spLocks noGrp="1"/>
          </p:cNvSpPr>
          <p:nvPr>
            <p:ph type="body" sz="quarter" idx="12"/>
          </p:nvPr>
        </p:nvSpPr>
        <p:spPr>
          <a:xfrm>
            <a:off x="685799" y="2848470"/>
            <a:ext cx="2975949" cy="1754188"/>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7743271"/>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3562852823"/>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731;p39">
            <a:extLst>
              <a:ext uri="{FF2B5EF4-FFF2-40B4-BE49-F238E27FC236}">
                <a16:creationId xmlns:a16="http://schemas.microsoft.com/office/drawing/2014/main" id="{7D0292B5-57F4-B470-1E45-E6BAB7C92ABD}"/>
              </a:ext>
            </a:extLst>
          </p:cNvPr>
          <p:cNvSpPr/>
          <p:nvPr userDrawn="1"/>
        </p:nvSpPr>
        <p:spPr>
          <a:xfrm>
            <a:off x="8426370" y="0"/>
            <a:ext cx="3765630" cy="2858947"/>
          </a:xfrm>
          <a:prstGeom prst="rect">
            <a:avLst/>
          </a:prstGeom>
          <a:solidFill>
            <a:schemeClr val="accent2">
              <a:alpha val="381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 name="Google Shape;738;p39">
            <a:extLst>
              <a:ext uri="{FF2B5EF4-FFF2-40B4-BE49-F238E27FC236}">
                <a16:creationId xmlns:a16="http://schemas.microsoft.com/office/drawing/2014/main" id="{734EDC7F-584A-CA4E-BF9B-00077A9FBD89}"/>
              </a:ext>
            </a:extLst>
          </p:cNvPr>
          <p:cNvSpPr/>
          <p:nvPr userDrawn="1"/>
        </p:nvSpPr>
        <p:spPr>
          <a:xfrm>
            <a:off x="6373794" y="2858946"/>
            <a:ext cx="5818206" cy="3999054"/>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4" name="Google Shape;741;p39">
            <a:extLst>
              <a:ext uri="{FF2B5EF4-FFF2-40B4-BE49-F238E27FC236}">
                <a16:creationId xmlns:a16="http://schemas.microsoft.com/office/drawing/2014/main" id="{F54634F3-436D-2849-A73E-B9469F8C500B}"/>
              </a:ext>
            </a:extLst>
          </p:cNvPr>
          <p:cNvCxnSpPr/>
          <p:nvPr userDrawn="1"/>
        </p:nvCxnSpPr>
        <p:spPr>
          <a:xfrm>
            <a:off x="-16204" y="1144523"/>
            <a:ext cx="1025700" cy="0"/>
          </a:xfrm>
          <a:prstGeom prst="straightConnector1">
            <a:avLst/>
          </a:prstGeom>
          <a:noFill/>
          <a:ln w="28575" cap="flat" cmpd="sng">
            <a:solidFill>
              <a:schemeClr val="accent4"/>
            </a:solidFill>
            <a:prstDash val="solid"/>
            <a:miter lim="800000"/>
            <a:headEnd type="none" w="sm" len="sm"/>
            <a:tailEnd type="none" w="sm" len="sm"/>
          </a:ln>
        </p:spPr>
      </p:cxnSp>
      <p:pic>
        <p:nvPicPr>
          <p:cNvPr id="6" name="Picture 5" descr="A logo with a black background&#10;&#10;Description automatically generated">
            <a:extLst>
              <a:ext uri="{FF2B5EF4-FFF2-40B4-BE49-F238E27FC236}">
                <a16:creationId xmlns:a16="http://schemas.microsoft.com/office/drawing/2014/main" id="{093663D8-2905-C790-BA88-CBABC12A8B9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45567" y="717662"/>
            <a:ext cx="2035783" cy="860458"/>
          </a:xfrm>
          <a:prstGeom prst="rect">
            <a:avLst/>
          </a:prstGeom>
        </p:spPr>
      </p:pic>
      <p:sp>
        <p:nvSpPr>
          <p:cNvPr id="10" name="Picture Placeholder 8">
            <a:extLst>
              <a:ext uri="{FF2B5EF4-FFF2-40B4-BE49-F238E27FC236}">
                <a16:creationId xmlns:a16="http://schemas.microsoft.com/office/drawing/2014/main" id="{81EF6230-E484-A9E9-C326-7BC96C557CAD}"/>
              </a:ext>
            </a:extLst>
          </p:cNvPr>
          <p:cNvSpPr>
            <a:spLocks noGrp="1"/>
          </p:cNvSpPr>
          <p:nvPr>
            <p:ph type="pic" sz="quarter" idx="10"/>
          </p:nvPr>
        </p:nvSpPr>
        <p:spPr>
          <a:xfrm>
            <a:off x="6373192" y="1009935"/>
            <a:ext cx="4103688" cy="4838700"/>
          </a:xfrm>
          <a:solidFill>
            <a:schemeClr val="tx2"/>
          </a:solidFill>
        </p:spPr>
        <p:txBody>
          <a:bodyPr/>
          <a:lstStyle>
            <a:lvl1pPr algn="ctr">
              <a:defRPr>
                <a:solidFill>
                  <a:schemeClr val="bg1"/>
                </a:solidFill>
              </a:defRPr>
            </a:lvl1pPr>
          </a:lstStyle>
          <a:p>
            <a:endParaRPr lang="en-US"/>
          </a:p>
        </p:txBody>
      </p:sp>
      <p:sp>
        <p:nvSpPr>
          <p:cNvPr id="13" name="Title 12">
            <a:extLst>
              <a:ext uri="{FF2B5EF4-FFF2-40B4-BE49-F238E27FC236}">
                <a16:creationId xmlns:a16="http://schemas.microsoft.com/office/drawing/2014/main" id="{42EF35B8-8598-8547-F9D7-BF3E62A319C4}"/>
              </a:ext>
            </a:extLst>
          </p:cNvPr>
          <p:cNvSpPr>
            <a:spLocks noGrp="1"/>
          </p:cNvSpPr>
          <p:nvPr>
            <p:ph type="title" hasCustomPrompt="1"/>
          </p:nvPr>
        </p:nvSpPr>
        <p:spPr>
          <a:xfrm>
            <a:off x="1217376" y="2601792"/>
            <a:ext cx="3082925" cy="584200"/>
          </a:xfrm>
        </p:spPr>
        <p:txBody>
          <a:bodyPr vert="horz" lIns="91440">
            <a:normAutofit/>
          </a:bodyPr>
          <a:lstStyle>
            <a:lvl1pPr>
              <a:defRPr sz="3200"/>
            </a:lvl1pPr>
          </a:lstStyle>
          <a:p>
            <a:r>
              <a:rPr lang="en-US"/>
              <a:t>CONTACT US</a:t>
            </a:r>
          </a:p>
        </p:txBody>
      </p:sp>
      <p:sp>
        <p:nvSpPr>
          <p:cNvPr id="19" name="Text Placeholder 18">
            <a:extLst>
              <a:ext uri="{FF2B5EF4-FFF2-40B4-BE49-F238E27FC236}">
                <a16:creationId xmlns:a16="http://schemas.microsoft.com/office/drawing/2014/main" id="{832DDBE3-E90D-10FE-B461-D0F0D57AF40D}"/>
              </a:ext>
            </a:extLst>
          </p:cNvPr>
          <p:cNvSpPr>
            <a:spLocks noGrp="1"/>
          </p:cNvSpPr>
          <p:nvPr>
            <p:ph type="body" sz="quarter" idx="11"/>
          </p:nvPr>
        </p:nvSpPr>
        <p:spPr>
          <a:xfrm>
            <a:off x="1723480" y="3302154"/>
            <a:ext cx="3598863" cy="2308225"/>
          </a:xfrm>
        </p:spPr>
        <p:txBody>
          <a:bodyPr lIns="91440" tIns="0">
            <a:noAutofit/>
          </a:bodyPr>
          <a:lstStyle>
            <a:lvl1pPr>
              <a:lnSpc>
                <a:spcPct val="300000"/>
              </a:lnSpc>
              <a:defRPr sz="1200"/>
            </a:lvl1pPr>
            <a:lvl2pPr>
              <a:lnSpc>
                <a:spcPct val="300000"/>
              </a:lnSpc>
              <a:defRPr sz="1200"/>
            </a:lvl2pPr>
            <a:lvl3pPr>
              <a:lnSpc>
                <a:spcPct val="300000"/>
              </a:lnSpc>
              <a:defRPr sz="1200"/>
            </a:lvl3pPr>
            <a:lvl4pPr>
              <a:lnSpc>
                <a:spcPct val="300000"/>
              </a:lnSpc>
              <a:defRPr sz="1200"/>
            </a:lvl4pPr>
            <a:lvl5pPr>
              <a:lnSpc>
                <a:spcPct val="3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8157399"/>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617EBCF-E59C-0431-99AC-8127DDF7184E}"/>
              </a:ext>
            </a:extLst>
          </p:cNvPr>
          <p:cNvGraphicFramePr>
            <a:graphicFrameLocks noChangeAspect="1"/>
          </p:cNvGraphicFramePr>
          <p:nvPr userDrawn="1">
            <p:custDataLst>
              <p:tags r:id="rId1"/>
            </p:custDataLst>
            <p:extLst>
              <p:ext uri="{D42A27DB-BD31-4B8C-83A1-F6EECF244321}">
                <p14:modId xmlns:p14="http://schemas.microsoft.com/office/powerpoint/2010/main" val="3010086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5617EBCF-E59C-0431-99AC-8127DDF718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F44417F4-CED2-61E3-D93E-5E95F93383B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176213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9E9289B-C63C-7724-837B-3299F378E2C4}"/>
              </a:ext>
            </a:extLst>
          </p:cNvPr>
          <p:cNvGraphicFramePr>
            <a:graphicFrameLocks noChangeAspect="1"/>
          </p:cNvGraphicFramePr>
          <p:nvPr userDrawn="1">
            <p:custDataLst>
              <p:tags r:id="rId1"/>
            </p:custDataLst>
            <p:extLst>
              <p:ext uri="{D42A27DB-BD31-4B8C-83A1-F6EECF244321}">
                <p14:modId xmlns:p14="http://schemas.microsoft.com/office/powerpoint/2010/main" val="1154292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F9E9289B-C63C-7724-837B-3299F378E2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0" name="Picture 39" descr="A group of people wearing matching t-shirts&#10;&#10;Description automatically generated">
            <a:extLst>
              <a:ext uri="{FF2B5EF4-FFF2-40B4-BE49-F238E27FC236}">
                <a16:creationId xmlns:a16="http://schemas.microsoft.com/office/drawing/2014/main" id="{CCFF60DF-B24D-A774-7A40-4963304527D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41" name="Google Shape;747;p40">
            <a:extLst>
              <a:ext uri="{FF2B5EF4-FFF2-40B4-BE49-F238E27FC236}">
                <a16:creationId xmlns:a16="http://schemas.microsoft.com/office/drawing/2014/main" id="{D91914A4-6392-4725-DE57-9E49E58CDC30}"/>
              </a:ext>
            </a:extLst>
          </p:cNvPr>
          <p:cNvSpPr/>
          <p:nvPr userDrawn="1"/>
        </p:nvSpPr>
        <p:spPr>
          <a:xfrm>
            <a:off x="0" y="-1"/>
            <a:ext cx="12191999" cy="6857999"/>
          </a:xfrm>
          <a:prstGeom prst="rect">
            <a:avLst/>
          </a:prstGeom>
          <a:solidFill>
            <a:schemeClr val="accent1">
              <a:lumMod val="50000"/>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 name="Google Shape;747;p40">
            <a:extLst>
              <a:ext uri="{FF2B5EF4-FFF2-40B4-BE49-F238E27FC236}">
                <a16:creationId xmlns:a16="http://schemas.microsoft.com/office/drawing/2014/main" id="{33116888-41FC-2BAF-A45A-AE1E67922F7A}"/>
              </a:ext>
            </a:extLst>
          </p:cNvPr>
          <p:cNvSpPr/>
          <p:nvPr userDrawn="1"/>
        </p:nvSpPr>
        <p:spPr>
          <a:xfrm>
            <a:off x="4120586" y="1446836"/>
            <a:ext cx="4363657" cy="541116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 name="Google Shape;748;p40">
            <a:extLst>
              <a:ext uri="{FF2B5EF4-FFF2-40B4-BE49-F238E27FC236}">
                <a16:creationId xmlns:a16="http://schemas.microsoft.com/office/drawing/2014/main" id="{DCC4F61D-211A-75CC-D1A5-6E9C3091A42A}"/>
              </a:ext>
            </a:extLst>
          </p:cNvPr>
          <p:cNvSpPr/>
          <p:nvPr userDrawn="1"/>
        </p:nvSpPr>
        <p:spPr>
          <a:xfrm>
            <a:off x="4687747" y="1932972"/>
            <a:ext cx="7504253" cy="4925028"/>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Calibri"/>
                <a:ea typeface="Calibri"/>
                <a:cs typeface="Calibri"/>
                <a:sym typeface="Calibri"/>
              </a:rPr>
              <a:t> </a:t>
            </a:r>
            <a:endParaRPr sz="1800">
              <a:solidFill>
                <a:schemeClr val="lt1"/>
              </a:solidFill>
              <a:latin typeface="Calibri"/>
              <a:ea typeface="Calibri"/>
              <a:cs typeface="Calibri"/>
              <a:sym typeface="Calibri"/>
            </a:endParaRPr>
          </a:p>
        </p:txBody>
      </p:sp>
      <p:pic>
        <p:nvPicPr>
          <p:cNvPr id="14" name="Picture 13" descr="A logo with white text&#10;&#10;Description automatically generated">
            <a:extLst>
              <a:ext uri="{FF2B5EF4-FFF2-40B4-BE49-F238E27FC236}">
                <a16:creationId xmlns:a16="http://schemas.microsoft.com/office/drawing/2014/main" id="{B2FDFC16-E712-CDF9-59E9-972299136C2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91362" y="2738072"/>
            <a:ext cx="2391909" cy="729028"/>
          </a:xfrm>
          <a:prstGeom prst="rect">
            <a:avLst/>
          </a:prstGeom>
        </p:spPr>
      </p:pic>
      <p:sp>
        <p:nvSpPr>
          <p:cNvPr id="15" name="Title 14">
            <a:extLst>
              <a:ext uri="{FF2B5EF4-FFF2-40B4-BE49-F238E27FC236}">
                <a16:creationId xmlns:a16="http://schemas.microsoft.com/office/drawing/2014/main" id="{E12979B3-5F57-B2E2-11BB-78C9773E3A81}"/>
              </a:ext>
            </a:extLst>
          </p:cNvPr>
          <p:cNvSpPr>
            <a:spLocks noGrp="1"/>
          </p:cNvSpPr>
          <p:nvPr>
            <p:ph type="title" hasCustomPrompt="1"/>
          </p:nvPr>
        </p:nvSpPr>
        <p:spPr>
          <a:xfrm>
            <a:off x="5691363" y="3779838"/>
            <a:ext cx="5856288" cy="1323975"/>
          </a:xfrm>
        </p:spPr>
        <p:txBody>
          <a:bodyPr vert="horz">
            <a:noAutofit/>
          </a:bodyPr>
          <a:lstStyle>
            <a:lvl1pPr>
              <a:defRPr lang="en-US" sz="7200" b="1" kern="1200" dirty="0">
                <a:solidFill>
                  <a:schemeClr val="lt1"/>
                </a:solidFill>
                <a:latin typeface="+mj-lt"/>
                <a:ea typeface="Poppins"/>
                <a:cs typeface="Poppins"/>
              </a:defRPr>
            </a:lvl1pPr>
          </a:lstStyle>
          <a:p>
            <a:pPr marL="0" marR="0" lvl="0" indent="0" algn="l" defTabSz="914400" rtl="0" eaLnBrk="1" latinLnBrk="0" hangingPunct="1">
              <a:spcBef>
                <a:spcPts val="0"/>
              </a:spcBef>
              <a:spcAft>
                <a:spcPts val="0"/>
              </a:spcAft>
              <a:buNone/>
            </a:pPr>
            <a:r>
              <a:rPr lang="en-US"/>
              <a:t>Thank you</a:t>
            </a:r>
          </a:p>
        </p:txBody>
      </p:sp>
      <p:sp>
        <p:nvSpPr>
          <p:cNvPr id="32" name="Text Placeholder 31">
            <a:extLst>
              <a:ext uri="{FF2B5EF4-FFF2-40B4-BE49-F238E27FC236}">
                <a16:creationId xmlns:a16="http://schemas.microsoft.com/office/drawing/2014/main" id="{0752D8F8-5131-79B0-3E08-2E58359A1FCD}"/>
              </a:ext>
            </a:extLst>
          </p:cNvPr>
          <p:cNvSpPr>
            <a:spLocks noGrp="1"/>
          </p:cNvSpPr>
          <p:nvPr>
            <p:ph type="body" sz="quarter" idx="10" hasCustomPrompt="1"/>
          </p:nvPr>
        </p:nvSpPr>
        <p:spPr>
          <a:xfrm>
            <a:off x="5691187" y="5194851"/>
            <a:ext cx="5856288" cy="368300"/>
          </a:xfrm>
        </p:spPr>
        <p:txBody>
          <a:bodyPr>
            <a:noAutofit/>
          </a:bodyPr>
          <a:lstStyle>
            <a:lvl1pPr>
              <a:defRPr lang="en-US" sz="1800" kern="1200" dirty="0">
                <a:solidFill>
                  <a:schemeClr val="lt1"/>
                </a:solidFill>
                <a:latin typeface="+mn-lt"/>
                <a:ea typeface="Poppins Medium"/>
                <a:cs typeface="Poppins Medium"/>
              </a:defRPr>
            </a:lvl1pPr>
            <a:lvl2pPr>
              <a:defRPr/>
            </a:lvl2pPr>
            <a:lvl3pPr>
              <a:defRPr/>
            </a:lvl3pPr>
            <a:lvl4pPr>
              <a:defRPr/>
            </a:lvl4pPr>
            <a:lvl5pPr>
              <a:defRPr/>
            </a:lvl5pPr>
          </a:lstStyle>
          <a:p>
            <a:pPr marL="0" marR="0" lvl="0" indent="0" algn="l" defTabSz="914400" rtl="0" eaLnBrk="1" latinLnBrk="0" hangingPunct="1">
              <a:spcBef>
                <a:spcPts val="0"/>
              </a:spcBef>
              <a:spcAft>
                <a:spcPts val="0"/>
              </a:spcAft>
              <a:buNone/>
            </a:pPr>
            <a:r>
              <a:rPr lang="en-US"/>
              <a:t>Sub title</a:t>
            </a:r>
          </a:p>
        </p:txBody>
      </p:sp>
    </p:spTree>
    <p:extLst>
      <p:ext uri="{BB962C8B-B14F-4D97-AF65-F5344CB8AC3E}">
        <p14:creationId xmlns:p14="http://schemas.microsoft.com/office/powerpoint/2010/main" val="35419968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End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9E9289B-C63C-7724-837B-3299F378E2C4}"/>
              </a:ext>
            </a:extLst>
          </p:cNvPr>
          <p:cNvGraphicFramePr>
            <a:graphicFrameLocks noChangeAspect="1"/>
          </p:cNvGraphicFramePr>
          <p:nvPr userDrawn="1">
            <p:custDataLst>
              <p:tags r:id="rId1"/>
            </p:custDataLst>
            <p:extLst>
              <p:ext uri="{D42A27DB-BD31-4B8C-83A1-F6EECF244321}">
                <p14:modId xmlns:p14="http://schemas.microsoft.com/office/powerpoint/2010/main" val="1958219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F9E9289B-C63C-7724-837B-3299F378E2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Google Shape;747;p40">
            <a:extLst>
              <a:ext uri="{FF2B5EF4-FFF2-40B4-BE49-F238E27FC236}">
                <a16:creationId xmlns:a16="http://schemas.microsoft.com/office/drawing/2014/main" id="{33116888-41FC-2BAF-A45A-AE1E67922F7A}"/>
              </a:ext>
            </a:extLst>
          </p:cNvPr>
          <p:cNvSpPr/>
          <p:nvPr userDrawn="1"/>
        </p:nvSpPr>
        <p:spPr>
          <a:xfrm>
            <a:off x="4120586" y="1446836"/>
            <a:ext cx="4363657" cy="5411164"/>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 name="Google Shape;748;p40">
            <a:extLst>
              <a:ext uri="{FF2B5EF4-FFF2-40B4-BE49-F238E27FC236}">
                <a16:creationId xmlns:a16="http://schemas.microsoft.com/office/drawing/2014/main" id="{DCC4F61D-211A-75CC-D1A5-6E9C3091A42A}"/>
              </a:ext>
            </a:extLst>
          </p:cNvPr>
          <p:cNvSpPr/>
          <p:nvPr userDrawn="1"/>
        </p:nvSpPr>
        <p:spPr>
          <a:xfrm>
            <a:off x="4687747" y="1932972"/>
            <a:ext cx="7504253" cy="4925028"/>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 name="Picture 13" descr="A logo with white text&#10;&#10;Description automatically generated">
            <a:extLst>
              <a:ext uri="{FF2B5EF4-FFF2-40B4-BE49-F238E27FC236}">
                <a16:creationId xmlns:a16="http://schemas.microsoft.com/office/drawing/2014/main" id="{B2FDFC16-E712-CDF9-59E9-972299136C2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91362" y="2738072"/>
            <a:ext cx="2391909" cy="729028"/>
          </a:xfrm>
          <a:prstGeom prst="rect">
            <a:avLst/>
          </a:prstGeom>
        </p:spPr>
      </p:pic>
      <p:sp>
        <p:nvSpPr>
          <p:cNvPr id="15" name="Title 14">
            <a:extLst>
              <a:ext uri="{FF2B5EF4-FFF2-40B4-BE49-F238E27FC236}">
                <a16:creationId xmlns:a16="http://schemas.microsoft.com/office/drawing/2014/main" id="{E12979B3-5F57-B2E2-11BB-78C9773E3A81}"/>
              </a:ext>
            </a:extLst>
          </p:cNvPr>
          <p:cNvSpPr>
            <a:spLocks noGrp="1"/>
          </p:cNvSpPr>
          <p:nvPr>
            <p:ph type="title" hasCustomPrompt="1"/>
          </p:nvPr>
        </p:nvSpPr>
        <p:spPr>
          <a:xfrm>
            <a:off x="5691363" y="3779838"/>
            <a:ext cx="5856288" cy="1323975"/>
          </a:xfrm>
        </p:spPr>
        <p:txBody>
          <a:bodyPr vert="horz">
            <a:noAutofit/>
          </a:bodyPr>
          <a:lstStyle>
            <a:lvl1pPr>
              <a:defRPr lang="en-US" sz="7200" b="1" kern="1200" dirty="0">
                <a:solidFill>
                  <a:schemeClr val="lt1"/>
                </a:solidFill>
                <a:latin typeface="+mj-lt"/>
                <a:ea typeface="Poppins"/>
                <a:cs typeface="Poppins"/>
              </a:defRPr>
            </a:lvl1pPr>
          </a:lstStyle>
          <a:p>
            <a:pPr marL="0" marR="0" lvl="0" indent="0" algn="l" defTabSz="914400" rtl="0" eaLnBrk="1" latinLnBrk="0" hangingPunct="1">
              <a:spcBef>
                <a:spcPts val="0"/>
              </a:spcBef>
              <a:spcAft>
                <a:spcPts val="0"/>
              </a:spcAft>
              <a:buNone/>
            </a:pPr>
            <a:r>
              <a:rPr lang="en-US"/>
              <a:t>Thank you</a:t>
            </a:r>
          </a:p>
        </p:txBody>
      </p:sp>
      <p:sp>
        <p:nvSpPr>
          <p:cNvPr id="32" name="Text Placeholder 31">
            <a:extLst>
              <a:ext uri="{FF2B5EF4-FFF2-40B4-BE49-F238E27FC236}">
                <a16:creationId xmlns:a16="http://schemas.microsoft.com/office/drawing/2014/main" id="{0752D8F8-5131-79B0-3E08-2E58359A1FCD}"/>
              </a:ext>
            </a:extLst>
          </p:cNvPr>
          <p:cNvSpPr>
            <a:spLocks noGrp="1"/>
          </p:cNvSpPr>
          <p:nvPr>
            <p:ph type="body" sz="quarter" idx="10" hasCustomPrompt="1"/>
          </p:nvPr>
        </p:nvSpPr>
        <p:spPr>
          <a:xfrm>
            <a:off x="5691187" y="5194851"/>
            <a:ext cx="5856288" cy="368300"/>
          </a:xfrm>
        </p:spPr>
        <p:txBody>
          <a:bodyPr>
            <a:noAutofit/>
          </a:bodyPr>
          <a:lstStyle>
            <a:lvl1pPr>
              <a:defRPr lang="en-US" sz="1800" kern="1200" dirty="0">
                <a:solidFill>
                  <a:schemeClr val="lt1"/>
                </a:solidFill>
                <a:latin typeface="+mn-lt"/>
                <a:ea typeface="Poppins Medium"/>
                <a:cs typeface="Poppins Medium"/>
              </a:defRPr>
            </a:lvl1pPr>
            <a:lvl2pPr>
              <a:defRPr/>
            </a:lvl2pPr>
            <a:lvl3pPr>
              <a:defRPr/>
            </a:lvl3pPr>
            <a:lvl4pPr>
              <a:defRPr/>
            </a:lvl4pPr>
            <a:lvl5pPr>
              <a:defRPr/>
            </a:lvl5pPr>
          </a:lstStyle>
          <a:p>
            <a:pPr marL="0" marR="0" lvl="0" indent="0" algn="l" defTabSz="914400" rtl="0" eaLnBrk="1" latinLnBrk="0" hangingPunct="1">
              <a:spcBef>
                <a:spcPts val="0"/>
              </a:spcBef>
              <a:spcAft>
                <a:spcPts val="0"/>
              </a:spcAft>
              <a:buNone/>
            </a:pPr>
            <a:r>
              <a:rPr lang="en-US"/>
              <a:t>Sub title</a:t>
            </a:r>
          </a:p>
        </p:txBody>
      </p:sp>
      <p:sp>
        <p:nvSpPr>
          <p:cNvPr id="2" name="Rectangle 1">
            <a:extLst>
              <a:ext uri="{FF2B5EF4-FFF2-40B4-BE49-F238E27FC236}">
                <a16:creationId xmlns:a16="http://schemas.microsoft.com/office/drawing/2014/main" id="{F3652FDA-EDFE-0A4A-48E8-54C2373972C5}"/>
              </a:ext>
            </a:extLst>
          </p:cNvPr>
          <p:cNvSpPr/>
          <p:nvPr userDrawn="1"/>
        </p:nvSpPr>
        <p:spPr>
          <a:xfrm>
            <a:off x="10127673" y="277091"/>
            <a:ext cx="1759527" cy="6511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468918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i="0">
                <a:solidFill>
                  <a:schemeClr val="tx1"/>
                </a:solidFill>
              </a:defRPr>
            </a:lvl1pPr>
          </a:lstStyle>
          <a:p>
            <a:r>
              <a:rPr lang="en-US"/>
              <a:t>Click to edit Master title style</a:t>
            </a:r>
          </a:p>
        </p:txBody>
      </p:sp>
      <p:sp>
        <p:nvSpPr>
          <p:cNvPr id="3" name="Content Placeholder 2"/>
          <p:cNvSpPr>
            <a:spLocks noGrp="1"/>
          </p:cNvSpPr>
          <p:nvPr>
            <p:ph idx="1"/>
          </p:nvPr>
        </p:nvSpPr>
        <p:spPr>
          <a:xfrm>
            <a:off x="609600" y="1447800"/>
            <a:ext cx="10972800" cy="4876800"/>
          </a:xfrm>
          <a:prstGeom prst="rect">
            <a:avLst/>
          </a:prstGeom>
        </p:spPr>
        <p:txBody>
          <a:bodyPr/>
          <a:lstStyle>
            <a:lvl1pPr marL="342900" indent="-342900" algn="l" defTabSz="914400" rtl="0" eaLnBrk="1" latinLnBrk="0" hangingPunct="1">
              <a:spcBef>
                <a:spcPct val="20000"/>
              </a:spcBef>
              <a:buFont typeface="Wingdings" panose="05000000000000000000" pitchFamily="2" charset="2"/>
              <a:buChar char="Ø"/>
              <a:defRPr lang="en-US" sz="2200" b="1" kern="1200" dirty="0">
                <a:solidFill>
                  <a:schemeClr val="tx1"/>
                </a:solidFill>
                <a:latin typeface="+mn-lt"/>
                <a:ea typeface="+mn-ea"/>
                <a:cs typeface="+mn-cs"/>
              </a:defRPr>
            </a:lvl1pPr>
            <a:lvl2pPr marL="742950" indent="-285750" algn="l" defTabSz="914400" rtl="0" eaLnBrk="1" latinLnBrk="0" hangingPunct="1">
              <a:spcBef>
                <a:spcPct val="20000"/>
              </a:spcBef>
              <a:buFont typeface="Wingdings" panose="05000000000000000000" pitchFamily="2" charset="2"/>
              <a:buChar char="§"/>
              <a:defRPr lang="en-US" sz="2200" b="0" kern="1200" dirty="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lang="en-US" sz="2200" b="0" kern="1200" dirty="0">
                <a:solidFill>
                  <a:schemeClr val="tx2"/>
                </a:solidFill>
                <a:latin typeface="+mn-lt"/>
                <a:ea typeface="+mn-ea"/>
                <a:cs typeface="+mn-cs"/>
              </a:defRPr>
            </a:lvl3pPr>
            <a:lvl4pPr algn="l" defTabSz="914400" rtl="0" eaLnBrk="1" latinLnBrk="0" hangingPunct="1">
              <a:spcBef>
                <a:spcPct val="20000"/>
              </a:spcBef>
              <a:defRPr lang="en-US" sz="2200" b="0" kern="1200" dirty="0">
                <a:solidFill>
                  <a:schemeClr val="accent6"/>
                </a:solidFill>
                <a:latin typeface="+mn-lt"/>
                <a:ea typeface="+mn-ea"/>
                <a:cs typeface="+mn-cs"/>
              </a:defRPr>
            </a:lvl4pPr>
            <a:lvl5pPr algn="l" defTabSz="914400" rtl="0" eaLnBrk="1" latinLnBrk="0" hangingPunct="1">
              <a:spcBef>
                <a:spcPct val="20000"/>
              </a:spcBef>
              <a:defRPr lang="en-US" sz="2200" b="0" kern="1200" dirty="0">
                <a:solidFill>
                  <a:srgbClr val="00B0F0"/>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9"/>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lvl1pPr algn="ctr">
              <a:defRPr sz="1000" b="1" i="1">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srgbClr val="333333">
                    <a:tint val="75000"/>
                  </a:srgb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1" i="1" u="none" strike="noStrike" kern="1200" cap="none" spc="0" normalizeH="0" baseline="0" noProof="0">
              <a:ln>
                <a:noFill/>
              </a:ln>
              <a:solidFill>
                <a:srgbClr val="333333">
                  <a:tint val="75000"/>
                </a:srgbClr>
              </a:solidFill>
              <a:effectLst/>
              <a:uLnTx/>
              <a:uFillTx/>
              <a:latin typeface="Arial"/>
              <a:ea typeface="+mn-ea"/>
              <a:cs typeface="+mn-cs"/>
            </a:endParaRPr>
          </a:p>
        </p:txBody>
      </p:sp>
    </p:spTree>
    <p:extLst>
      <p:ext uri="{BB962C8B-B14F-4D97-AF65-F5344CB8AC3E}">
        <p14:creationId xmlns:p14="http://schemas.microsoft.com/office/powerpoint/2010/main" val="28430749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reak Slide_1">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2EFADD2-4E45-E16B-3C3A-B93DA9F4507A}"/>
              </a:ext>
            </a:extLst>
          </p:cNvPr>
          <p:cNvGraphicFramePr>
            <a:graphicFrameLocks noChangeAspect="1"/>
          </p:cNvGraphicFramePr>
          <p:nvPr userDrawn="1">
            <p:custDataLst>
              <p:tags r:id="rId1"/>
            </p:custDataLst>
            <p:extLst>
              <p:ext uri="{D42A27DB-BD31-4B8C-83A1-F6EECF244321}">
                <p14:modId xmlns:p14="http://schemas.microsoft.com/office/powerpoint/2010/main" val="2293889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12EFADD2-4E45-E16B-3C3A-B93DA9F45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Google Shape;680;p35">
            <a:extLst>
              <a:ext uri="{FF2B5EF4-FFF2-40B4-BE49-F238E27FC236}">
                <a16:creationId xmlns:a16="http://schemas.microsoft.com/office/drawing/2014/main" id="{B75BD33F-FBE2-D696-C6CF-68E1B0829DC8}"/>
              </a:ext>
            </a:extLst>
          </p:cNvPr>
          <p:cNvSpPr/>
          <p:nvPr userDrawn="1"/>
        </p:nvSpPr>
        <p:spPr>
          <a:xfrm>
            <a:off x="8597899" y="0"/>
            <a:ext cx="3594102"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7" name="Google Shape;685;p35">
            <a:extLst>
              <a:ext uri="{FF2B5EF4-FFF2-40B4-BE49-F238E27FC236}">
                <a16:creationId xmlns:a16="http://schemas.microsoft.com/office/drawing/2014/main" id="{BB856770-99F2-A701-3172-68DE2C2A0BE3}"/>
              </a:ext>
            </a:extLst>
          </p:cNvPr>
          <p:cNvCxnSpPr/>
          <p:nvPr userDrawn="1"/>
        </p:nvCxnSpPr>
        <p:spPr>
          <a:xfrm>
            <a:off x="4129788" y="5423265"/>
            <a:ext cx="1990200" cy="0"/>
          </a:xfrm>
          <a:prstGeom prst="straightConnector1">
            <a:avLst/>
          </a:prstGeom>
          <a:noFill/>
          <a:ln w="28575" cap="flat" cmpd="sng">
            <a:solidFill>
              <a:schemeClr val="accent4"/>
            </a:solidFill>
            <a:prstDash val="solid"/>
            <a:miter lim="800000"/>
            <a:headEnd type="none" w="sm" len="sm"/>
            <a:tailEnd type="none" w="sm" len="sm"/>
          </a:ln>
        </p:spPr>
      </p:cxnSp>
      <p:sp>
        <p:nvSpPr>
          <p:cNvPr id="11" name="Footer Placeholder 10">
            <a:extLst>
              <a:ext uri="{FF2B5EF4-FFF2-40B4-BE49-F238E27FC236}">
                <a16:creationId xmlns:a16="http://schemas.microsoft.com/office/drawing/2014/main" id="{C96A3D04-353B-425D-2634-BF5C55F0375E}"/>
              </a:ext>
            </a:extLst>
          </p:cNvPr>
          <p:cNvSpPr>
            <a:spLocks noGrp="1"/>
          </p:cNvSpPr>
          <p:nvPr>
            <p:ph type="ftr" sz="quarter" idx="10"/>
          </p:nvPr>
        </p:nvSpPr>
        <p:spPr/>
        <p:txBody>
          <a:bodyPr/>
          <a:lstStyle/>
          <a:p>
            <a:endParaRPr lang="en-US"/>
          </a:p>
        </p:txBody>
      </p:sp>
      <p:sp>
        <p:nvSpPr>
          <p:cNvPr id="13" name="Title 12">
            <a:extLst>
              <a:ext uri="{FF2B5EF4-FFF2-40B4-BE49-F238E27FC236}">
                <a16:creationId xmlns:a16="http://schemas.microsoft.com/office/drawing/2014/main" id="{955E071C-D8AB-0A30-1B8D-117160B4E134}"/>
              </a:ext>
            </a:extLst>
          </p:cNvPr>
          <p:cNvSpPr>
            <a:spLocks noGrp="1"/>
          </p:cNvSpPr>
          <p:nvPr>
            <p:ph type="title" hasCustomPrompt="1"/>
          </p:nvPr>
        </p:nvSpPr>
        <p:spPr>
          <a:xfrm>
            <a:off x="518585" y="1869548"/>
            <a:ext cx="3690938" cy="2124075"/>
          </a:xfrm>
        </p:spPr>
        <p:txBody>
          <a:bodyPr vert="horz">
            <a:noAutofit/>
          </a:bodyPr>
          <a:lstStyle>
            <a:lvl1pPr>
              <a:defRPr sz="6600"/>
            </a:lvl1pPr>
          </a:lstStyle>
          <a:p>
            <a:r>
              <a:rPr lang="en-US"/>
              <a:t>Break </a:t>
            </a:r>
            <a:br>
              <a:rPr lang="en-US"/>
            </a:br>
            <a:r>
              <a:rPr lang="en-US"/>
              <a:t>Slide</a:t>
            </a:r>
          </a:p>
        </p:txBody>
      </p:sp>
      <p:sp>
        <p:nvSpPr>
          <p:cNvPr id="19" name="Text Placeholder 18">
            <a:extLst>
              <a:ext uri="{FF2B5EF4-FFF2-40B4-BE49-F238E27FC236}">
                <a16:creationId xmlns:a16="http://schemas.microsoft.com/office/drawing/2014/main" id="{15A8E845-6271-D85C-8EED-1B469AD0BE23}"/>
              </a:ext>
            </a:extLst>
          </p:cNvPr>
          <p:cNvSpPr>
            <a:spLocks noGrp="1"/>
          </p:cNvSpPr>
          <p:nvPr>
            <p:ph type="body" sz="quarter" idx="12" hasCustomPrompt="1"/>
          </p:nvPr>
        </p:nvSpPr>
        <p:spPr>
          <a:xfrm>
            <a:off x="518585" y="4098600"/>
            <a:ext cx="3690938" cy="339725"/>
          </a:xfrm>
        </p:spPr>
        <p:txBody>
          <a:bodyPr/>
          <a:lstStyle>
            <a:lvl1pPr marL="0" indent="0">
              <a:buNone/>
              <a:defRPr sz="1600"/>
            </a:lvl1pPr>
          </a:lstStyle>
          <a:p>
            <a:pPr lvl="0"/>
            <a:r>
              <a:rPr lang="en-US"/>
              <a:t>Sub Title</a:t>
            </a:r>
          </a:p>
        </p:txBody>
      </p:sp>
      <p:sp>
        <p:nvSpPr>
          <p:cNvPr id="23" name="Picture Placeholder 21">
            <a:extLst>
              <a:ext uri="{FF2B5EF4-FFF2-40B4-BE49-F238E27FC236}">
                <a16:creationId xmlns:a16="http://schemas.microsoft.com/office/drawing/2014/main" id="{C267EB6B-DD37-31C3-E6F6-BD0EDAEB22B7}"/>
              </a:ext>
            </a:extLst>
          </p:cNvPr>
          <p:cNvSpPr>
            <a:spLocks noGrp="1"/>
          </p:cNvSpPr>
          <p:nvPr>
            <p:ph type="pic" sz="quarter" idx="13"/>
          </p:nvPr>
        </p:nvSpPr>
        <p:spPr>
          <a:xfrm>
            <a:off x="6119101" y="836953"/>
            <a:ext cx="5186363" cy="5184775"/>
          </a:xfrm>
          <a:solidFill>
            <a:schemeClr val="tx2"/>
          </a:solidFill>
        </p:spPr>
        <p:txBody>
          <a:bodyPr/>
          <a:lstStyle/>
          <a:p>
            <a:endParaRPr lang="en-US"/>
          </a:p>
        </p:txBody>
      </p:sp>
    </p:spTree>
    <p:extLst>
      <p:ext uri="{BB962C8B-B14F-4D97-AF65-F5344CB8AC3E}">
        <p14:creationId xmlns:p14="http://schemas.microsoft.com/office/powerpoint/2010/main" val="30210024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C8EB9-C72F-4076-B9DF-7440350E373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5C8F10F-121E-4288-BAE8-0729B1464B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58FD66A-2834-4B9A-A232-A818D57BC35D}"/>
              </a:ext>
            </a:extLst>
          </p:cNvPr>
          <p:cNvSpPr>
            <a:spLocks noGrp="1"/>
          </p:cNvSpPr>
          <p:nvPr>
            <p:ph type="dt" sz="half" idx="10"/>
          </p:nvPr>
        </p:nvSpPr>
        <p:spPr/>
        <p:txBody>
          <a:bodyPr/>
          <a:lstStyle/>
          <a:p>
            <a:fld id="{1F534FE1-6959-4277-BAC0-F34399D72004}" type="datetimeFigureOut">
              <a:rPr lang="en-US" smtClean="0"/>
              <a:t>12/1/2025</a:t>
            </a:fld>
            <a:endParaRPr lang="en-US"/>
          </a:p>
        </p:txBody>
      </p:sp>
      <p:sp>
        <p:nvSpPr>
          <p:cNvPr id="5" name="Footer Placeholder 4">
            <a:extLst>
              <a:ext uri="{FF2B5EF4-FFF2-40B4-BE49-F238E27FC236}">
                <a16:creationId xmlns:a16="http://schemas.microsoft.com/office/drawing/2014/main" id="{B3511433-F252-441F-BD22-575A871738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F04119-78AD-4133-BDA8-9C8F80643B58}"/>
              </a:ext>
            </a:extLst>
          </p:cNvPr>
          <p:cNvSpPr>
            <a:spLocks noGrp="1"/>
          </p:cNvSpPr>
          <p:nvPr>
            <p:ph type="sldNum" sz="quarter" idx="12"/>
          </p:nvPr>
        </p:nvSpPr>
        <p:spPr/>
        <p:txBody>
          <a:bodyPr/>
          <a:lstStyle/>
          <a:p>
            <a:fld id="{E4CA792A-B336-4C37-B349-246D13530FFD}" type="slidenum">
              <a:rPr lang="en-US" smtClean="0"/>
              <a:t>‹#›</a:t>
            </a:fld>
            <a:endParaRPr lang="en-US"/>
          </a:p>
        </p:txBody>
      </p:sp>
    </p:spTree>
    <p:extLst>
      <p:ext uri="{BB962C8B-B14F-4D97-AF65-F5344CB8AC3E}">
        <p14:creationId xmlns:p14="http://schemas.microsoft.com/office/powerpoint/2010/main" val="4947365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ABC18-6972-4E85-AF68-27535397D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E0EE8A9-CB34-4178-A856-B3B460600B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9DDFD6-9EA5-4BC2-8721-E47050BD3925}"/>
              </a:ext>
            </a:extLst>
          </p:cNvPr>
          <p:cNvSpPr>
            <a:spLocks noGrp="1"/>
          </p:cNvSpPr>
          <p:nvPr>
            <p:ph type="dt" sz="half" idx="10"/>
          </p:nvPr>
        </p:nvSpPr>
        <p:spPr/>
        <p:txBody>
          <a:bodyPr/>
          <a:lstStyle/>
          <a:p>
            <a:fld id="{1F534FE1-6959-4277-BAC0-F34399D72004}" type="datetimeFigureOut">
              <a:rPr lang="en-US" smtClean="0"/>
              <a:t>12/1/2025</a:t>
            </a:fld>
            <a:endParaRPr lang="en-US"/>
          </a:p>
        </p:txBody>
      </p:sp>
      <p:sp>
        <p:nvSpPr>
          <p:cNvPr id="5" name="Footer Placeholder 4">
            <a:extLst>
              <a:ext uri="{FF2B5EF4-FFF2-40B4-BE49-F238E27FC236}">
                <a16:creationId xmlns:a16="http://schemas.microsoft.com/office/drawing/2014/main" id="{B8BC952B-C588-4F77-8C31-A33AAA0F92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A125BE-404F-4C34-A584-B21B0896ACA3}"/>
              </a:ext>
            </a:extLst>
          </p:cNvPr>
          <p:cNvSpPr>
            <a:spLocks noGrp="1"/>
          </p:cNvSpPr>
          <p:nvPr>
            <p:ph type="sldNum" sz="quarter" idx="12"/>
          </p:nvPr>
        </p:nvSpPr>
        <p:spPr/>
        <p:txBody>
          <a:bodyPr/>
          <a:lstStyle/>
          <a:p>
            <a:fld id="{E4CA792A-B336-4C37-B349-246D13530FFD}" type="slidenum">
              <a:rPr lang="en-US" smtClean="0"/>
              <a:t>‹#›</a:t>
            </a:fld>
            <a:endParaRPr lang="en-US"/>
          </a:p>
        </p:txBody>
      </p:sp>
    </p:spTree>
    <p:extLst>
      <p:ext uri="{BB962C8B-B14F-4D97-AF65-F5344CB8AC3E}">
        <p14:creationId xmlns:p14="http://schemas.microsoft.com/office/powerpoint/2010/main" val="14372121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0F2C0-AC29-4F84-B7FA-99B11CDC5FD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3434BBC-AAC3-4B19-AB2B-EE680ED0ABE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8D187AB-7A20-45A4-995D-981A8E6FAB14}"/>
              </a:ext>
            </a:extLst>
          </p:cNvPr>
          <p:cNvSpPr>
            <a:spLocks noGrp="1"/>
          </p:cNvSpPr>
          <p:nvPr>
            <p:ph type="dt" sz="half" idx="10"/>
          </p:nvPr>
        </p:nvSpPr>
        <p:spPr/>
        <p:txBody>
          <a:bodyPr/>
          <a:lstStyle/>
          <a:p>
            <a:fld id="{1F534FE1-6959-4277-BAC0-F34399D72004}" type="datetimeFigureOut">
              <a:rPr lang="en-US" smtClean="0"/>
              <a:t>12/1/2025</a:t>
            </a:fld>
            <a:endParaRPr lang="en-US"/>
          </a:p>
        </p:txBody>
      </p:sp>
      <p:sp>
        <p:nvSpPr>
          <p:cNvPr id="5" name="Footer Placeholder 4">
            <a:extLst>
              <a:ext uri="{FF2B5EF4-FFF2-40B4-BE49-F238E27FC236}">
                <a16:creationId xmlns:a16="http://schemas.microsoft.com/office/drawing/2014/main" id="{5FC16222-A5C8-45F6-BB5C-6B7CB96377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BE1880-02C8-47CA-BB03-3169BFCEDA92}"/>
              </a:ext>
            </a:extLst>
          </p:cNvPr>
          <p:cNvSpPr>
            <a:spLocks noGrp="1"/>
          </p:cNvSpPr>
          <p:nvPr>
            <p:ph type="sldNum" sz="quarter" idx="12"/>
          </p:nvPr>
        </p:nvSpPr>
        <p:spPr/>
        <p:txBody>
          <a:bodyPr/>
          <a:lstStyle/>
          <a:p>
            <a:fld id="{E4CA792A-B336-4C37-B349-246D13530FFD}" type="slidenum">
              <a:rPr lang="en-US" smtClean="0"/>
              <a:t>‹#›</a:t>
            </a:fld>
            <a:endParaRPr lang="en-US"/>
          </a:p>
        </p:txBody>
      </p:sp>
    </p:spTree>
    <p:extLst>
      <p:ext uri="{BB962C8B-B14F-4D97-AF65-F5344CB8AC3E}">
        <p14:creationId xmlns:p14="http://schemas.microsoft.com/office/powerpoint/2010/main" val="6929675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980DD-D115-4513-84E6-5756EAE425C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814FAB-8FE8-4999-A8AB-5805FA2F475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B8733A3-E6DF-4342-9E8B-7036ABD087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A6B3669-C8A8-4A27-A92A-AD093505B85B}"/>
              </a:ext>
            </a:extLst>
          </p:cNvPr>
          <p:cNvSpPr>
            <a:spLocks noGrp="1"/>
          </p:cNvSpPr>
          <p:nvPr>
            <p:ph type="dt" sz="half" idx="10"/>
          </p:nvPr>
        </p:nvSpPr>
        <p:spPr/>
        <p:txBody>
          <a:bodyPr/>
          <a:lstStyle/>
          <a:p>
            <a:fld id="{1F534FE1-6959-4277-BAC0-F34399D72004}" type="datetimeFigureOut">
              <a:rPr lang="en-US" smtClean="0"/>
              <a:t>12/1/2025</a:t>
            </a:fld>
            <a:endParaRPr lang="en-US"/>
          </a:p>
        </p:txBody>
      </p:sp>
      <p:sp>
        <p:nvSpPr>
          <p:cNvPr id="6" name="Footer Placeholder 5">
            <a:extLst>
              <a:ext uri="{FF2B5EF4-FFF2-40B4-BE49-F238E27FC236}">
                <a16:creationId xmlns:a16="http://schemas.microsoft.com/office/drawing/2014/main" id="{588AB8B0-6842-41D9-9B6F-87AA0FF48C9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6636CA-F532-4FFF-802A-109FED5E123B}"/>
              </a:ext>
            </a:extLst>
          </p:cNvPr>
          <p:cNvSpPr>
            <a:spLocks noGrp="1"/>
          </p:cNvSpPr>
          <p:nvPr>
            <p:ph type="sldNum" sz="quarter" idx="12"/>
          </p:nvPr>
        </p:nvSpPr>
        <p:spPr/>
        <p:txBody>
          <a:bodyPr/>
          <a:lstStyle/>
          <a:p>
            <a:fld id="{E4CA792A-B336-4C37-B349-246D13530FFD}" type="slidenum">
              <a:rPr lang="en-US" smtClean="0"/>
              <a:t>‹#›</a:t>
            </a:fld>
            <a:endParaRPr lang="en-US"/>
          </a:p>
        </p:txBody>
      </p:sp>
    </p:spTree>
    <p:extLst>
      <p:ext uri="{BB962C8B-B14F-4D97-AF65-F5344CB8AC3E}">
        <p14:creationId xmlns:p14="http://schemas.microsoft.com/office/powerpoint/2010/main" val="20666015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20F6D-71C4-407D-AD08-6787A346954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401144B-7318-44D1-AE57-7AB62EB9EF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527C1D8-97D6-41DC-8060-612A3548B9C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97048E6-DC28-49E1-9D5E-CF0CB17BDCC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75C2443-4B91-48C0-B03E-B1B2FAA4C83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144B4A6-9BDF-4F56-91A2-460B8FF1D209}"/>
              </a:ext>
            </a:extLst>
          </p:cNvPr>
          <p:cNvSpPr>
            <a:spLocks noGrp="1"/>
          </p:cNvSpPr>
          <p:nvPr>
            <p:ph type="dt" sz="half" idx="10"/>
          </p:nvPr>
        </p:nvSpPr>
        <p:spPr/>
        <p:txBody>
          <a:bodyPr/>
          <a:lstStyle/>
          <a:p>
            <a:fld id="{1F534FE1-6959-4277-BAC0-F34399D72004}" type="datetimeFigureOut">
              <a:rPr lang="en-US" smtClean="0"/>
              <a:t>12/1/2025</a:t>
            </a:fld>
            <a:endParaRPr lang="en-US"/>
          </a:p>
        </p:txBody>
      </p:sp>
      <p:sp>
        <p:nvSpPr>
          <p:cNvPr id="8" name="Footer Placeholder 7">
            <a:extLst>
              <a:ext uri="{FF2B5EF4-FFF2-40B4-BE49-F238E27FC236}">
                <a16:creationId xmlns:a16="http://schemas.microsoft.com/office/drawing/2014/main" id="{4D6E7F69-AFFE-41E7-AE5C-171D65868FD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AC8A398-A8BD-406D-90ED-B77F9E7C4A23}"/>
              </a:ext>
            </a:extLst>
          </p:cNvPr>
          <p:cNvSpPr>
            <a:spLocks noGrp="1"/>
          </p:cNvSpPr>
          <p:nvPr>
            <p:ph type="sldNum" sz="quarter" idx="12"/>
          </p:nvPr>
        </p:nvSpPr>
        <p:spPr/>
        <p:txBody>
          <a:bodyPr/>
          <a:lstStyle/>
          <a:p>
            <a:fld id="{E4CA792A-B336-4C37-B349-246D13530FFD}" type="slidenum">
              <a:rPr lang="en-US" smtClean="0"/>
              <a:t>‹#›</a:t>
            </a:fld>
            <a:endParaRPr lang="en-US"/>
          </a:p>
        </p:txBody>
      </p:sp>
    </p:spTree>
    <p:extLst>
      <p:ext uri="{BB962C8B-B14F-4D97-AF65-F5344CB8AC3E}">
        <p14:creationId xmlns:p14="http://schemas.microsoft.com/office/powerpoint/2010/main" val="569049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3C5C7-A6DD-41EB-AB10-014ECE61480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D4D44F4-19A2-41E7-850D-EE8DC493AA78}"/>
              </a:ext>
            </a:extLst>
          </p:cNvPr>
          <p:cNvSpPr>
            <a:spLocks noGrp="1"/>
          </p:cNvSpPr>
          <p:nvPr>
            <p:ph type="dt" sz="half" idx="10"/>
          </p:nvPr>
        </p:nvSpPr>
        <p:spPr/>
        <p:txBody>
          <a:bodyPr/>
          <a:lstStyle/>
          <a:p>
            <a:fld id="{1F534FE1-6959-4277-BAC0-F34399D72004}" type="datetimeFigureOut">
              <a:rPr lang="en-US" smtClean="0"/>
              <a:t>12/1/2025</a:t>
            </a:fld>
            <a:endParaRPr lang="en-US"/>
          </a:p>
        </p:txBody>
      </p:sp>
      <p:sp>
        <p:nvSpPr>
          <p:cNvPr id="4" name="Footer Placeholder 3">
            <a:extLst>
              <a:ext uri="{FF2B5EF4-FFF2-40B4-BE49-F238E27FC236}">
                <a16:creationId xmlns:a16="http://schemas.microsoft.com/office/drawing/2014/main" id="{8BF54C66-2D49-46F5-A0C1-363AC0268AC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7827CB9-93BA-46F3-8075-3B8EFE535D62}"/>
              </a:ext>
            </a:extLst>
          </p:cNvPr>
          <p:cNvSpPr>
            <a:spLocks noGrp="1"/>
          </p:cNvSpPr>
          <p:nvPr>
            <p:ph type="sldNum" sz="quarter" idx="12"/>
          </p:nvPr>
        </p:nvSpPr>
        <p:spPr/>
        <p:txBody>
          <a:bodyPr/>
          <a:lstStyle/>
          <a:p>
            <a:fld id="{E4CA792A-B336-4C37-B349-246D13530FFD}" type="slidenum">
              <a:rPr lang="en-US" smtClean="0"/>
              <a:t>‹#›</a:t>
            </a:fld>
            <a:endParaRPr lang="en-US"/>
          </a:p>
        </p:txBody>
      </p:sp>
    </p:spTree>
    <p:extLst>
      <p:ext uri="{BB962C8B-B14F-4D97-AF65-F5344CB8AC3E}">
        <p14:creationId xmlns:p14="http://schemas.microsoft.com/office/powerpoint/2010/main" val="16003349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88644FA-9459-4061-B9AC-FE023260C733}"/>
              </a:ext>
            </a:extLst>
          </p:cNvPr>
          <p:cNvSpPr>
            <a:spLocks noGrp="1"/>
          </p:cNvSpPr>
          <p:nvPr>
            <p:ph type="dt" sz="half" idx="10"/>
          </p:nvPr>
        </p:nvSpPr>
        <p:spPr/>
        <p:txBody>
          <a:bodyPr/>
          <a:lstStyle/>
          <a:p>
            <a:fld id="{1F534FE1-6959-4277-BAC0-F34399D72004}" type="datetimeFigureOut">
              <a:rPr lang="en-US" smtClean="0"/>
              <a:t>12/1/2025</a:t>
            </a:fld>
            <a:endParaRPr lang="en-US"/>
          </a:p>
        </p:txBody>
      </p:sp>
      <p:sp>
        <p:nvSpPr>
          <p:cNvPr id="3" name="Footer Placeholder 2">
            <a:extLst>
              <a:ext uri="{FF2B5EF4-FFF2-40B4-BE49-F238E27FC236}">
                <a16:creationId xmlns:a16="http://schemas.microsoft.com/office/drawing/2014/main" id="{E69D8FC3-06A2-4BF2-B097-F90FA85BA94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983FB17-46C2-47D0-9619-1FFA6AA4FA3E}"/>
              </a:ext>
            </a:extLst>
          </p:cNvPr>
          <p:cNvSpPr>
            <a:spLocks noGrp="1"/>
          </p:cNvSpPr>
          <p:nvPr>
            <p:ph type="sldNum" sz="quarter" idx="12"/>
          </p:nvPr>
        </p:nvSpPr>
        <p:spPr/>
        <p:txBody>
          <a:bodyPr/>
          <a:lstStyle/>
          <a:p>
            <a:fld id="{E4CA792A-B336-4C37-B349-246D13530FFD}" type="slidenum">
              <a:rPr lang="en-US" smtClean="0"/>
              <a:t>‹#›</a:t>
            </a:fld>
            <a:endParaRPr lang="en-US"/>
          </a:p>
        </p:txBody>
      </p:sp>
    </p:spTree>
    <p:extLst>
      <p:ext uri="{BB962C8B-B14F-4D97-AF65-F5344CB8AC3E}">
        <p14:creationId xmlns:p14="http://schemas.microsoft.com/office/powerpoint/2010/main" val="23097941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CF52A-FC25-4CA0-9220-2D6B5A95D9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CCAE783-AFD5-4112-AA27-B19B7ABC63B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53D6CA1-0FC0-4DB1-97AD-F237CA7440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1C8C8BA-6DB2-428A-B881-0AFD0D197222}"/>
              </a:ext>
            </a:extLst>
          </p:cNvPr>
          <p:cNvSpPr>
            <a:spLocks noGrp="1"/>
          </p:cNvSpPr>
          <p:nvPr>
            <p:ph type="dt" sz="half" idx="10"/>
          </p:nvPr>
        </p:nvSpPr>
        <p:spPr/>
        <p:txBody>
          <a:bodyPr/>
          <a:lstStyle/>
          <a:p>
            <a:fld id="{1F534FE1-6959-4277-BAC0-F34399D72004}" type="datetimeFigureOut">
              <a:rPr lang="en-US" smtClean="0"/>
              <a:t>12/1/2025</a:t>
            </a:fld>
            <a:endParaRPr lang="en-US"/>
          </a:p>
        </p:txBody>
      </p:sp>
      <p:sp>
        <p:nvSpPr>
          <p:cNvPr id="6" name="Footer Placeholder 5">
            <a:extLst>
              <a:ext uri="{FF2B5EF4-FFF2-40B4-BE49-F238E27FC236}">
                <a16:creationId xmlns:a16="http://schemas.microsoft.com/office/drawing/2014/main" id="{CA5264DC-04B7-4376-A2D0-8CCC956205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7F23735-DA29-4CF4-A9E6-1758FF6FA890}"/>
              </a:ext>
            </a:extLst>
          </p:cNvPr>
          <p:cNvSpPr>
            <a:spLocks noGrp="1"/>
          </p:cNvSpPr>
          <p:nvPr>
            <p:ph type="sldNum" sz="quarter" idx="12"/>
          </p:nvPr>
        </p:nvSpPr>
        <p:spPr/>
        <p:txBody>
          <a:bodyPr/>
          <a:lstStyle/>
          <a:p>
            <a:fld id="{E4CA792A-B336-4C37-B349-246D13530FFD}" type="slidenum">
              <a:rPr lang="en-US" smtClean="0"/>
              <a:t>‹#›</a:t>
            </a:fld>
            <a:endParaRPr lang="en-US"/>
          </a:p>
        </p:txBody>
      </p:sp>
    </p:spTree>
    <p:extLst>
      <p:ext uri="{BB962C8B-B14F-4D97-AF65-F5344CB8AC3E}">
        <p14:creationId xmlns:p14="http://schemas.microsoft.com/office/powerpoint/2010/main" val="4099216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C91446-165D-4EB1-9B0B-E6E5E27DDC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FCF4E30-3275-471C-B881-56E0A9E45D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1DA2B7B-420B-4ADF-AAA0-5627356530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209F9B8-A16C-41F8-AA73-CF94D28B9E3F}"/>
              </a:ext>
            </a:extLst>
          </p:cNvPr>
          <p:cNvSpPr>
            <a:spLocks noGrp="1"/>
          </p:cNvSpPr>
          <p:nvPr>
            <p:ph type="dt" sz="half" idx="10"/>
          </p:nvPr>
        </p:nvSpPr>
        <p:spPr/>
        <p:txBody>
          <a:bodyPr/>
          <a:lstStyle/>
          <a:p>
            <a:fld id="{1F534FE1-6959-4277-BAC0-F34399D72004}" type="datetimeFigureOut">
              <a:rPr lang="en-US" smtClean="0"/>
              <a:t>12/1/2025</a:t>
            </a:fld>
            <a:endParaRPr lang="en-US"/>
          </a:p>
        </p:txBody>
      </p:sp>
      <p:sp>
        <p:nvSpPr>
          <p:cNvPr id="6" name="Footer Placeholder 5">
            <a:extLst>
              <a:ext uri="{FF2B5EF4-FFF2-40B4-BE49-F238E27FC236}">
                <a16:creationId xmlns:a16="http://schemas.microsoft.com/office/drawing/2014/main" id="{C19C192F-D4EA-4EC7-B649-21547A846A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13DC2F-9569-46EF-9458-501829053A03}"/>
              </a:ext>
            </a:extLst>
          </p:cNvPr>
          <p:cNvSpPr>
            <a:spLocks noGrp="1"/>
          </p:cNvSpPr>
          <p:nvPr>
            <p:ph type="sldNum" sz="quarter" idx="12"/>
          </p:nvPr>
        </p:nvSpPr>
        <p:spPr/>
        <p:txBody>
          <a:bodyPr/>
          <a:lstStyle/>
          <a:p>
            <a:fld id="{E4CA792A-B336-4C37-B349-246D13530FFD}" type="slidenum">
              <a:rPr lang="en-US" smtClean="0"/>
              <a:t>‹#›</a:t>
            </a:fld>
            <a:endParaRPr lang="en-US"/>
          </a:p>
        </p:txBody>
      </p:sp>
    </p:spTree>
    <p:extLst>
      <p:ext uri="{BB962C8B-B14F-4D97-AF65-F5344CB8AC3E}">
        <p14:creationId xmlns:p14="http://schemas.microsoft.com/office/powerpoint/2010/main" val="29757363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20543-E575-4BD8-873B-0BBA5134A3F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FD32B3F-3C1E-441D-81BE-7D4766D5C87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2F56ED-4D36-45D5-8E8A-127A492D44A1}"/>
              </a:ext>
            </a:extLst>
          </p:cNvPr>
          <p:cNvSpPr>
            <a:spLocks noGrp="1"/>
          </p:cNvSpPr>
          <p:nvPr>
            <p:ph type="dt" sz="half" idx="10"/>
          </p:nvPr>
        </p:nvSpPr>
        <p:spPr/>
        <p:txBody>
          <a:bodyPr/>
          <a:lstStyle/>
          <a:p>
            <a:fld id="{1F534FE1-6959-4277-BAC0-F34399D72004}" type="datetimeFigureOut">
              <a:rPr lang="en-US" smtClean="0"/>
              <a:t>12/1/2025</a:t>
            </a:fld>
            <a:endParaRPr lang="en-US"/>
          </a:p>
        </p:txBody>
      </p:sp>
      <p:sp>
        <p:nvSpPr>
          <p:cNvPr id="5" name="Footer Placeholder 4">
            <a:extLst>
              <a:ext uri="{FF2B5EF4-FFF2-40B4-BE49-F238E27FC236}">
                <a16:creationId xmlns:a16="http://schemas.microsoft.com/office/drawing/2014/main" id="{89556474-E711-4AB1-950C-9A3EB88D09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A8114F-A3ED-462B-B8F1-00101BE9D291}"/>
              </a:ext>
            </a:extLst>
          </p:cNvPr>
          <p:cNvSpPr>
            <a:spLocks noGrp="1"/>
          </p:cNvSpPr>
          <p:nvPr>
            <p:ph type="sldNum" sz="quarter" idx="12"/>
          </p:nvPr>
        </p:nvSpPr>
        <p:spPr/>
        <p:txBody>
          <a:bodyPr/>
          <a:lstStyle/>
          <a:p>
            <a:fld id="{E4CA792A-B336-4C37-B349-246D13530FFD}" type="slidenum">
              <a:rPr lang="en-US" smtClean="0"/>
              <a:t>‹#›</a:t>
            </a:fld>
            <a:endParaRPr lang="en-US"/>
          </a:p>
        </p:txBody>
      </p:sp>
    </p:spTree>
    <p:extLst>
      <p:ext uri="{BB962C8B-B14F-4D97-AF65-F5344CB8AC3E}">
        <p14:creationId xmlns:p14="http://schemas.microsoft.com/office/powerpoint/2010/main" val="1126016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eak Slide_2">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2EFADD2-4E45-E16B-3C3A-B93DA9F4507A}"/>
              </a:ext>
            </a:extLst>
          </p:cNvPr>
          <p:cNvGraphicFramePr>
            <a:graphicFrameLocks noChangeAspect="1"/>
          </p:cNvGraphicFramePr>
          <p:nvPr userDrawn="1">
            <p:custDataLst>
              <p:tags r:id="rId1"/>
            </p:custDataLst>
            <p:extLst>
              <p:ext uri="{D42A27DB-BD31-4B8C-83A1-F6EECF244321}">
                <p14:modId xmlns:p14="http://schemas.microsoft.com/office/powerpoint/2010/main" val="694049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12EFADD2-4E45-E16B-3C3A-B93DA9F45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963420B5-7D8E-49F8-4BA0-93E3BE3191A0}"/>
              </a:ext>
            </a:extLst>
          </p:cNvPr>
          <p:cNvSpPr/>
          <p:nvPr userDrawn="1"/>
        </p:nvSpPr>
        <p:spPr>
          <a:xfrm>
            <a:off x="10058400" y="304800"/>
            <a:ext cx="2133600" cy="835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Picture Placeholder 32">
            <a:extLst>
              <a:ext uri="{FF2B5EF4-FFF2-40B4-BE49-F238E27FC236}">
                <a16:creationId xmlns:a16="http://schemas.microsoft.com/office/drawing/2014/main" id="{1F46FB7B-AA01-2FA4-DA69-5DCCE41B2C3D}"/>
              </a:ext>
            </a:extLst>
          </p:cNvPr>
          <p:cNvSpPr>
            <a:spLocks noGrp="1"/>
          </p:cNvSpPr>
          <p:nvPr>
            <p:ph type="pic" sz="quarter" idx="10"/>
          </p:nvPr>
        </p:nvSpPr>
        <p:spPr>
          <a:xfrm>
            <a:off x="-1" y="0"/>
            <a:ext cx="6845300" cy="6858000"/>
          </a:xfrm>
          <a:custGeom>
            <a:avLst/>
            <a:gdLst>
              <a:gd name="connsiteX0" fmla="*/ 0 w 6845300"/>
              <a:gd name="connsiteY0" fmla="*/ 0 h 6858000"/>
              <a:gd name="connsiteX1" fmla="*/ 6845300 w 6845300"/>
              <a:gd name="connsiteY1" fmla="*/ 0 h 6858000"/>
              <a:gd name="connsiteX2" fmla="*/ 6845300 w 6845300"/>
              <a:gd name="connsiteY2" fmla="*/ 1044615 h 6858000"/>
              <a:gd name="connsiteX3" fmla="*/ 5914664 w 6845300"/>
              <a:gd name="connsiteY3" fmla="*/ 1044615 h 6858000"/>
              <a:gd name="connsiteX4" fmla="*/ 5914664 w 6845300"/>
              <a:gd name="connsiteY4" fmla="*/ 5813385 h 6858000"/>
              <a:gd name="connsiteX5" fmla="*/ 6845300 w 6845300"/>
              <a:gd name="connsiteY5" fmla="*/ 5813385 h 6858000"/>
              <a:gd name="connsiteX6" fmla="*/ 6845300 w 6845300"/>
              <a:gd name="connsiteY6" fmla="*/ 6858000 h 6858000"/>
              <a:gd name="connsiteX7" fmla="*/ 0 w 68453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45300" h="6858000">
                <a:moveTo>
                  <a:pt x="0" y="0"/>
                </a:moveTo>
                <a:lnTo>
                  <a:pt x="6845300" y="0"/>
                </a:lnTo>
                <a:lnTo>
                  <a:pt x="6845300" y="1044615"/>
                </a:lnTo>
                <a:lnTo>
                  <a:pt x="5914664" y="1044615"/>
                </a:lnTo>
                <a:lnTo>
                  <a:pt x="5914664" y="5813385"/>
                </a:lnTo>
                <a:lnTo>
                  <a:pt x="6845300" y="5813385"/>
                </a:lnTo>
                <a:lnTo>
                  <a:pt x="6845300" y="6858000"/>
                </a:lnTo>
                <a:lnTo>
                  <a:pt x="0" y="6858000"/>
                </a:lnTo>
                <a:close/>
              </a:path>
            </a:pathLst>
          </a:custGeom>
          <a:solidFill>
            <a:schemeClr val="tx2"/>
          </a:solidFill>
        </p:spPr>
        <p:txBody>
          <a:bodyPr wrap="square">
            <a:noAutofit/>
          </a:bodyPr>
          <a:lstStyle/>
          <a:p>
            <a:endParaRPr lang="en-US"/>
          </a:p>
        </p:txBody>
      </p:sp>
      <p:sp>
        <p:nvSpPr>
          <p:cNvPr id="4" name="Google Shape;670;p34">
            <a:extLst>
              <a:ext uri="{FF2B5EF4-FFF2-40B4-BE49-F238E27FC236}">
                <a16:creationId xmlns:a16="http://schemas.microsoft.com/office/drawing/2014/main" id="{61585EFB-6AD3-80BE-A1A6-C0FD97821337}"/>
              </a:ext>
            </a:extLst>
          </p:cNvPr>
          <p:cNvSpPr/>
          <p:nvPr userDrawn="1"/>
        </p:nvSpPr>
        <p:spPr>
          <a:xfrm>
            <a:off x="6845976" y="0"/>
            <a:ext cx="2069424" cy="6858000"/>
          </a:xfrm>
          <a:prstGeom prst="rect">
            <a:avLst/>
          </a:prstGeom>
          <a:solidFill>
            <a:srgbClr val="D9D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 name="Google Shape;671;p34">
            <a:extLst>
              <a:ext uri="{FF2B5EF4-FFF2-40B4-BE49-F238E27FC236}">
                <a16:creationId xmlns:a16="http://schemas.microsoft.com/office/drawing/2014/main" id="{13FB9CE7-9046-F5CE-74B3-9591E3A91318}"/>
              </a:ext>
            </a:extLst>
          </p:cNvPr>
          <p:cNvSpPr/>
          <p:nvPr userDrawn="1"/>
        </p:nvSpPr>
        <p:spPr>
          <a:xfrm>
            <a:off x="5914663" y="1044615"/>
            <a:ext cx="4768770" cy="476877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9" name="Google Shape;674;p34">
            <a:extLst>
              <a:ext uri="{FF2B5EF4-FFF2-40B4-BE49-F238E27FC236}">
                <a16:creationId xmlns:a16="http://schemas.microsoft.com/office/drawing/2014/main" id="{37032E3E-D23F-1166-9799-C4D465A43708}"/>
              </a:ext>
            </a:extLst>
          </p:cNvPr>
          <p:cNvCxnSpPr/>
          <p:nvPr userDrawn="1"/>
        </p:nvCxnSpPr>
        <p:spPr>
          <a:xfrm>
            <a:off x="6785951" y="4774453"/>
            <a:ext cx="1258645" cy="0"/>
          </a:xfrm>
          <a:prstGeom prst="straightConnector1">
            <a:avLst/>
          </a:prstGeom>
          <a:noFill/>
          <a:ln w="28575" cap="flat" cmpd="sng">
            <a:solidFill>
              <a:schemeClr val="accent4"/>
            </a:solidFill>
            <a:prstDash val="solid"/>
            <a:miter lim="800000"/>
            <a:headEnd type="none" w="sm" len="sm"/>
            <a:tailEnd type="none" w="sm" len="sm"/>
          </a:ln>
        </p:spPr>
      </p:cxnSp>
      <p:sp>
        <p:nvSpPr>
          <p:cNvPr id="18" name="Title 17">
            <a:extLst>
              <a:ext uri="{FF2B5EF4-FFF2-40B4-BE49-F238E27FC236}">
                <a16:creationId xmlns:a16="http://schemas.microsoft.com/office/drawing/2014/main" id="{46C96711-0F2A-0A30-9152-99D00E90D575}"/>
              </a:ext>
            </a:extLst>
          </p:cNvPr>
          <p:cNvSpPr>
            <a:spLocks noGrp="1"/>
          </p:cNvSpPr>
          <p:nvPr>
            <p:ph type="title" hasCustomPrompt="1"/>
          </p:nvPr>
        </p:nvSpPr>
        <p:spPr>
          <a:xfrm>
            <a:off x="6781800" y="2135188"/>
            <a:ext cx="3143250" cy="1939925"/>
          </a:xfrm>
        </p:spPr>
        <p:txBody>
          <a:bodyPr vert="horz">
            <a:noAutofit/>
          </a:bodyPr>
          <a:lstStyle>
            <a:lvl1pPr>
              <a:defRPr sz="6600">
                <a:solidFill>
                  <a:schemeClr val="bg1"/>
                </a:solidFill>
              </a:defRPr>
            </a:lvl1pPr>
          </a:lstStyle>
          <a:p>
            <a:pPr>
              <a:spcBef>
                <a:spcPts val="0"/>
              </a:spcBef>
            </a:pPr>
            <a:r>
              <a:rPr lang="en-IN"/>
              <a:t>Break </a:t>
            </a:r>
            <a:br>
              <a:rPr lang="en-IN"/>
            </a:br>
            <a:r>
              <a:rPr lang="en-IN"/>
              <a:t>Slide</a:t>
            </a:r>
          </a:p>
        </p:txBody>
      </p:sp>
      <p:sp>
        <p:nvSpPr>
          <p:cNvPr id="27" name="Text Placeholder 26">
            <a:extLst>
              <a:ext uri="{FF2B5EF4-FFF2-40B4-BE49-F238E27FC236}">
                <a16:creationId xmlns:a16="http://schemas.microsoft.com/office/drawing/2014/main" id="{FE09F013-5FF2-8D0B-D481-8D31535506C3}"/>
              </a:ext>
            </a:extLst>
          </p:cNvPr>
          <p:cNvSpPr>
            <a:spLocks noGrp="1"/>
          </p:cNvSpPr>
          <p:nvPr>
            <p:ph type="body" sz="quarter" idx="11" hasCustomPrompt="1"/>
          </p:nvPr>
        </p:nvSpPr>
        <p:spPr>
          <a:xfrm>
            <a:off x="6781800" y="4083077"/>
            <a:ext cx="3143250" cy="338138"/>
          </a:xfrm>
        </p:spPr>
        <p:txBody>
          <a:bodyPr/>
          <a:lstStyle>
            <a:lvl1pPr marL="0" indent="0">
              <a:buNone/>
              <a:defRPr sz="1600">
                <a:solidFill>
                  <a:schemeClr val="bg1"/>
                </a:solidFill>
              </a:defRPr>
            </a:lvl1pPr>
          </a:lstStyle>
          <a:p>
            <a:pPr lvl="0"/>
            <a:r>
              <a:rPr lang="en-US"/>
              <a:t>Sub Title</a:t>
            </a:r>
          </a:p>
        </p:txBody>
      </p:sp>
    </p:spTree>
    <p:extLst>
      <p:ext uri="{BB962C8B-B14F-4D97-AF65-F5344CB8AC3E}">
        <p14:creationId xmlns:p14="http://schemas.microsoft.com/office/powerpoint/2010/main" val="136816752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C6933BD-BE80-476F-9751-F222ABA9844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0620184-8CAE-4196-A757-8510A6F4B2C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DA592F-E20B-43F5-824C-C9D40231E6C6}"/>
              </a:ext>
            </a:extLst>
          </p:cNvPr>
          <p:cNvSpPr>
            <a:spLocks noGrp="1"/>
          </p:cNvSpPr>
          <p:nvPr>
            <p:ph type="dt" sz="half" idx="10"/>
          </p:nvPr>
        </p:nvSpPr>
        <p:spPr/>
        <p:txBody>
          <a:bodyPr/>
          <a:lstStyle/>
          <a:p>
            <a:fld id="{1F534FE1-6959-4277-BAC0-F34399D72004}" type="datetimeFigureOut">
              <a:rPr lang="en-US" smtClean="0"/>
              <a:t>12/1/2025</a:t>
            </a:fld>
            <a:endParaRPr lang="en-US"/>
          </a:p>
        </p:txBody>
      </p:sp>
      <p:sp>
        <p:nvSpPr>
          <p:cNvPr id="5" name="Footer Placeholder 4">
            <a:extLst>
              <a:ext uri="{FF2B5EF4-FFF2-40B4-BE49-F238E27FC236}">
                <a16:creationId xmlns:a16="http://schemas.microsoft.com/office/drawing/2014/main" id="{B60600B4-097B-429D-93A4-B323765243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9F160D-9C99-4108-8C19-F75C1771562F}"/>
              </a:ext>
            </a:extLst>
          </p:cNvPr>
          <p:cNvSpPr>
            <a:spLocks noGrp="1"/>
          </p:cNvSpPr>
          <p:nvPr>
            <p:ph type="sldNum" sz="quarter" idx="12"/>
          </p:nvPr>
        </p:nvSpPr>
        <p:spPr/>
        <p:txBody>
          <a:bodyPr/>
          <a:lstStyle/>
          <a:p>
            <a:fld id="{E4CA792A-B336-4C37-B349-246D13530FFD}" type="slidenum">
              <a:rPr lang="en-US" smtClean="0"/>
              <a:t>‹#›</a:t>
            </a:fld>
            <a:endParaRPr lang="en-US"/>
          </a:p>
        </p:txBody>
      </p:sp>
    </p:spTree>
    <p:extLst>
      <p:ext uri="{BB962C8B-B14F-4D97-AF65-F5344CB8AC3E}">
        <p14:creationId xmlns:p14="http://schemas.microsoft.com/office/powerpoint/2010/main" val="2532688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Break Slide_1">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2EFADD2-4E45-E16B-3C3A-B93DA9F4507A}"/>
              </a:ext>
            </a:extLst>
          </p:cNvPr>
          <p:cNvGraphicFramePr>
            <a:graphicFrameLocks noChangeAspect="1"/>
          </p:cNvGraphicFramePr>
          <p:nvPr userDrawn="1">
            <p:custDataLst>
              <p:tags r:id="rId1"/>
            </p:custDataLst>
            <p:extLst>
              <p:ext uri="{D42A27DB-BD31-4B8C-83A1-F6EECF244321}">
                <p14:modId xmlns:p14="http://schemas.microsoft.com/office/powerpoint/2010/main" val="2457329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12EFADD2-4E45-E16B-3C3A-B93DA9F45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Google Shape;680;p35">
            <a:extLst>
              <a:ext uri="{FF2B5EF4-FFF2-40B4-BE49-F238E27FC236}">
                <a16:creationId xmlns:a16="http://schemas.microsoft.com/office/drawing/2014/main" id="{B75BD33F-FBE2-D696-C6CF-68E1B0829DC8}"/>
              </a:ext>
            </a:extLst>
          </p:cNvPr>
          <p:cNvSpPr/>
          <p:nvPr userDrawn="1"/>
        </p:nvSpPr>
        <p:spPr>
          <a:xfrm>
            <a:off x="8597899" y="0"/>
            <a:ext cx="3594102"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7" name="Google Shape;685;p35">
            <a:extLst>
              <a:ext uri="{FF2B5EF4-FFF2-40B4-BE49-F238E27FC236}">
                <a16:creationId xmlns:a16="http://schemas.microsoft.com/office/drawing/2014/main" id="{BB856770-99F2-A701-3172-68DE2C2A0BE3}"/>
              </a:ext>
            </a:extLst>
          </p:cNvPr>
          <p:cNvCxnSpPr/>
          <p:nvPr userDrawn="1"/>
        </p:nvCxnSpPr>
        <p:spPr>
          <a:xfrm>
            <a:off x="4129788" y="5423265"/>
            <a:ext cx="1990200" cy="0"/>
          </a:xfrm>
          <a:prstGeom prst="straightConnector1">
            <a:avLst/>
          </a:prstGeom>
          <a:noFill/>
          <a:ln w="28575" cap="flat" cmpd="sng">
            <a:solidFill>
              <a:schemeClr val="accent4"/>
            </a:solidFill>
            <a:prstDash val="solid"/>
            <a:miter lim="800000"/>
            <a:headEnd type="none" w="sm" len="sm"/>
            <a:tailEnd type="none" w="sm" len="sm"/>
          </a:ln>
        </p:spPr>
      </p:cxnSp>
      <p:sp>
        <p:nvSpPr>
          <p:cNvPr id="11" name="Footer Placeholder 10">
            <a:extLst>
              <a:ext uri="{FF2B5EF4-FFF2-40B4-BE49-F238E27FC236}">
                <a16:creationId xmlns:a16="http://schemas.microsoft.com/office/drawing/2014/main" id="{C96A3D04-353B-425D-2634-BF5C55F0375E}"/>
              </a:ext>
            </a:extLst>
          </p:cNvPr>
          <p:cNvSpPr>
            <a:spLocks noGrp="1"/>
          </p:cNvSpPr>
          <p:nvPr>
            <p:ph type="ftr" sz="quarter" idx="10"/>
          </p:nvPr>
        </p:nvSpPr>
        <p:spPr/>
        <p:txBody>
          <a:bodyPr/>
          <a:lstStyle/>
          <a:p>
            <a:endParaRPr lang="en-US"/>
          </a:p>
        </p:txBody>
      </p:sp>
      <p:sp>
        <p:nvSpPr>
          <p:cNvPr id="13" name="Title 12">
            <a:extLst>
              <a:ext uri="{FF2B5EF4-FFF2-40B4-BE49-F238E27FC236}">
                <a16:creationId xmlns:a16="http://schemas.microsoft.com/office/drawing/2014/main" id="{955E071C-D8AB-0A30-1B8D-117160B4E134}"/>
              </a:ext>
            </a:extLst>
          </p:cNvPr>
          <p:cNvSpPr>
            <a:spLocks noGrp="1"/>
          </p:cNvSpPr>
          <p:nvPr>
            <p:ph type="title" hasCustomPrompt="1"/>
          </p:nvPr>
        </p:nvSpPr>
        <p:spPr>
          <a:xfrm>
            <a:off x="518585" y="1869548"/>
            <a:ext cx="3690938" cy="2124075"/>
          </a:xfrm>
        </p:spPr>
        <p:txBody>
          <a:bodyPr vert="horz">
            <a:noAutofit/>
          </a:bodyPr>
          <a:lstStyle>
            <a:lvl1pPr>
              <a:defRPr sz="6600"/>
            </a:lvl1pPr>
          </a:lstStyle>
          <a:p>
            <a:r>
              <a:rPr lang="en-US"/>
              <a:t>Break </a:t>
            </a:r>
            <a:br>
              <a:rPr lang="en-US"/>
            </a:br>
            <a:r>
              <a:rPr lang="en-US"/>
              <a:t>Slide</a:t>
            </a:r>
          </a:p>
        </p:txBody>
      </p:sp>
      <p:sp>
        <p:nvSpPr>
          <p:cNvPr id="19" name="Text Placeholder 18">
            <a:extLst>
              <a:ext uri="{FF2B5EF4-FFF2-40B4-BE49-F238E27FC236}">
                <a16:creationId xmlns:a16="http://schemas.microsoft.com/office/drawing/2014/main" id="{15A8E845-6271-D85C-8EED-1B469AD0BE23}"/>
              </a:ext>
            </a:extLst>
          </p:cNvPr>
          <p:cNvSpPr>
            <a:spLocks noGrp="1"/>
          </p:cNvSpPr>
          <p:nvPr>
            <p:ph type="body" sz="quarter" idx="12" hasCustomPrompt="1"/>
          </p:nvPr>
        </p:nvSpPr>
        <p:spPr>
          <a:xfrm>
            <a:off x="518585" y="4098600"/>
            <a:ext cx="3690938" cy="339725"/>
          </a:xfrm>
        </p:spPr>
        <p:txBody>
          <a:bodyPr/>
          <a:lstStyle>
            <a:lvl1pPr marL="0" indent="0">
              <a:buNone/>
              <a:defRPr sz="1600"/>
            </a:lvl1pPr>
          </a:lstStyle>
          <a:p>
            <a:pPr lvl="0"/>
            <a:r>
              <a:rPr lang="en-US"/>
              <a:t>Sub Title</a:t>
            </a:r>
          </a:p>
        </p:txBody>
      </p:sp>
      <p:sp>
        <p:nvSpPr>
          <p:cNvPr id="23" name="Picture Placeholder 21">
            <a:extLst>
              <a:ext uri="{FF2B5EF4-FFF2-40B4-BE49-F238E27FC236}">
                <a16:creationId xmlns:a16="http://schemas.microsoft.com/office/drawing/2014/main" id="{C267EB6B-DD37-31C3-E6F6-BD0EDAEB22B7}"/>
              </a:ext>
            </a:extLst>
          </p:cNvPr>
          <p:cNvSpPr>
            <a:spLocks noGrp="1"/>
          </p:cNvSpPr>
          <p:nvPr>
            <p:ph type="pic" sz="quarter" idx="13"/>
          </p:nvPr>
        </p:nvSpPr>
        <p:spPr>
          <a:xfrm>
            <a:off x="6119101" y="836953"/>
            <a:ext cx="5186363" cy="5184775"/>
          </a:xfrm>
          <a:solidFill>
            <a:schemeClr val="tx2"/>
          </a:solidFill>
        </p:spPr>
        <p:txBody>
          <a:bodyPr/>
          <a:lstStyle/>
          <a:p>
            <a:endParaRPr lang="en-US"/>
          </a:p>
        </p:txBody>
      </p:sp>
    </p:spTree>
    <p:extLst>
      <p:ext uri="{BB962C8B-B14F-4D97-AF65-F5344CB8AC3E}">
        <p14:creationId xmlns:p14="http://schemas.microsoft.com/office/powerpoint/2010/main" val="694963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4221782343"/>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126;p1">
            <a:extLst>
              <a:ext uri="{FF2B5EF4-FFF2-40B4-BE49-F238E27FC236}">
                <a16:creationId xmlns:a16="http://schemas.microsoft.com/office/drawing/2014/main" id="{0FCD3FAD-43E3-2C0E-CED1-B28F616E5F45}"/>
              </a:ext>
            </a:extLst>
          </p:cNvPr>
          <p:cNvSpPr/>
          <p:nvPr userDrawn="1"/>
        </p:nvSpPr>
        <p:spPr>
          <a:xfrm>
            <a:off x="293211" y="0"/>
            <a:ext cx="5938200" cy="62073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 name="Google Shape;127;p1">
            <a:extLst>
              <a:ext uri="{FF2B5EF4-FFF2-40B4-BE49-F238E27FC236}">
                <a16:creationId xmlns:a16="http://schemas.microsoft.com/office/drawing/2014/main" id="{D800B490-30C4-191F-9A35-A8A6369155E3}"/>
              </a:ext>
            </a:extLst>
          </p:cNvPr>
          <p:cNvSpPr/>
          <p:nvPr userDrawn="1"/>
        </p:nvSpPr>
        <p:spPr>
          <a:xfrm>
            <a:off x="0" y="0"/>
            <a:ext cx="5938221" cy="5938221"/>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 name="Google Shape;130;p1">
            <a:extLst>
              <a:ext uri="{FF2B5EF4-FFF2-40B4-BE49-F238E27FC236}">
                <a16:creationId xmlns:a16="http://schemas.microsoft.com/office/drawing/2014/main" id="{9956CD4A-F61C-8180-3747-8E45C3C8BF1D}"/>
              </a:ext>
            </a:extLst>
          </p:cNvPr>
          <p:cNvSpPr txBox="1"/>
          <p:nvPr userDrawn="1"/>
        </p:nvSpPr>
        <p:spPr>
          <a:xfrm>
            <a:off x="6743937" y="4637552"/>
            <a:ext cx="4354987" cy="646290"/>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None/>
            </a:pPr>
            <a:r>
              <a:rPr lang="en-US" sz="1200" dirty="0">
                <a:solidFill>
                  <a:schemeClr val="tx2"/>
                </a:solidFill>
                <a:ea typeface="Poppins"/>
                <a:cs typeface="Poppins"/>
                <a:sym typeface="Poppins"/>
              </a:rPr>
              <a:t>Lorem ipsum dolor sit </a:t>
            </a:r>
            <a:r>
              <a:rPr lang="en-US" sz="1200" dirty="0" err="1">
                <a:solidFill>
                  <a:schemeClr val="tx2"/>
                </a:solidFill>
                <a:ea typeface="Poppins"/>
                <a:cs typeface="Poppins"/>
                <a:sym typeface="Poppins"/>
              </a:rPr>
              <a:t>amet</a:t>
            </a:r>
            <a:r>
              <a:rPr lang="en-US" sz="1200" dirty="0">
                <a:solidFill>
                  <a:schemeClr val="tx2"/>
                </a:solidFill>
                <a:ea typeface="Poppins"/>
                <a:cs typeface="Poppins"/>
                <a:sym typeface="Poppins"/>
              </a:rPr>
              <a:t>, </a:t>
            </a:r>
            <a:r>
              <a:rPr lang="en-US" sz="1200" dirty="0" err="1">
                <a:solidFill>
                  <a:schemeClr val="tx2"/>
                </a:solidFill>
                <a:ea typeface="Poppins"/>
                <a:cs typeface="Poppins"/>
                <a:sym typeface="Poppins"/>
              </a:rPr>
              <a:t>consectetur</a:t>
            </a:r>
            <a:r>
              <a:rPr lang="en-US" sz="1200" dirty="0">
                <a:solidFill>
                  <a:schemeClr val="tx2"/>
                </a:solidFill>
                <a:ea typeface="Poppins"/>
                <a:cs typeface="Poppins"/>
                <a:sym typeface="Poppins"/>
              </a:rPr>
              <a:t> </a:t>
            </a:r>
            <a:r>
              <a:rPr lang="en-US" sz="1200" dirty="0" err="1">
                <a:solidFill>
                  <a:schemeClr val="tx2"/>
                </a:solidFill>
                <a:ea typeface="Poppins"/>
                <a:cs typeface="Poppins"/>
                <a:sym typeface="Poppins"/>
              </a:rPr>
              <a:t>adipiscing</a:t>
            </a:r>
            <a:r>
              <a:rPr lang="en-US" sz="1200" dirty="0">
                <a:solidFill>
                  <a:schemeClr val="tx2"/>
                </a:solidFill>
                <a:ea typeface="Poppins"/>
                <a:cs typeface="Poppins"/>
                <a:sym typeface="Poppins"/>
              </a:rPr>
              <a:t> </a:t>
            </a:r>
            <a:r>
              <a:rPr lang="en-US" sz="1200" dirty="0" err="1">
                <a:solidFill>
                  <a:schemeClr val="tx2"/>
                </a:solidFill>
                <a:ea typeface="Poppins"/>
                <a:cs typeface="Poppins"/>
                <a:sym typeface="Poppins"/>
              </a:rPr>
              <a:t>elit</a:t>
            </a:r>
            <a:r>
              <a:rPr lang="en-US" sz="1200" dirty="0">
                <a:solidFill>
                  <a:schemeClr val="tx2"/>
                </a:solidFill>
                <a:ea typeface="Poppins"/>
                <a:cs typeface="Poppins"/>
                <a:sym typeface="Poppins"/>
              </a:rPr>
              <a:t>, sed do </a:t>
            </a:r>
            <a:r>
              <a:rPr lang="en-US" sz="1200" dirty="0" err="1">
                <a:solidFill>
                  <a:schemeClr val="tx2"/>
                </a:solidFill>
                <a:ea typeface="Poppins"/>
                <a:cs typeface="Poppins"/>
                <a:sym typeface="Poppins"/>
              </a:rPr>
              <a:t>eiusmod</a:t>
            </a:r>
            <a:r>
              <a:rPr lang="en-US" sz="1200" dirty="0">
                <a:solidFill>
                  <a:schemeClr val="tx2"/>
                </a:solidFill>
                <a:ea typeface="Poppins"/>
                <a:cs typeface="Poppins"/>
                <a:sym typeface="Poppins"/>
              </a:rPr>
              <a:t> </a:t>
            </a:r>
            <a:r>
              <a:rPr lang="en-US" sz="1200" dirty="0" err="1">
                <a:solidFill>
                  <a:schemeClr val="tx2"/>
                </a:solidFill>
                <a:ea typeface="Poppins"/>
                <a:cs typeface="Poppins"/>
                <a:sym typeface="Poppins"/>
              </a:rPr>
              <a:t>tempor</a:t>
            </a:r>
            <a:r>
              <a:rPr lang="en-US" sz="1200" dirty="0">
                <a:solidFill>
                  <a:schemeClr val="tx2"/>
                </a:solidFill>
                <a:ea typeface="Poppins"/>
                <a:cs typeface="Poppins"/>
                <a:sym typeface="Poppins"/>
              </a:rPr>
              <a:t> </a:t>
            </a:r>
            <a:r>
              <a:rPr lang="en-US" sz="1200" dirty="0" err="1">
                <a:solidFill>
                  <a:schemeClr val="tx2"/>
                </a:solidFill>
                <a:ea typeface="Poppins"/>
                <a:cs typeface="Poppins"/>
                <a:sym typeface="Poppins"/>
              </a:rPr>
              <a:t>incididunt</a:t>
            </a:r>
            <a:r>
              <a:rPr lang="en-US" sz="1200" dirty="0">
                <a:solidFill>
                  <a:schemeClr val="tx2"/>
                </a:solidFill>
                <a:ea typeface="Poppins"/>
                <a:cs typeface="Poppins"/>
                <a:sym typeface="Poppins"/>
              </a:rPr>
              <a:t> </a:t>
            </a:r>
            <a:r>
              <a:rPr lang="en-US" sz="1200" dirty="0" err="1">
                <a:solidFill>
                  <a:schemeClr val="tx2"/>
                </a:solidFill>
                <a:ea typeface="Poppins"/>
                <a:cs typeface="Poppins"/>
                <a:sym typeface="Poppins"/>
              </a:rPr>
              <a:t>ut</a:t>
            </a:r>
            <a:r>
              <a:rPr lang="en-US" sz="1200" dirty="0">
                <a:solidFill>
                  <a:schemeClr val="tx2"/>
                </a:solidFill>
                <a:ea typeface="Poppins"/>
                <a:cs typeface="Poppins"/>
                <a:sym typeface="Poppins"/>
              </a:rPr>
              <a:t> labore et dolore magna </a:t>
            </a:r>
            <a:r>
              <a:rPr lang="en-US" sz="1200" dirty="0" err="1">
                <a:solidFill>
                  <a:schemeClr val="tx2"/>
                </a:solidFill>
                <a:ea typeface="Poppins"/>
                <a:cs typeface="Poppins"/>
                <a:sym typeface="Poppins"/>
              </a:rPr>
              <a:t>aliqua</a:t>
            </a:r>
            <a:r>
              <a:rPr lang="en-US" sz="1200" dirty="0">
                <a:solidFill>
                  <a:schemeClr val="tx2"/>
                </a:solidFill>
                <a:ea typeface="Poppins"/>
                <a:cs typeface="Poppins"/>
                <a:sym typeface="Poppins"/>
              </a:rPr>
              <a:t>.</a:t>
            </a:r>
            <a:endParaRPr dirty="0">
              <a:solidFill>
                <a:schemeClr val="tx2"/>
              </a:solidFill>
            </a:endParaRPr>
          </a:p>
        </p:txBody>
      </p:sp>
      <p:cxnSp>
        <p:nvCxnSpPr>
          <p:cNvPr id="6" name="Google Shape;134;p1">
            <a:extLst>
              <a:ext uri="{FF2B5EF4-FFF2-40B4-BE49-F238E27FC236}">
                <a16:creationId xmlns:a16="http://schemas.microsoft.com/office/drawing/2014/main" id="{0C7AC4FA-BEED-1CFF-03B8-B1C891BE2CFE}"/>
              </a:ext>
            </a:extLst>
          </p:cNvPr>
          <p:cNvCxnSpPr/>
          <p:nvPr userDrawn="1"/>
        </p:nvCxnSpPr>
        <p:spPr>
          <a:xfrm>
            <a:off x="6841863" y="5938215"/>
            <a:ext cx="1669500" cy="0"/>
          </a:xfrm>
          <a:prstGeom prst="straightConnector1">
            <a:avLst/>
          </a:prstGeom>
          <a:noFill/>
          <a:ln w="28575" cap="flat" cmpd="sng">
            <a:solidFill>
              <a:schemeClr val="accent4"/>
            </a:solidFill>
            <a:prstDash val="solid"/>
            <a:miter lim="800000"/>
            <a:headEnd type="none" w="sm" len="sm"/>
            <a:tailEnd type="none" w="sm" len="sm"/>
          </a:ln>
        </p:spPr>
      </p:cxnSp>
      <p:sp>
        <p:nvSpPr>
          <p:cNvPr id="45" name="Title 1">
            <a:extLst>
              <a:ext uri="{FF2B5EF4-FFF2-40B4-BE49-F238E27FC236}">
                <a16:creationId xmlns:a16="http://schemas.microsoft.com/office/drawing/2014/main" id="{D6433ED0-27AC-9FCF-D85B-4D82E17DE229}"/>
              </a:ext>
            </a:extLst>
          </p:cNvPr>
          <p:cNvSpPr>
            <a:spLocks noGrp="1"/>
          </p:cNvSpPr>
          <p:nvPr userDrawn="1">
            <p:ph type="title" hasCustomPrompt="1"/>
          </p:nvPr>
        </p:nvSpPr>
        <p:spPr>
          <a:xfrm>
            <a:off x="419101" y="2286000"/>
            <a:ext cx="5124450" cy="1206500"/>
          </a:xfrm>
        </p:spPr>
        <p:txBody>
          <a:bodyPr vert="horz">
            <a:normAutofit/>
          </a:bodyPr>
          <a:lstStyle>
            <a:lvl1pPr>
              <a:defRPr sz="2400" b="1">
                <a:solidFill>
                  <a:schemeClr val="bg1"/>
                </a:solidFill>
              </a:defRPr>
            </a:lvl1pPr>
          </a:lstStyle>
          <a:p>
            <a:r>
              <a:rPr lang="en-US" dirty="0"/>
              <a:t>PRESENTATION</a:t>
            </a:r>
            <a:br>
              <a:rPr lang="en-US" dirty="0"/>
            </a:br>
            <a:r>
              <a:rPr lang="en-US" dirty="0"/>
              <a:t>TITLE GOES HERE</a:t>
            </a:r>
          </a:p>
        </p:txBody>
      </p:sp>
      <p:sp>
        <p:nvSpPr>
          <p:cNvPr id="46" name="Text Placeholder 6">
            <a:extLst>
              <a:ext uri="{FF2B5EF4-FFF2-40B4-BE49-F238E27FC236}">
                <a16:creationId xmlns:a16="http://schemas.microsoft.com/office/drawing/2014/main" id="{8D77B1AC-DD95-31EA-D4D9-307FB3DFB228}"/>
              </a:ext>
            </a:extLst>
          </p:cNvPr>
          <p:cNvSpPr>
            <a:spLocks noGrp="1"/>
          </p:cNvSpPr>
          <p:nvPr userDrawn="1">
            <p:ph type="body" sz="quarter" idx="13" hasCustomPrompt="1"/>
          </p:nvPr>
        </p:nvSpPr>
        <p:spPr>
          <a:xfrm>
            <a:off x="419102" y="3717269"/>
            <a:ext cx="5124450" cy="261938"/>
          </a:xfrm>
          <a:prstGeom prst="rect">
            <a:avLst/>
          </a:prstGeom>
        </p:spPr>
        <p:txBody>
          <a:bodyPr>
            <a:normAutofit/>
          </a:bodyPr>
          <a:lstStyle>
            <a:lvl1pPr marL="0" indent="0">
              <a:buNone/>
              <a:defRPr sz="1800">
                <a:solidFill>
                  <a:schemeClr val="bg1"/>
                </a:solidFill>
                <a:latin typeface="+mj-lt"/>
              </a:defRPr>
            </a:lvl1pPr>
          </a:lstStyle>
          <a:p>
            <a:pPr marL="114300" lvl="0" indent="-342900" defTabSz="914323">
              <a:lnSpc>
                <a:spcPct val="85000"/>
              </a:lnSpc>
              <a:spcBef>
                <a:spcPct val="0"/>
              </a:spcBef>
            </a:pPr>
            <a:r>
              <a:rPr lang="en-US" dirty="0"/>
              <a:t>Subtitle</a:t>
            </a:r>
          </a:p>
        </p:txBody>
      </p:sp>
      <p:sp>
        <p:nvSpPr>
          <p:cNvPr id="47" name="Text Placeholder 47">
            <a:extLst>
              <a:ext uri="{FF2B5EF4-FFF2-40B4-BE49-F238E27FC236}">
                <a16:creationId xmlns:a16="http://schemas.microsoft.com/office/drawing/2014/main" id="{D54450E6-6EED-BF9A-EA40-59D11387E82F}"/>
              </a:ext>
            </a:extLst>
          </p:cNvPr>
          <p:cNvSpPr>
            <a:spLocks noGrp="1"/>
          </p:cNvSpPr>
          <p:nvPr userDrawn="1">
            <p:ph type="body" sz="quarter" idx="15" hasCustomPrompt="1"/>
          </p:nvPr>
        </p:nvSpPr>
        <p:spPr>
          <a:xfrm>
            <a:off x="419102" y="4203609"/>
            <a:ext cx="5124450" cy="209550"/>
          </a:xfrm>
          <a:prstGeom prst="rect">
            <a:avLst/>
          </a:prstGeom>
        </p:spPr>
        <p:txBody>
          <a:bodyPr/>
          <a:lstStyle>
            <a:lvl1pPr marL="0" indent="0">
              <a:buNone/>
              <a:defRPr>
                <a:solidFill>
                  <a:schemeClr val="bg1"/>
                </a:solidFill>
              </a:defRPr>
            </a:lvl1pPr>
          </a:lstStyle>
          <a:p>
            <a:pPr lvl="0"/>
            <a:r>
              <a:rPr lang="en-US" dirty="0"/>
              <a:t>Date</a:t>
            </a:r>
          </a:p>
        </p:txBody>
      </p:sp>
      <p:pic>
        <p:nvPicPr>
          <p:cNvPr id="21" name="Picture 20" descr="A logo with white text&#10;&#10;Description automatically generated">
            <a:extLst>
              <a:ext uri="{FF2B5EF4-FFF2-40B4-BE49-F238E27FC236}">
                <a16:creationId xmlns:a16="http://schemas.microsoft.com/office/drawing/2014/main" id="{5A1F00B0-3F3A-9CC9-F4EB-47B24A8E154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34913" y="1333500"/>
            <a:ext cx="2446399" cy="745636"/>
          </a:xfrm>
          <a:prstGeom prst="rect">
            <a:avLst/>
          </a:prstGeom>
        </p:spPr>
      </p:pic>
      <p:grpSp>
        <p:nvGrpSpPr>
          <p:cNvPr id="7" name="Group 6">
            <a:extLst>
              <a:ext uri="{FF2B5EF4-FFF2-40B4-BE49-F238E27FC236}">
                <a16:creationId xmlns:a16="http://schemas.microsoft.com/office/drawing/2014/main" id="{1E7D42B0-2C48-83BF-B388-423144A5EF07}"/>
              </a:ext>
            </a:extLst>
          </p:cNvPr>
          <p:cNvGrpSpPr/>
          <p:nvPr userDrawn="1"/>
        </p:nvGrpSpPr>
        <p:grpSpPr>
          <a:xfrm>
            <a:off x="5938220" y="0"/>
            <a:ext cx="5507999" cy="4237199"/>
            <a:chOff x="5938220" y="0"/>
            <a:chExt cx="5507999" cy="4237199"/>
          </a:xfrm>
        </p:grpSpPr>
        <p:pic>
          <p:nvPicPr>
            <p:cNvPr id="8" name="Picture 7" descr="A large white building with a large wall&#10;&#10;Description automatically generated with medium confidence">
              <a:extLst>
                <a:ext uri="{FF2B5EF4-FFF2-40B4-BE49-F238E27FC236}">
                  <a16:creationId xmlns:a16="http://schemas.microsoft.com/office/drawing/2014/main" id="{7FD3735B-F7F0-AF83-6AD8-1570BEEE4197}"/>
                </a:ext>
              </a:extLst>
            </p:cNvPr>
            <p:cNvPicPr>
              <a:picLocks noChangeAspect="1"/>
            </p:cNvPicPr>
            <p:nvPr/>
          </p:nvPicPr>
          <p:blipFill rotWithShape="1">
            <a:blip r:embed="rId6"/>
            <a:srcRect l="489" r="8110"/>
            <a:stretch/>
          </p:blipFill>
          <p:spPr>
            <a:xfrm>
              <a:off x="5938220" y="0"/>
              <a:ext cx="5507999" cy="4237199"/>
            </a:xfrm>
            <a:prstGeom prst="rect">
              <a:avLst/>
            </a:prstGeom>
          </p:spPr>
        </p:pic>
        <p:sp>
          <p:nvSpPr>
            <p:cNvPr id="9" name="Google Shape;127;p1">
              <a:extLst>
                <a:ext uri="{FF2B5EF4-FFF2-40B4-BE49-F238E27FC236}">
                  <a16:creationId xmlns:a16="http://schemas.microsoft.com/office/drawing/2014/main" id="{34B13D44-6D02-2B44-7FED-4231D19367BB}"/>
                </a:ext>
              </a:extLst>
            </p:cNvPr>
            <p:cNvSpPr/>
            <p:nvPr/>
          </p:nvSpPr>
          <p:spPr>
            <a:xfrm>
              <a:off x="5939181" y="0"/>
              <a:ext cx="5507038" cy="4237038"/>
            </a:xfrm>
            <a:prstGeom prst="rect">
              <a:avLst/>
            </a:prstGeom>
            <a:solidFill>
              <a:schemeClr val="accent3">
                <a:alpha val="34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grpSp>
    </p:spTree>
    <p:extLst>
      <p:ext uri="{BB962C8B-B14F-4D97-AF65-F5344CB8AC3E}">
        <p14:creationId xmlns:p14="http://schemas.microsoft.com/office/powerpoint/2010/main" val="8495441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reak Slide_1">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2EFADD2-4E45-E16B-3C3A-B93DA9F4507A}"/>
              </a:ext>
            </a:extLst>
          </p:cNvPr>
          <p:cNvGraphicFramePr>
            <a:graphicFrameLocks noChangeAspect="1"/>
          </p:cNvGraphicFramePr>
          <p:nvPr userDrawn="1">
            <p:custDataLst>
              <p:tags r:id="rId1"/>
            </p:custDataLst>
            <p:extLst>
              <p:ext uri="{D42A27DB-BD31-4B8C-83A1-F6EECF244321}">
                <p14:modId xmlns:p14="http://schemas.microsoft.com/office/powerpoint/2010/main" val="3194514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12EFADD2-4E45-E16B-3C3A-B93DA9F45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Google Shape;680;p35">
            <a:extLst>
              <a:ext uri="{FF2B5EF4-FFF2-40B4-BE49-F238E27FC236}">
                <a16:creationId xmlns:a16="http://schemas.microsoft.com/office/drawing/2014/main" id="{B75BD33F-FBE2-D696-C6CF-68E1B0829DC8}"/>
              </a:ext>
            </a:extLst>
          </p:cNvPr>
          <p:cNvSpPr/>
          <p:nvPr userDrawn="1"/>
        </p:nvSpPr>
        <p:spPr>
          <a:xfrm>
            <a:off x="8597899" y="0"/>
            <a:ext cx="3594102"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7" name="Google Shape;685;p35">
            <a:extLst>
              <a:ext uri="{FF2B5EF4-FFF2-40B4-BE49-F238E27FC236}">
                <a16:creationId xmlns:a16="http://schemas.microsoft.com/office/drawing/2014/main" id="{BB856770-99F2-A701-3172-68DE2C2A0BE3}"/>
              </a:ext>
            </a:extLst>
          </p:cNvPr>
          <p:cNvCxnSpPr/>
          <p:nvPr userDrawn="1"/>
        </p:nvCxnSpPr>
        <p:spPr>
          <a:xfrm>
            <a:off x="4129788" y="5423265"/>
            <a:ext cx="1990200" cy="0"/>
          </a:xfrm>
          <a:prstGeom prst="straightConnector1">
            <a:avLst/>
          </a:prstGeom>
          <a:noFill/>
          <a:ln w="28575" cap="flat" cmpd="sng">
            <a:solidFill>
              <a:schemeClr val="accent4"/>
            </a:solidFill>
            <a:prstDash val="solid"/>
            <a:miter lim="800000"/>
            <a:headEnd type="none" w="sm" len="sm"/>
            <a:tailEnd type="none" w="sm" len="sm"/>
          </a:ln>
        </p:spPr>
      </p:cxnSp>
      <p:sp>
        <p:nvSpPr>
          <p:cNvPr id="11" name="Footer Placeholder 10">
            <a:extLst>
              <a:ext uri="{FF2B5EF4-FFF2-40B4-BE49-F238E27FC236}">
                <a16:creationId xmlns:a16="http://schemas.microsoft.com/office/drawing/2014/main" id="{C96A3D04-353B-425D-2634-BF5C55F0375E}"/>
              </a:ext>
            </a:extLst>
          </p:cNvPr>
          <p:cNvSpPr>
            <a:spLocks noGrp="1"/>
          </p:cNvSpPr>
          <p:nvPr>
            <p:ph type="ftr" sz="quarter" idx="10"/>
          </p:nvPr>
        </p:nvSpPr>
        <p:spPr/>
        <p:txBody>
          <a:bodyPr/>
          <a:lstStyle/>
          <a:p>
            <a:endParaRPr lang="en-US" dirty="0"/>
          </a:p>
        </p:txBody>
      </p:sp>
      <p:sp>
        <p:nvSpPr>
          <p:cNvPr id="13" name="Title 12">
            <a:extLst>
              <a:ext uri="{FF2B5EF4-FFF2-40B4-BE49-F238E27FC236}">
                <a16:creationId xmlns:a16="http://schemas.microsoft.com/office/drawing/2014/main" id="{955E071C-D8AB-0A30-1B8D-117160B4E134}"/>
              </a:ext>
            </a:extLst>
          </p:cNvPr>
          <p:cNvSpPr>
            <a:spLocks noGrp="1"/>
          </p:cNvSpPr>
          <p:nvPr>
            <p:ph type="title" hasCustomPrompt="1"/>
          </p:nvPr>
        </p:nvSpPr>
        <p:spPr>
          <a:xfrm>
            <a:off x="518585" y="1869548"/>
            <a:ext cx="3690938" cy="2124075"/>
          </a:xfrm>
        </p:spPr>
        <p:txBody>
          <a:bodyPr vert="horz">
            <a:noAutofit/>
          </a:bodyPr>
          <a:lstStyle>
            <a:lvl1pPr>
              <a:defRPr sz="6600"/>
            </a:lvl1pPr>
          </a:lstStyle>
          <a:p>
            <a:r>
              <a:rPr lang="en-US" dirty="0"/>
              <a:t>Break </a:t>
            </a:r>
            <a:br>
              <a:rPr lang="en-US" dirty="0"/>
            </a:br>
            <a:r>
              <a:rPr lang="en-US" dirty="0"/>
              <a:t>Slide</a:t>
            </a:r>
          </a:p>
        </p:txBody>
      </p:sp>
      <p:sp>
        <p:nvSpPr>
          <p:cNvPr id="19" name="Text Placeholder 18">
            <a:extLst>
              <a:ext uri="{FF2B5EF4-FFF2-40B4-BE49-F238E27FC236}">
                <a16:creationId xmlns:a16="http://schemas.microsoft.com/office/drawing/2014/main" id="{15A8E845-6271-D85C-8EED-1B469AD0BE23}"/>
              </a:ext>
            </a:extLst>
          </p:cNvPr>
          <p:cNvSpPr>
            <a:spLocks noGrp="1"/>
          </p:cNvSpPr>
          <p:nvPr>
            <p:ph type="body" sz="quarter" idx="12" hasCustomPrompt="1"/>
          </p:nvPr>
        </p:nvSpPr>
        <p:spPr>
          <a:xfrm>
            <a:off x="518585" y="4098600"/>
            <a:ext cx="3690938" cy="339725"/>
          </a:xfrm>
        </p:spPr>
        <p:txBody>
          <a:bodyPr/>
          <a:lstStyle>
            <a:lvl1pPr marL="0" indent="0">
              <a:buNone/>
              <a:defRPr sz="1600"/>
            </a:lvl1pPr>
          </a:lstStyle>
          <a:p>
            <a:pPr lvl="0"/>
            <a:r>
              <a:rPr lang="en-US" dirty="0"/>
              <a:t>Sub Title</a:t>
            </a:r>
          </a:p>
        </p:txBody>
      </p:sp>
      <p:sp>
        <p:nvSpPr>
          <p:cNvPr id="23" name="Picture Placeholder 21">
            <a:extLst>
              <a:ext uri="{FF2B5EF4-FFF2-40B4-BE49-F238E27FC236}">
                <a16:creationId xmlns:a16="http://schemas.microsoft.com/office/drawing/2014/main" id="{C267EB6B-DD37-31C3-E6F6-BD0EDAEB22B7}"/>
              </a:ext>
            </a:extLst>
          </p:cNvPr>
          <p:cNvSpPr>
            <a:spLocks noGrp="1"/>
          </p:cNvSpPr>
          <p:nvPr>
            <p:ph type="pic" sz="quarter" idx="13"/>
          </p:nvPr>
        </p:nvSpPr>
        <p:spPr>
          <a:xfrm>
            <a:off x="6119101" y="836953"/>
            <a:ext cx="5186363" cy="5184775"/>
          </a:xfrm>
          <a:solidFill>
            <a:schemeClr val="tx2"/>
          </a:solidFill>
        </p:spPr>
        <p:txBody>
          <a:bodyPr/>
          <a:lstStyle/>
          <a:p>
            <a:endParaRPr lang="en-US"/>
          </a:p>
        </p:txBody>
      </p:sp>
      <p:sp>
        <p:nvSpPr>
          <p:cNvPr id="3" name="TextBox 2">
            <a:extLst>
              <a:ext uri="{FF2B5EF4-FFF2-40B4-BE49-F238E27FC236}">
                <a16:creationId xmlns:a16="http://schemas.microsoft.com/office/drawing/2014/main" id="{37842035-B205-286A-AAEA-99918FA43C60}"/>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1"/>
                </a:solidFill>
                <a:effectLst/>
                <a:latin typeface="+mn-lt"/>
                <a:ea typeface="Calibri" panose="020F0502020204030204" pitchFamily="34" charset="0"/>
                <a:cs typeface="+mn-cs"/>
              </a:rPr>
              <a:t>Powers the Future</a:t>
            </a:r>
            <a:endParaRPr lang="en-US" sz="1200" b="1" kern="0" dirty="0">
              <a:solidFill>
                <a:schemeClr val="bg1"/>
              </a:solidFill>
              <a:effectLst/>
              <a:latin typeface="+mn-lt"/>
              <a:cs typeface="+mn-cs"/>
            </a:endParaRPr>
          </a:p>
        </p:txBody>
      </p:sp>
    </p:spTree>
    <p:extLst>
      <p:ext uri="{BB962C8B-B14F-4D97-AF65-F5344CB8AC3E}">
        <p14:creationId xmlns:p14="http://schemas.microsoft.com/office/powerpoint/2010/main" val="39142772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reak Slide_2">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2EFADD2-4E45-E16B-3C3A-B93DA9F4507A}"/>
              </a:ext>
            </a:extLst>
          </p:cNvPr>
          <p:cNvGraphicFramePr>
            <a:graphicFrameLocks noChangeAspect="1"/>
          </p:cNvGraphicFramePr>
          <p:nvPr userDrawn="1">
            <p:custDataLst>
              <p:tags r:id="rId1"/>
            </p:custDataLst>
            <p:extLst>
              <p:ext uri="{D42A27DB-BD31-4B8C-83A1-F6EECF244321}">
                <p14:modId xmlns:p14="http://schemas.microsoft.com/office/powerpoint/2010/main" val="200637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12EFADD2-4E45-E16B-3C3A-B93DA9F45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963420B5-7D8E-49F8-4BA0-93E3BE3191A0}"/>
              </a:ext>
            </a:extLst>
          </p:cNvPr>
          <p:cNvSpPr/>
          <p:nvPr userDrawn="1"/>
        </p:nvSpPr>
        <p:spPr>
          <a:xfrm>
            <a:off x="10058400" y="304800"/>
            <a:ext cx="2133600" cy="835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Picture Placeholder 32">
            <a:extLst>
              <a:ext uri="{FF2B5EF4-FFF2-40B4-BE49-F238E27FC236}">
                <a16:creationId xmlns:a16="http://schemas.microsoft.com/office/drawing/2014/main" id="{1F46FB7B-AA01-2FA4-DA69-5DCCE41B2C3D}"/>
              </a:ext>
            </a:extLst>
          </p:cNvPr>
          <p:cNvSpPr>
            <a:spLocks noGrp="1"/>
          </p:cNvSpPr>
          <p:nvPr>
            <p:ph type="pic" sz="quarter" idx="10"/>
          </p:nvPr>
        </p:nvSpPr>
        <p:spPr>
          <a:xfrm>
            <a:off x="-1" y="0"/>
            <a:ext cx="6845300" cy="6858000"/>
          </a:xfrm>
          <a:custGeom>
            <a:avLst/>
            <a:gdLst>
              <a:gd name="connsiteX0" fmla="*/ 0 w 6845300"/>
              <a:gd name="connsiteY0" fmla="*/ 0 h 6858000"/>
              <a:gd name="connsiteX1" fmla="*/ 6845300 w 6845300"/>
              <a:gd name="connsiteY1" fmla="*/ 0 h 6858000"/>
              <a:gd name="connsiteX2" fmla="*/ 6845300 w 6845300"/>
              <a:gd name="connsiteY2" fmla="*/ 1044615 h 6858000"/>
              <a:gd name="connsiteX3" fmla="*/ 5914664 w 6845300"/>
              <a:gd name="connsiteY3" fmla="*/ 1044615 h 6858000"/>
              <a:gd name="connsiteX4" fmla="*/ 5914664 w 6845300"/>
              <a:gd name="connsiteY4" fmla="*/ 5813385 h 6858000"/>
              <a:gd name="connsiteX5" fmla="*/ 6845300 w 6845300"/>
              <a:gd name="connsiteY5" fmla="*/ 5813385 h 6858000"/>
              <a:gd name="connsiteX6" fmla="*/ 6845300 w 6845300"/>
              <a:gd name="connsiteY6" fmla="*/ 6858000 h 6858000"/>
              <a:gd name="connsiteX7" fmla="*/ 0 w 68453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45300" h="6858000">
                <a:moveTo>
                  <a:pt x="0" y="0"/>
                </a:moveTo>
                <a:lnTo>
                  <a:pt x="6845300" y="0"/>
                </a:lnTo>
                <a:lnTo>
                  <a:pt x="6845300" y="1044615"/>
                </a:lnTo>
                <a:lnTo>
                  <a:pt x="5914664" y="1044615"/>
                </a:lnTo>
                <a:lnTo>
                  <a:pt x="5914664" y="5813385"/>
                </a:lnTo>
                <a:lnTo>
                  <a:pt x="6845300" y="5813385"/>
                </a:lnTo>
                <a:lnTo>
                  <a:pt x="6845300" y="6858000"/>
                </a:lnTo>
                <a:lnTo>
                  <a:pt x="0" y="6858000"/>
                </a:lnTo>
                <a:close/>
              </a:path>
            </a:pathLst>
          </a:custGeom>
          <a:solidFill>
            <a:schemeClr val="tx2"/>
          </a:solidFill>
        </p:spPr>
        <p:txBody>
          <a:bodyPr wrap="square">
            <a:noAutofit/>
          </a:bodyPr>
          <a:lstStyle/>
          <a:p>
            <a:endParaRPr lang="en-US" dirty="0"/>
          </a:p>
        </p:txBody>
      </p:sp>
      <p:sp>
        <p:nvSpPr>
          <p:cNvPr id="4" name="Google Shape;670;p34">
            <a:extLst>
              <a:ext uri="{FF2B5EF4-FFF2-40B4-BE49-F238E27FC236}">
                <a16:creationId xmlns:a16="http://schemas.microsoft.com/office/drawing/2014/main" id="{61585EFB-6AD3-80BE-A1A6-C0FD97821337}"/>
              </a:ext>
            </a:extLst>
          </p:cNvPr>
          <p:cNvSpPr/>
          <p:nvPr userDrawn="1"/>
        </p:nvSpPr>
        <p:spPr>
          <a:xfrm>
            <a:off x="6845976" y="0"/>
            <a:ext cx="2069424" cy="6858000"/>
          </a:xfrm>
          <a:prstGeom prst="rect">
            <a:avLst/>
          </a:prstGeom>
          <a:solidFill>
            <a:srgbClr val="D9D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 name="Google Shape;671;p34">
            <a:extLst>
              <a:ext uri="{FF2B5EF4-FFF2-40B4-BE49-F238E27FC236}">
                <a16:creationId xmlns:a16="http://schemas.microsoft.com/office/drawing/2014/main" id="{13FB9CE7-9046-F5CE-74B3-9591E3A91318}"/>
              </a:ext>
            </a:extLst>
          </p:cNvPr>
          <p:cNvSpPr/>
          <p:nvPr userDrawn="1"/>
        </p:nvSpPr>
        <p:spPr>
          <a:xfrm>
            <a:off x="5914663" y="1044615"/>
            <a:ext cx="4768770" cy="476877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9" name="Google Shape;674;p34">
            <a:extLst>
              <a:ext uri="{FF2B5EF4-FFF2-40B4-BE49-F238E27FC236}">
                <a16:creationId xmlns:a16="http://schemas.microsoft.com/office/drawing/2014/main" id="{37032E3E-D23F-1166-9799-C4D465A43708}"/>
              </a:ext>
            </a:extLst>
          </p:cNvPr>
          <p:cNvCxnSpPr/>
          <p:nvPr userDrawn="1"/>
        </p:nvCxnSpPr>
        <p:spPr>
          <a:xfrm>
            <a:off x="6785951" y="4774453"/>
            <a:ext cx="1258645" cy="0"/>
          </a:xfrm>
          <a:prstGeom prst="straightConnector1">
            <a:avLst/>
          </a:prstGeom>
          <a:noFill/>
          <a:ln w="28575" cap="flat" cmpd="sng">
            <a:solidFill>
              <a:schemeClr val="accent4"/>
            </a:solidFill>
            <a:prstDash val="solid"/>
            <a:miter lim="800000"/>
            <a:headEnd type="none" w="sm" len="sm"/>
            <a:tailEnd type="none" w="sm" len="sm"/>
          </a:ln>
        </p:spPr>
      </p:cxnSp>
      <p:sp>
        <p:nvSpPr>
          <p:cNvPr id="18" name="Title 17">
            <a:extLst>
              <a:ext uri="{FF2B5EF4-FFF2-40B4-BE49-F238E27FC236}">
                <a16:creationId xmlns:a16="http://schemas.microsoft.com/office/drawing/2014/main" id="{46C96711-0F2A-0A30-9152-99D00E90D575}"/>
              </a:ext>
            </a:extLst>
          </p:cNvPr>
          <p:cNvSpPr>
            <a:spLocks noGrp="1"/>
          </p:cNvSpPr>
          <p:nvPr>
            <p:ph type="title" hasCustomPrompt="1"/>
          </p:nvPr>
        </p:nvSpPr>
        <p:spPr>
          <a:xfrm>
            <a:off x="6781800" y="2135188"/>
            <a:ext cx="3143250" cy="1939925"/>
          </a:xfrm>
        </p:spPr>
        <p:txBody>
          <a:bodyPr vert="horz">
            <a:noAutofit/>
          </a:bodyPr>
          <a:lstStyle>
            <a:lvl1pPr>
              <a:defRPr sz="6600">
                <a:solidFill>
                  <a:schemeClr val="bg1"/>
                </a:solidFill>
              </a:defRPr>
            </a:lvl1pPr>
          </a:lstStyle>
          <a:p>
            <a:pPr>
              <a:spcBef>
                <a:spcPts val="0"/>
              </a:spcBef>
            </a:pPr>
            <a:r>
              <a:rPr lang="en-IN" dirty="0"/>
              <a:t>Break </a:t>
            </a:r>
            <a:br>
              <a:rPr lang="en-IN" dirty="0"/>
            </a:br>
            <a:r>
              <a:rPr lang="en-IN" dirty="0"/>
              <a:t>Slide</a:t>
            </a:r>
          </a:p>
        </p:txBody>
      </p:sp>
      <p:sp>
        <p:nvSpPr>
          <p:cNvPr id="27" name="Text Placeholder 26">
            <a:extLst>
              <a:ext uri="{FF2B5EF4-FFF2-40B4-BE49-F238E27FC236}">
                <a16:creationId xmlns:a16="http://schemas.microsoft.com/office/drawing/2014/main" id="{FE09F013-5FF2-8D0B-D481-8D31535506C3}"/>
              </a:ext>
            </a:extLst>
          </p:cNvPr>
          <p:cNvSpPr>
            <a:spLocks noGrp="1"/>
          </p:cNvSpPr>
          <p:nvPr>
            <p:ph type="body" sz="quarter" idx="11" hasCustomPrompt="1"/>
          </p:nvPr>
        </p:nvSpPr>
        <p:spPr>
          <a:xfrm>
            <a:off x="6781800" y="4083077"/>
            <a:ext cx="3143250" cy="338138"/>
          </a:xfrm>
        </p:spPr>
        <p:txBody>
          <a:bodyPr/>
          <a:lstStyle>
            <a:lvl1pPr marL="0" indent="0">
              <a:buNone/>
              <a:defRPr sz="1600">
                <a:solidFill>
                  <a:schemeClr val="bg1"/>
                </a:solidFill>
              </a:defRPr>
            </a:lvl1pPr>
          </a:lstStyle>
          <a:p>
            <a:pPr lvl="0"/>
            <a:r>
              <a:rPr lang="en-US" dirty="0"/>
              <a:t>Sub Title</a:t>
            </a:r>
          </a:p>
        </p:txBody>
      </p:sp>
    </p:spTree>
    <p:extLst>
      <p:ext uri="{BB962C8B-B14F-4D97-AF65-F5344CB8AC3E}">
        <p14:creationId xmlns:p14="http://schemas.microsoft.com/office/powerpoint/2010/main" val="11768017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97AF2D05-9577-9FD1-079D-89975CF15BA0}"/>
              </a:ext>
            </a:extLst>
          </p:cNvPr>
          <p:cNvGraphicFramePr>
            <a:graphicFrameLocks noChangeAspect="1"/>
          </p:cNvGraphicFramePr>
          <p:nvPr userDrawn="1">
            <p:custDataLst>
              <p:tags r:id="rId1"/>
            </p:custDataLst>
            <p:extLst>
              <p:ext uri="{D42A27DB-BD31-4B8C-83A1-F6EECF244321}">
                <p14:modId xmlns:p14="http://schemas.microsoft.com/office/powerpoint/2010/main" val="2011816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7" name="think-cell data - do not delete" hidden="1">
                        <a:extLst>
                          <a:ext uri="{FF2B5EF4-FFF2-40B4-BE49-F238E27FC236}">
                            <a16:creationId xmlns:a16="http://schemas.microsoft.com/office/drawing/2014/main" id="{97AF2D05-9577-9FD1-079D-89975CF15B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Google Shape;511;p28">
            <a:extLst>
              <a:ext uri="{FF2B5EF4-FFF2-40B4-BE49-F238E27FC236}">
                <a16:creationId xmlns:a16="http://schemas.microsoft.com/office/drawing/2014/main" id="{DFB6FF19-6E9F-C585-14BA-E88899D7D405}"/>
              </a:ext>
            </a:extLst>
          </p:cNvPr>
          <p:cNvSpPr/>
          <p:nvPr userDrawn="1"/>
        </p:nvSpPr>
        <p:spPr>
          <a:xfrm>
            <a:off x="8160152" y="0"/>
            <a:ext cx="4031848"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 name="Google Shape;512;p28">
            <a:extLst>
              <a:ext uri="{FF2B5EF4-FFF2-40B4-BE49-F238E27FC236}">
                <a16:creationId xmlns:a16="http://schemas.microsoft.com/office/drawing/2014/main" id="{B401211A-3254-1396-FE28-FD82CED858C2}"/>
              </a:ext>
            </a:extLst>
          </p:cNvPr>
          <p:cNvSpPr/>
          <p:nvPr userDrawn="1"/>
        </p:nvSpPr>
        <p:spPr>
          <a:xfrm>
            <a:off x="5664163" y="1009891"/>
            <a:ext cx="5474826" cy="4838218"/>
          </a:xfrm>
          <a:prstGeom prst="rect">
            <a:avLst/>
          </a:prstGeom>
          <a:solidFill>
            <a:schemeClr val="accent3">
              <a:lumMod val="20000"/>
              <a:lumOff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 name="Title 17">
            <a:extLst>
              <a:ext uri="{FF2B5EF4-FFF2-40B4-BE49-F238E27FC236}">
                <a16:creationId xmlns:a16="http://schemas.microsoft.com/office/drawing/2014/main" id="{B8EA42D9-CB2C-0213-25B6-4ECFD5385894}"/>
              </a:ext>
            </a:extLst>
          </p:cNvPr>
          <p:cNvSpPr>
            <a:spLocks noGrp="1"/>
          </p:cNvSpPr>
          <p:nvPr>
            <p:ph type="title" hasCustomPrompt="1"/>
          </p:nvPr>
        </p:nvSpPr>
        <p:spPr>
          <a:xfrm>
            <a:off x="1041400" y="1261040"/>
            <a:ext cx="3924300" cy="708025"/>
          </a:xfrm>
        </p:spPr>
        <p:txBody>
          <a:bodyPr vert="horz">
            <a:noAutofit/>
          </a:bodyPr>
          <a:lstStyle>
            <a:lvl1pPr>
              <a:defRPr sz="3600"/>
            </a:lvl1pPr>
          </a:lstStyle>
          <a:p>
            <a:r>
              <a:rPr lang="en-US" dirty="0"/>
              <a:t>Click to edit title</a:t>
            </a:r>
          </a:p>
        </p:txBody>
      </p:sp>
      <p:sp>
        <p:nvSpPr>
          <p:cNvPr id="26" name="Text Placeholder 25">
            <a:extLst>
              <a:ext uri="{FF2B5EF4-FFF2-40B4-BE49-F238E27FC236}">
                <a16:creationId xmlns:a16="http://schemas.microsoft.com/office/drawing/2014/main" id="{2B2BCF6E-507C-9FB7-4085-4C015304340B}"/>
              </a:ext>
            </a:extLst>
          </p:cNvPr>
          <p:cNvSpPr>
            <a:spLocks noGrp="1"/>
          </p:cNvSpPr>
          <p:nvPr>
            <p:ph type="body" sz="quarter" idx="10"/>
          </p:nvPr>
        </p:nvSpPr>
        <p:spPr>
          <a:xfrm>
            <a:off x="1041837" y="2628163"/>
            <a:ext cx="3924300" cy="923925"/>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hart Placeholder 28">
            <a:extLst>
              <a:ext uri="{FF2B5EF4-FFF2-40B4-BE49-F238E27FC236}">
                <a16:creationId xmlns:a16="http://schemas.microsoft.com/office/drawing/2014/main" id="{DCB76B0C-1C7C-0225-E33B-69B8C2EB2A54}"/>
              </a:ext>
            </a:extLst>
          </p:cNvPr>
          <p:cNvSpPr>
            <a:spLocks noGrp="1"/>
          </p:cNvSpPr>
          <p:nvPr>
            <p:ph type="chart" sz="quarter" idx="11"/>
          </p:nvPr>
        </p:nvSpPr>
        <p:spPr>
          <a:xfrm>
            <a:off x="6092599" y="1385640"/>
            <a:ext cx="4618038" cy="4086225"/>
          </a:xfrm>
        </p:spPr>
        <p:txBody>
          <a:bodyPr/>
          <a:lstStyle/>
          <a:p>
            <a:endParaRPr lang="en-US"/>
          </a:p>
        </p:txBody>
      </p:sp>
      <p:sp>
        <p:nvSpPr>
          <p:cNvPr id="30" name="Text Placeholder 25">
            <a:extLst>
              <a:ext uri="{FF2B5EF4-FFF2-40B4-BE49-F238E27FC236}">
                <a16:creationId xmlns:a16="http://schemas.microsoft.com/office/drawing/2014/main" id="{7F8AFD3A-7F4B-53F3-6C6A-85A0772B6B2A}"/>
              </a:ext>
            </a:extLst>
          </p:cNvPr>
          <p:cNvSpPr>
            <a:spLocks noGrp="1"/>
          </p:cNvSpPr>
          <p:nvPr>
            <p:ph type="body" sz="quarter" idx="12" hasCustomPrompt="1"/>
          </p:nvPr>
        </p:nvSpPr>
        <p:spPr>
          <a:xfrm>
            <a:off x="1041400" y="2006151"/>
            <a:ext cx="3924300" cy="307975"/>
          </a:xfrm>
        </p:spPr>
        <p:txBody>
          <a:bodyPr/>
          <a:lstStyle>
            <a:lvl1pPr marL="0" indent="0">
              <a:buNone/>
              <a:defRPr sz="1400"/>
            </a:lvl1pPr>
          </a:lstStyle>
          <a:p>
            <a:pPr lvl="0"/>
            <a:r>
              <a:rPr lang="en-US" dirty="0"/>
              <a:t>Sub Title</a:t>
            </a:r>
          </a:p>
        </p:txBody>
      </p:sp>
      <p:sp>
        <p:nvSpPr>
          <p:cNvPr id="2" name="TextBox 1">
            <a:extLst>
              <a:ext uri="{FF2B5EF4-FFF2-40B4-BE49-F238E27FC236}">
                <a16:creationId xmlns:a16="http://schemas.microsoft.com/office/drawing/2014/main" id="{5AC97CF4-481E-9C36-D49E-BA09509C61A0}"/>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1"/>
                </a:solidFill>
                <a:effectLst/>
                <a:latin typeface="+mn-lt"/>
                <a:ea typeface="Calibri" panose="020F0502020204030204" pitchFamily="34" charset="0"/>
                <a:cs typeface="+mn-cs"/>
              </a:rPr>
              <a:t>Powers the Future</a:t>
            </a:r>
            <a:endParaRPr lang="en-US" sz="1200" b="1" kern="0" dirty="0">
              <a:solidFill>
                <a:schemeClr val="bg1"/>
              </a:solidFill>
              <a:effectLst/>
              <a:latin typeface="+mn-lt"/>
              <a:cs typeface="+mn-cs"/>
            </a:endParaRPr>
          </a:p>
        </p:txBody>
      </p:sp>
    </p:spTree>
    <p:extLst>
      <p:ext uri="{BB962C8B-B14F-4D97-AF65-F5344CB8AC3E}">
        <p14:creationId xmlns:p14="http://schemas.microsoft.com/office/powerpoint/2010/main" val="22639663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bout page_1">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1065816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145;p2">
            <a:extLst>
              <a:ext uri="{FF2B5EF4-FFF2-40B4-BE49-F238E27FC236}">
                <a16:creationId xmlns:a16="http://schemas.microsoft.com/office/drawing/2014/main" id="{39D0A688-CA04-1113-37B9-F19C00C1D481}"/>
              </a:ext>
            </a:extLst>
          </p:cNvPr>
          <p:cNvSpPr/>
          <p:nvPr userDrawn="1"/>
        </p:nvSpPr>
        <p:spPr>
          <a:xfrm>
            <a:off x="4001850" y="830474"/>
            <a:ext cx="3398838" cy="1009825"/>
          </a:xfrm>
          <a:prstGeom prst="rect">
            <a:avLst/>
          </a:prstGeom>
          <a:solidFill>
            <a:schemeClr val="accent2">
              <a:lumMod val="20000"/>
              <a:lumOff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8" name="Google Shape;148;p2">
            <a:extLst>
              <a:ext uri="{FF2B5EF4-FFF2-40B4-BE49-F238E27FC236}">
                <a16:creationId xmlns:a16="http://schemas.microsoft.com/office/drawing/2014/main" id="{2EC24C5D-14B9-B06C-DDA3-F6D0D976BECE}"/>
              </a:ext>
            </a:extLst>
          </p:cNvPr>
          <p:cNvCxnSpPr/>
          <p:nvPr userDrawn="1"/>
        </p:nvCxnSpPr>
        <p:spPr>
          <a:xfrm>
            <a:off x="7401288" y="5745915"/>
            <a:ext cx="1752600" cy="0"/>
          </a:xfrm>
          <a:prstGeom prst="straightConnector1">
            <a:avLst/>
          </a:prstGeom>
          <a:noFill/>
          <a:ln w="28575" cap="flat" cmpd="sng">
            <a:solidFill>
              <a:schemeClr val="accent4"/>
            </a:solidFill>
            <a:prstDash val="solid"/>
            <a:miter lim="800000"/>
            <a:headEnd type="none" w="sm" len="sm"/>
            <a:tailEnd type="none" w="sm" len="sm"/>
          </a:ln>
        </p:spPr>
      </p:cxnSp>
      <p:pic>
        <p:nvPicPr>
          <p:cNvPr id="9" name="Picture 8" descr="A logo with a black background&#10;&#10;Description automatically generated">
            <a:extLst>
              <a:ext uri="{FF2B5EF4-FFF2-40B4-BE49-F238E27FC236}">
                <a16:creationId xmlns:a16="http://schemas.microsoft.com/office/drawing/2014/main" id="{C2B4977C-2C78-B20B-4840-5FECFA049DA3}"/>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969367" y="1961963"/>
            <a:ext cx="2943365" cy="1244062"/>
          </a:xfrm>
          <a:prstGeom prst="rect">
            <a:avLst/>
          </a:prstGeom>
        </p:spPr>
      </p:pic>
      <p:sp>
        <p:nvSpPr>
          <p:cNvPr id="11" name="Title 10">
            <a:extLst>
              <a:ext uri="{FF2B5EF4-FFF2-40B4-BE49-F238E27FC236}">
                <a16:creationId xmlns:a16="http://schemas.microsoft.com/office/drawing/2014/main" id="{650AE7BB-8389-9B3D-1812-08F025B418CE}"/>
              </a:ext>
            </a:extLst>
          </p:cNvPr>
          <p:cNvSpPr>
            <a:spLocks noGrp="1"/>
          </p:cNvSpPr>
          <p:nvPr>
            <p:ph type="title" hasCustomPrompt="1"/>
          </p:nvPr>
        </p:nvSpPr>
        <p:spPr>
          <a:xfrm>
            <a:off x="8199694" y="3102446"/>
            <a:ext cx="2760663" cy="1016000"/>
          </a:xfrm>
        </p:spPr>
        <p:txBody>
          <a:bodyPr vert="horz">
            <a:noAutofit/>
          </a:bodyPr>
          <a:lstStyle>
            <a:lvl1pPr>
              <a:defRPr sz="6000"/>
            </a:lvl1pPr>
          </a:lstStyle>
          <a:p>
            <a:r>
              <a:rPr lang="en-US" dirty="0"/>
              <a:t>About </a:t>
            </a:r>
          </a:p>
        </p:txBody>
      </p:sp>
      <p:sp>
        <p:nvSpPr>
          <p:cNvPr id="17" name="Text Placeholder 16">
            <a:extLst>
              <a:ext uri="{FF2B5EF4-FFF2-40B4-BE49-F238E27FC236}">
                <a16:creationId xmlns:a16="http://schemas.microsoft.com/office/drawing/2014/main" id="{407077D2-8ED2-A691-9E95-83F079FD8652}"/>
              </a:ext>
            </a:extLst>
          </p:cNvPr>
          <p:cNvSpPr>
            <a:spLocks noGrp="1"/>
          </p:cNvSpPr>
          <p:nvPr>
            <p:ph type="body" sz="quarter" idx="10" hasCustomPrompt="1"/>
          </p:nvPr>
        </p:nvSpPr>
        <p:spPr>
          <a:xfrm>
            <a:off x="8199694" y="4117975"/>
            <a:ext cx="2760663" cy="339725"/>
          </a:xfrm>
        </p:spPr>
        <p:txBody>
          <a:bodyPr/>
          <a:lstStyle>
            <a:lvl1pPr marL="0" indent="0">
              <a:buNone/>
              <a:defRPr sz="1600"/>
            </a:lvl1pPr>
            <a:lvl2pPr>
              <a:defRPr sz="1600"/>
            </a:lvl2pPr>
            <a:lvl3pPr>
              <a:defRPr sz="1600"/>
            </a:lvl3pPr>
            <a:lvl4pPr>
              <a:defRPr sz="1600"/>
            </a:lvl4pPr>
            <a:lvl5pPr>
              <a:defRPr sz="1600"/>
            </a:lvl5pPr>
          </a:lstStyle>
          <a:p>
            <a:pPr lvl="0"/>
            <a:r>
              <a:rPr lang="en-US" dirty="0"/>
              <a:t>Sub Title</a:t>
            </a:r>
          </a:p>
        </p:txBody>
      </p:sp>
      <p:sp>
        <p:nvSpPr>
          <p:cNvPr id="19" name="Footer Placeholder 18">
            <a:extLst>
              <a:ext uri="{FF2B5EF4-FFF2-40B4-BE49-F238E27FC236}">
                <a16:creationId xmlns:a16="http://schemas.microsoft.com/office/drawing/2014/main" id="{037E97C8-D8E0-F7DA-6C5B-5F08D9B9141F}"/>
              </a:ext>
            </a:extLst>
          </p:cNvPr>
          <p:cNvSpPr>
            <a:spLocks noGrp="1"/>
          </p:cNvSpPr>
          <p:nvPr>
            <p:ph type="ftr" sz="quarter" idx="11"/>
          </p:nvPr>
        </p:nvSpPr>
        <p:spPr/>
        <p:txBody>
          <a:bodyPr/>
          <a:lstStyle/>
          <a:p>
            <a:endParaRPr lang="en-US" dirty="0"/>
          </a:p>
        </p:txBody>
      </p:sp>
      <p:sp>
        <p:nvSpPr>
          <p:cNvPr id="23" name="Picture Placeholder 21">
            <a:extLst>
              <a:ext uri="{FF2B5EF4-FFF2-40B4-BE49-F238E27FC236}">
                <a16:creationId xmlns:a16="http://schemas.microsoft.com/office/drawing/2014/main" id="{DC100832-6CFD-9279-219C-B0F27410CA6A}"/>
              </a:ext>
            </a:extLst>
          </p:cNvPr>
          <p:cNvSpPr>
            <a:spLocks noGrp="1"/>
          </p:cNvSpPr>
          <p:nvPr>
            <p:ph type="pic" sz="quarter" idx="13"/>
          </p:nvPr>
        </p:nvSpPr>
        <p:spPr>
          <a:xfrm>
            <a:off x="-270" y="836458"/>
            <a:ext cx="4002088" cy="5224463"/>
          </a:xfrm>
          <a:solidFill>
            <a:schemeClr val="tx2"/>
          </a:solidFill>
        </p:spPr>
        <p:txBody>
          <a:bodyPr/>
          <a:lstStyle/>
          <a:p>
            <a:endParaRPr lang="en-US"/>
          </a:p>
        </p:txBody>
      </p:sp>
      <p:sp>
        <p:nvSpPr>
          <p:cNvPr id="26" name="Picture Placeholder 24">
            <a:extLst>
              <a:ext uri="{FF2B5EF4-FFF2-40B4-BE49-F238E27FC236}">
                <a16:creationId xmlns:a16="http://schemas.microsoft.com/office/drawing/2014/main" id="{17E2BEF4-4B2C-80DB-5AB1-5935473B8020}"/>
              </a:ext>
            </a:extLst>
          </p:cNvPr>
          <p:cNvSpPr>
            <a:spLocks noGrp="1"/>
          </p:cNvSpPr>
          <p:nvPr>
            <p:ph type="pic" sz="quarter" idx="14"/>
          </p:nvPr>
        </p:nvSpPr>
        <p:spPr>
          <a:xfrm>
            <a:off x="4001850" y="1839913"/>
            <a:ext cx="3398838" cy="4471988"/>
          </a:xfrm>
          <a:solidFill>
            <a:schemeClr val="tx2"/>
          </a:solidFill>
        </p:spPr>
        <p:txBody>
          <a:bodyPr/>
          <a:lstStyle/>
          <a:p>
            <a:endParaRPr lang="en-US"/>
          </a:p>
        </p:txBody>
      </p:sp>
    </p:spTree>
    <p:extLst>
      <p:ext uri="{BB962C8B-B14F-4D97-AF65-F5344CB8AC3E}">
        <p14:creationId xmlns:p14="http://schemas.microsoft.com/office/powerpoint/2010/main" val="33844131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bout Page_2">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3892610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153;p3">
            <a:extLst>
              <a:ext uri="{FF2B5EF4-FFF2-40B4-BE49-F238E27FC236}">
                <a16:creationId xmlns:a16="http://schemas.microsoft.com/office/drawing/2014/main" id="{FAC5365E-AB69-BB68-23D2-B2B5F66B7E80}"/>
              </a:ext>
            </a:extLst>
          </p:cNvPr>
          <p:cNvSpPr/>
          <p:nvPr userDrawn="1"/>
        </p:nvSpPr>
        <p:spPr>
          <a:xfrm>
            <a:off x="10026128" y="0"/>
            <a:ext cx="2166000" cy="6858000"/>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 name="Google Shape;158;p3">
            <a:extLst>
              <a:ext uri="{FF2B5EF4-FFF2-40B4-BE49-F238E27FC236}">
                <a16:creationId xmlns:a16="http://schemas.microsoft.com/office/drawing/2014/main" id="{1778B028-85F1-9ED2-CC96-E37C4743C4BA}"/>
              </a:ext>
            </a:extLst>
          </p:cNvPr>
          <p:cNvSpPr/>
          <p:nvPr userDrawn="1"/>
        </p:nvSpPr>
        <p:spPr>
          <a:xfrm>
            <a:off x="6605195" y="1097280"/>
            <a:ext cx="5340061" cy="5760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4" name="Google Shape;159;p3">
            <a:extLst>
              <a:ext uri="{FF2B5EF4-FFF2-40B4-BE49-F238E27FC236}">
                <a16:creationId xmlns:a16="http://schemas.microsoft.com/office/drawing/2014/main" id="{537F7F6E-8C4E-6740-B687-DF6416DFC21E}"/>
              </a:ext>
            </a:extLst>
          </p:cNvPr>
          <p:cNvCxnSpPr/>
          <p:nvPr userDrawn="1"/>
        </p:nvCxnSpPr>
        <p:spPr>
          <a:xfrm>
            <a:off x="6225091" y="5389581"/>
            <a:ext cx="0" cy="1468419"/>
          </a:xfrm>
          <a:prstGeom prst="straightConnector1">
            <a:avLst/>
          </a:prstGeom>
          <a:noFill/>
          <a:ln w="28575" cap="flat" cmpd="sng">
            <a:solidFill>
              <a:schemeClr val="accent4"/>
            </a:solidFill>
            <a:prstDash val="solid"/>
            <a:miter lim="800000"/>
            <a:headEnd type="none" w="sm" len="sm"/>
            <a:tailEnd type="none" w="sm" len="sm"/>
          </a:ln>
        </p:spPr>
      </p:cxnSp>
      <p:sp>
        <p:nvSpPr>
          <p:cNvPr id="21" name="Picture Placeholder 17">
            <a:extLst>
              <a:ext uri="{FF2B5EF4-FFF2-40B4-BE49-F238E27FC236}">
                <a16:creationId xmlns:a16="http://schemas.microsoft.com/office/drawing/2014/main" id="{595D44BE-C2A5-C844-E3AC-B1D7AA43C827}"/>
              </a:ext>
            </a:extLst>
          </p:cNvPr>
          <p:cNvSpPr>
            <a:spLocks noGrp="1"/>
          </p:cNvSpPr>
          <p:nvPr>
            <p:ph type="pic" sz="quarter" idx="10"/>
          </p:nvPr>
        </p:nvSpPr>
        <p:spPr>
          <a:xfrm>
            <a:off x="5842927" y="1096367"/>
            <a:ext cx="4183063" cy="3783013"/>
          </a:xfrm>
          <a:solidFill>
            <a:schemeClr val="tx2"/>
          </a:solidFill>
        </p:spPr>
        <p:txBody>
          <a:bodyPr/>
          <a:lstStyle/>
          <a:p>
            <a:endParaRPr lang="en-US"/>
          </a:p>
        </p:txBody>
      </p:sp>
      <p:sp>
        <p:nvSpPr>
          <p:cNvPr id="22" name="Title 21">
            <a:extLst>
              <a:ext uri="{FF2B5EF4-FFF2-40B4-BE49-F238E27FC236}">
                <a16:creationId xmlns:a16="http://schemas.microsoft.com/office/drawing/2014/main" id="{395A973D-E9C6-F89E-BDC6-678A408AECD8}"/>
              </a:ext>
            </a:extLst>
          </p:cNvPr>
          <p:cNvSpPr>
            <a:spLocks noGrp="1"/>
          </p:cNvSpPr>
          <p:nvPr>
            <p:ph type="title"/>
          </p:nvPr>
        </p:nvSpPr>
        <p:spPr>
          <a:xfrm>
            <a:off x="911487" y="1268501"/>
            <a:ext cx="4102963" cy="1200150"/>
          </a:xfrm>
        </p:spPr>
        <p:txBody>
          <a:bodyPr vert="horz">
            <a:normAutofit/>
          </a:bodyPr>
          <a:lstStyle>
            <a:lvl1pPr>
              <a:defRPr sz="3600"/>
            </a:lvl1pPr>
          </a:lstStyle>
          <a:p>
            <a:r>
              <a:rPr lang="en-US" dirty="0"/>
              <a:t>Click to edit Master title style</a:t>
            </a:r>
          </a:p>
        </p:txBody>
      </p:sp>
      <p:sp>
        <p:nvSpPr>
          <p:cNvPr id="30" name="Text Placeholder 29">
            <a:extLst>
              <a:ext uri="{FF2B5EF4-FFF2-40B4-BE49-F238E27FC236}">
                <a16:creationId xmlns:a16="http://schemas.microsoft.com/office/drawing/2014/main" id="{B0278314-B343-CFF7-E6F3-57FD7A1172E2}"/>
              </a:ext>
            </a:extLst>
          </p:cNvPr>
          <p:cNvSpPr>
            <a:spLocks noGrp="1"/>
          </p:cNvSpPr>
          <p:nvPr>
            <p:ph type="body" sz="quarter" idx="11" hasCustomPrompt="1"/>
          </p:nvPr>
        </p:nvSpPr>
        <p:spPr>
          <a:xfrm>
            <a:off x="911487" y="2664302"/>
            <a:ext cx="4102963" cy="368300"/>
          </a:xfrm>
        </p:spPr>
        <p:txBody>
          <a:bodyPr/>
          <a:lstStyle>
            <a:lvl1pPr marL="0" indent="0">
              <a:buNone/>
              <a:defRPr sz="1800"/>
            </a:lvl1pPr>
            <a:lvl2pPr>
              <a:defRPr sz="1800"/>
            </a:lvl2pPr>
            <a:lvl3pPr>
              <a:defRPr sz="1800"/>
            </a:lvl3pPr>
            <a:lvl4pPr>
              <a:defRPr sz="1800"/>
            </a:lvl4pPr>
            <a:lvl5pPr>
              <a:defRPr sz="1800"/>
            </a:lvl5pPr>
          </a:lstStyle>
          <a:p>
            <a:pPr lvl="0"/>
            <a:r>
              <a:rPr lang="en-US" dirty="0"/>
              <a:t>Sub Title</a:t>
            </a:r>
          </a:p>
        </p:txBody>
      </p:sp>
      <p:sp>
        <p:nvSpPr>
          <p:cNvPr id="34" name="Text Placeholder 33">
            <a:extLst>
              <a:ext uri="{FF2B5EF4-FFF2-40B4-BE49-F238E27FC236}">
                <a16:creationId xmlns:a16="http://schemas.microsoft.com/office/drawing/2014/main" id="{68A56FDE-078F-60FB-57DD-9EE968887FDD}"/>
              </a:ext>
            </a:extLst>
          </p:cNvPr>
          <p:cNvSpPr>
            <a:spLocks noGrp="1"/>
          </p:cNvSpPr>
          <p:nvPr>
            <p:ph type="body" sz="quarter" idx="12"/>
          </p:nvPr>
        </p:nvSpPr>
        <p:spPr>
          <a:xfrm>
            <a:off x="910762" y="3172780"/>
            <a:ext cx="4103688" cy="120015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Text Placeholder 35">
            <a:extLst>
              <a:ext uri="{FF2B5EF4-FFF2-40B4-BE49-F238E27FC236}">
                <a16:creationId xmlns:a16="http://schemas.microsoft.com/office/drawing/2014/main" id="{D69D556B-C614-2752-0C4E-42B8300A2C41}"/>
              </a:ext>
            </a:extLst>
          </p:cNvPr>
          <p:cNvSpPr>
            <a:spLocks noGrp="1"/>
          </p:cNvSpPr>
          <p:nvPr>
            <p:ph type="body" sz="quarter" idx="13" hasCustomPrompt="1"/>
          </p:nvPr>
        </p:nvSpPr>
        <p:spPr>
          <a:xfrm>
            <a:off x="911607" y="5080050"/>
            <a:ext cx="2462213" cy="509588"/>
          </a:xfrm>
          <a:solidFill>
            <a:schemeClr val="accent1"/>
          </a:solidFill>
        </p:spPr>
        <p:txBody>
          <a:bodyPr lIns="91440" anchor="ctr"/>
          <a:lstStyle>
            <a:lvl1pPr marL="0" indent="0" algn="ctr">
              <a:lnSpc>
                <a:spcPct val="100000"/>
              </a:lnSpc>
              <a:spcBef>
                <a:spcPts val="0"/>
              </a:spcBef>
              <a:buNone/>
              <a:defRPr sz="18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dirty="0"/>
              <a:t>Text</a:t>
            </a:r>
          </a:p>
        </p:txBody>
      </p:sp>
      <p:sp>
        <p:nvSpPr>
          <p:cNvPr id="41" name="Footer Placeholder 40">
            <a:extLst>
              <a:ext uri="{FF2B5EF4-FFF2-40B4-BE49-F238E27FC236}">
                <a16:creationId xmlns:a16="http://schemas.microsoft.com/office/drawing/2014/main" id="{C860780A-3176-7ABB-DF06-3F5BF0C9515E}"/>
              </a:ext>
            </a:extLst>
          </p:cNvPr>
          <p:cNvSpPr>
            <a:spLocks noGrp="1"/>
          </p:cNvSpPr>
          <p:nvPr>
            <p:ph type="ftr" sz="quarter" idx="14"/>
          </p:nvPr>
        </p:nvSpPr>
        <p:spPr>
          <a:xfrm>
            <a:off x="419099" y="6398540"/>
            <a:ext cx="5423825" cy="153888"/>
          </a:xfrm>
        </p:spPr>
        <p:txBody>
          <a:bodyPr/>
          <a:lstStyle/>
          <a:p>
            <a:endParaRPr lang="en-US" dirty="0"/>
          </a:p>
        </p:txBody>
      </p:sp>
      <p:sp>
        <p:nvSpPr>
          <p:cNvPr id="4" name="TextBox 3">
            <a:extLst>
              <a:ext uri="{FF2B5EF4-FFF2-40B4-BE49-F238E27FC236}">
                <a16:creationId xmlns:a16="http://schemas.microsoft.com/office/drawing/2014/main" id="{F34ED519-38E5-A796-17BD-FE5DDB9C2815}"/>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1"/>
                </a:solidFill>
                <a:effectLst/>
                <a:latin typeface="+mn-lt"/>
                <a:ea typeface="Calibri" panose="020F0502020204030204" pitchFamily="34" charset="0"/>
                <a:cs typeface="+mn-cs"/>
              </a:rPr>
              <a:t>Powers the Future</a:t>
            </a:r>
            <a:endParaRPr lang="en-US" sz="1200" b="1" kern="0" dirty="0">
              <a:solidFill>
                <a:schemeClr val="bg1"/>
              </a:solidFill>
              <a:effectLst/>
              <a:latin typeface="+mn-lt"/>
              <a:cs typeface="+mn-cs"/>
            </a:endParaRPr>
          </a:p>
        </p:txBody>
      </p:sp>
    </p:spTree>
    <p:extLst>
      <p:ext uri="{BB962C8B-B14F-4D97-AF65-F5344CB8AC3E}">
        <p14:creationId xmlns:p14="http://schemas.microsoft.com/office/powerpoint/2010/main" val="34834167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ample Layout_1">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150809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Picture Placeholder 19">
            <a:extLst>
              <a:ext uri="{FF2B5EF4-FFF2-40B4-BE49-F238E27FC236}">
                <a16:creationId xmlns:a16="http://schemas.microsoft.com/office/drawing/2014/main" id="{6C908E6F-4636-0911-81D0-9862E9757425}"/>
              </a:ext>
            </a:extLst>
          </p:cNvPr>
          <p:cNvSpPr>
            <a:spLocks noGrp="1"/>
          </p:cNvSpPr>
          <p:nvPr>
            <p:ph type="pic" sz="quarter" idx="10"/>
          </p:nvPr>
        </p:nvSpPr>
        <p:spPr>
          <a:xfrm>
            <a:off x="0" y="1"/>
            <a:ext cx="12192000"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10653396 w 12192000"/>
              <a:gd name="connsiteY3" fmla="*/ 3429000 h 3429000"/>
              <a:gd name="connsiteX4" fmla="*/ 10653396 w 12192000"/>
              <a:gd name="connsiteY4" fmla="*/ 2053770 h 3429000"/>
              <a:gd name="connsiteX5" fmla="*/ 1538604 w 12192000"/>
              <a:gd name="connsiteY5" fmla="*/ 2053770 h 3429000"/>
              <a:gd name="connsiteX6" fmla="*/ 1538604 w 12192000"/>
              <a:gd name="connsiteY6" fmla="*/ 3429000 h 3429000"/>
              <a:gd name="connsiteX7" fmla="*/ 0 w 12192000"/>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9000">
                <a:moveTo>
                  <a:pt x="0" y="0"/>
                </a:moveTo>
                <a:lnTo>
                  <a:pt x="12192000" y="0"/>
                </a:lnTo>
                <a:lnTo>
                  <a:pt x="12192000" y="3429000"/>
                </a:lnTo>
                <a:lnTo>
                  <a:pt x="10653396" y="3429000"/>
                </a:lnTo>
                <a:lnTo>
                  <a:pt x="10653396" y="2053770"/>
                </a:lnTo>
                <a:lnTo>
                  <a:pt x="1538604" y="2053770"/>
                </a:lnTo>
                <a:lnTo>
                  <a:pt x="1538604" y="3429000"/>
                </a:lnTo>
                <a:lnTo>
                  <a:pt x="0" y="3429000"/>
                </a:lnTo>
                <a:close/>
              </a:path>
            </a:pathLst>
          </a:custGeom>
          <a:solidFill>
            <a:schemeClr val="tx2"/>
          </a:solidFill>
        </p:spPr>
        <p:txBody>
          <a:bodyPr wrap="square">
            <a:noAutofit/>
          </a:bodyPr>
          <a:lstStyle/>
          <a:p>
            <a:endParaRPr lang="en-US"/>
          </a:p>
        </p:txBody>
      </p:sp>
      <p:sp>
        <p:nvSpPr>
          <p:cNvPr id="4" name="Google Shape;205;p7">
            <a:extLst>
              <a:ext uri="{FF2B5EF4-FFF2-40B4-BE49-F238E27FC236}">
                <a16:creationId xmlns:a16="http://schemas.microsoft.com/office/drawing/2014/main" id="{3C968FC7-5C78-97ED-899E-5E7F98737A29}"/>
              </a:ext>
            </a:extLst>
          </p:cNvPr>
          <p:cNvSpPr/>
          <p:nvPr userDrawn="1"/>
        </p:nvSpPr>
        <p:spPr>
          <a:xfrm>
            <a:off x="1538604" y="2053771"/>
            <a:ext cx="9114792" cy="3836227"/>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 name="Footer Placeholder 12">
            <a:extLst>
              <a:ext uri="{FF2B5EF4-FFF2-40B4-BE49-F238E27FC236}">
                <a16:creationId xmlns:a16="http://schemas.microsoft.com/office/drawing/2014/main" id="{66EAF1F3-BA80-29C2-6BA4-2DB976E38DD8}"/>
              </a:ext>
            </a:extLst>
          </p:cNvPr>
          <p:cNvSpPr>
            <a:spLocks noGrp="1"/>
          </p:cNvSpPr>
          <p:nvPr>
            <p:ph type="ftr" sz="quarter" idx="11"/>
          </p:nvPr>
        </p:nvSpPr>
        <p:spPr/>
        <p:txBody>
          <a:bodyPr/>
          <a:lstStyle/>
          <a:p>
            <a:endParaRPr lang="en-US" dirty="0"/>
          </a:p>
        </p:txBody>
      </p:sp>
      <p:pic>
        <p:nvPicPr>
          <p:cNvPr id="16" name="Picture 15" descr="A logo with white text&#10;&#10;Description automatically generated">
            <a:extLst>
              <a:ext uri="{FF2B5EF4-FFF2-40B4-BE49-F238E27FC236}">
                <a16:creationId xmlns:a16="http://schemas.microsoft.com/office/drawing/2014/main" id="{C9BC8A39-04D5-7E2B-8C51-0F04AB13978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369550" y="423452"/>
            <a:ext cx="1367631" cy="416840"/>
          </a:xfrm>
          <a:prstGeom prst="rect">
            <a:avLst/>
          </a:prstGeom>
        </p:spPr>
      </p:pic>
      <p:sp>
        <p:nvSpPr>
          <p:cNvPr id="18" name="Text Placeholder 17">
            <a:extLst>
              <a:ext uri="{FF2B5EF4-FFF2-40B4-BE49-F238E27FC236}">
                <a16:creationId xmlns:a16="http://schemas.microsoft.com/office/drawing/2014/main" id="{0DAE4DB7-F16F-6A0B-1994-DB7B35E7BB4D}"/>
              </a:ext>
            </a:extLst>
          </p:cNvPr>
          <p:cNvSpPr>
            <a:spLocks noGrp="1"/>
          </p:cNvSpPr>
          <p:nvPr>
            <p:ph type="body" sz="quarter" idx="13"/>
          </p:nvPr>
        </p:nvSpPr>
        <p:spPr>
          <a:xfrm>
            <a:off x="2085099" y="2680076"/>
            <a:ext cx="8023225" cy="2584450"/>
          </a:xfrm>
        </p:spPr>
        <p:txBody>
          <a:bodyPr/>
          <a:lstStyle>
            <a:lvl1pPr>
              <a:lnSpc>
                <a:spcPct val="150000"/>
              </a:lnSpc>
              <a:defRPr sz="1800">
                <a:solidFill>
                  <a:schemeClr val="bg1"/>
                </a:solidFill>
              </a:defRPr>
            </a:lvl1pPr>
            <a:lvl2pPr>
              <a:lnSpc>
                <a:spcPct val="150000"/>
              </a:lnSpc>
              <a:defRPr sz="1800">
                <a:solidFill>
                  <a:schemeClr val="bg1"/>
                </a:solidFill>
              </a:defRPr>
            </a:lvl2pPr>
            <a:lvl3pPr>
              <a:lnSpc>
                <a:spcPct val="150000"/>
              </a:lnSpc>
              <a:defRPr sz="1800">
                <a:solidFill>
                  <a:schemeClr val="bg1"/>
                </a:solidFill>
              </a:defRPr>
            </a:lvl3pPr>
            <a:lvl4pPr>
              <a:lnSpc>
                <a:spcPct val="150000"/>
              </a:lnSpc>
              <a:defRPr sz="1800">
                <a:solidFill>
                  <a:schemeClr val="bg1"/>
                </a:solidFill>
              </a:defRPr>
            </a:lvl4pPr>
            <a:lvl5pPr>
              <a:lnSpc>
                <a:spcPct val="150000"/>
              </a:lnSpc>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21007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ample Layout_2">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299513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0EFA4354-41DA-1597-0206-839792F64998}"/>
              </a:ext>
            </a:extLst>
          </p:cNvPr>
          <p:cNvSpPr>
            <a:spLocks noGrp="1"/>
          </p:cNvSpPr>
          <p:nvPr userDrawn="1">
            <p:ph type="pic" sz="quarter" idx="10"/>
          </p:nvPr>
        </p:nvSpPr>
        <p:spPr>
          <a:xfrm>
            <a:off x="612" y="1131532"/>
            <a:ext cx="5754688" cy="4594225"/>
          </a:xfrm>
          <a:custGeom>
            <a:avLst/>
            <a:gdLst>
              <a:gd name="connsiteX0" fmla="*/ 4165287 w 5754688"/>
              <a:gd name="connsiteY0" fmla="*/ 709 h 4594225"/>
              <a:gd name="connsiteX1" fmla="*/ 4165287 w 5754688"/>
              <a:gd name="connsiteY1" fmla="*/ 1590109 h 4594225"/>
              <a:gd name="connsiteX2" fmla="*/ 5754687 w 5754688"/>
              <a:gd name="connsiteY2" fmla="*/ 1590109 h 4594225"/>
              <a:gd name="connsiteX3" fmla="*/ 5754687 w 5754688"/>
              <a:gd name="connsiteY3" fmla="*/ 709 h 4594225"/>
              <a:gd name="connsiteX4" fmla="*/ 0 w 5754688"/>
              <a:gd name="connsiteY4" fmla="*/ 0 h 4594225"/>
              <a:gd name="connsiteX5" fmla="*/ 5754688 w 5754688"/>
              <a:gd name="connsiteY5" fmla="*/ 0 h 4594225"/>
              <a:gd name="connsiteX6" fmla="*/ 5754688 w 5754688"/>
              <a:gd name="connsiteY6" fmla="*/ 1590110 h 4594225"/>
              <a:gd name="connsiteX7" fmla="*/ 4952388 w 5754688"/>
              <a:gd name="connsiteY7" fmla="*/ 1590110 h 4594225"/>
              <a:gd name="connsiteX8" fmla="*/ 4952388 w 5754688"/>
              <a:gd name="connsiteY8" fmla="*/ 2392048 h 4594225"/>
              <a:gd name="connsiteX9" fmla="*/ 5754688 w 5754688"/>
              <a:gd name="connsiteY9" fmla="*/ 2392048 h 4594225"/>
              <a:gd name="connsiteX10" fmla="*/ 5754688 w 5754688"/>
              <a:gd name="connsiteY10" fmla="*/ 4594225 h 4594225"/>
              <a:gd name="connsiteX11" fmla="*/ 0 w 5754688"/>
              <a:gd name="connsiteY11" fmla="*/ 4594225 h 459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54688" h="4594225">
                <a:moveTo>
                  <a:pt x="4165287" y="709"/>
                </a:moveTo>
                <a:lnTo>
                  <a:pt x="4165287" y="1590109"/>
                </a:lnTo>
                <a:lnTo>
                  <a:pt x="5754687" y="1590109"/>
                </a:lnTo>
                <a:lnTo>
                  <a:pt x="5754687" y="709"/>
                </a:lnTo>
                <a:close/>
                <a:moveTo>
                  <a:pt x="0" y="0"/>
                </a:moveTo>
                <a:lnTo>
                  <a:pt x="5754688" y="0"/>
                </a:lnTo>
                <a:lnTo>
                  <a:pt x="5754688" y="1590110"/>
                </a:lnTo>
                <a:lnTo>
                  <a:pt x="4952388" y="1590110"/>
                </a:lnTo>
                <a:lnTo>
                  <a:pt x="4952388" y="2392048"/>
                </a:lnTo>
                <a:lnTo>
                  <a:pt x="5754688" y="2392048"/>
                </a:lnTo>
                <a:lnTo>
                  <a:pt x="5754688" y="4594225"/>
                </a:lnTo>
                <a:lnTo>
                  <a:pt x="0" y="4594225"/>
                </a:lnTo>
                <a:close/>
              </a:path>
            </a:pathLst>
          </a:custGeom>
          <a:solidFill>
            <a:schemeClr val="tx2"/>
          </a:solidFill>
        </p:spPr>
        <p:txBody>
          <a:bodyPr wrap="square">
            <a:noAutofit/>
          </a:bodyPr>
          <a:lstStyle/>
          <a:p>
            <a:endParaRPr lang="en-US"/>
          </a:p>
        </p:txBody>
      </p:sp>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Google Shape;166;p4">
            <a:extLst>
              <a:ext uri="{FF2B5EF4-FFF2-40B4-BE49-F238E27FC236}">
                <a16:creationId xmlns:a16="http://schemas.microsoft.com/office/drawing/2014/main" id="{457E12B5-AB60-10AC-05A5-6B61517FAE59}"/>
              </a:ext>
            </a:extLst>
          </p:cNvPr>
          <p:cNvSpPr/>
          <p:nvPr userDrawn="1"/>
        </p:nvSpPr>
        <p:spPr>
          <a:xfrm>
            <a:off x="5755342" y="3523579"/>
            <a:ext cx="5684626" cy="2202178"/>
          </a:xfrm>
          <a:prstGeom prst="rect">
            <a:avLst/>
          </a:prstGeom>
          <a:solidFill>
            <a:schemeClr val="accent2">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 name="Picture 10" descr="A logo with a black background&#10;&#10;Description automatically generated">
            <a:extLst>
              <a:ext uri="{FF2B5EF4-FFF2-40B4-BE49-F238E27FC236}">
                <a16:creationId xmlns:a16="http://schemas.microsoft.com/office/drawing/2014/main" id="{E2623AC6-603C-F9C8-4821-953B0FED22C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212222" y="276399"/>
            <a:ext cx="1631436" cy="689552"/>
          </a:xfrm>
          <a:prstGeom prst="rect">
            <a:avLst/>
          </a:prstGeom>
        </p:spPr>
      </p:pic>
      <p:sp>
        <p:nvSpPr>
          <p:cNvPr id="20" name="Title 19">
            <a:extLst>
              <a:ext uri="{FF2B5EF4-FFF2-40B4-BE49-F238E27FC236}">
                <a16:creationId xmlns:a16="http://schemas.microsoft.com/office/drawing/2014/main" id="{751CD9D8-A94A-D51A-C527-526678CA2091}"/>
              </a:ext>
            </a:extLst>
          </p:cNvPr>
          <p:cNvSpPr>
            <a:spLocks noGrp="1"/>
          </p:cNvSpPr>
          <p:nvPr>
            <p:ph type="title"/>
          </p:nvPr>
        </p:nvSpPr>
        <p:spPr>
          <a:xfrm>
            <a:off x="6437837" y="1943179"/>
            <a:ext cx="5002213" cy="954088"/>
          </a:xfrm>
        </p:spPr>
        <p:txBody>
          <a:bodyPr vert="horz" anchor="t">
            <a:normAutofit/>
          </a:bodyPr>
          <a:lstStyle>
            <a:lvl1pPr>
              <a:defRPr sz="2800"/>
            </a:lvl1pPr>
          </a:lstStyle>
          <a:p>
            <a:r>
              <a:rPr lang="en-US" dirty="0"/>
              <a:t>Click to edit Master title style</a:t>
            </a:r>
          </a:p>
        </p:txBody>
      </p:sp>
      <p:sp>
        <p:nvSpPr>
          <p:cNvPr id="26" name="Text Placeholder 25">
            <a:extLst>
              <a:ext uri="{FF2B5EF4-FFF2-40B4-BE49-F238E27FC236}">
                <a16:creationId xmlns:a16="http://schemas.microsoft.com/office/drawing/2014/main" id="{CCC60EFA-DFB8-13B5-F9A0-DCC9045377DC}"/>
              </a:ext>
            </a:extLst>
          </p:cNvPr>
          <p:cNvSpPr>
            <a:spLocks noGrp="1"/>
          </p:cNvSpPr>
          <p:nvPr>
            <p:ph type="body" sz="quarter" idx="11" hasCustomPrompt="1"/>
          </p:nvPr>
        </p:nvSpPr>
        <p:spPr>
          <a:xfrm>
            <a:off x="6437313" y="1635175"/>
            <a:ext cx="5002213" cy="307975"/>
          </a:xfrm>
        </p:spPr>
        <p:txBody>
          <a:bodyPr/>
          <a:lstStyle>
            <a:lvl1pPr marL="0" indent="0">
              <a:buNone/>
              <a:defRPr sz="1400"/>
            </a:lvl1pPr>
            <a:lvl2pPr>
              <a:defRPr sz="1400"/>
            </a:lvl2pPr>
            <a:lvl3pPr>
              <a:defRPr sz="1400"/>
            </a:lvl3pPr>
            <a:lvl4pPr>
              <a:defRPr sz="1400"/>
            </a:lvl4pPr>
            <a:lvl5pPr>
              <a:defRPr sz="1400"/>
            </a:lvl5pPr>
          </a:lstStyle>
          <a:p>
            <a:pPr lvl="0"/>
            <a:r>
              <a:rPr lang="en-US" dirty="0"/>
              <a:t>Sub Title</a:t>
            </a:r>
          </a:p>
        </p:txBody>
      </p:sp>
      <p:sp>
        <p:nvSpPr>
          <p:cNvPr id="28" name="Text Placeholder 27">
            <a:extLst>
              <a:ext uri="{FF2B5EF4-FFF2-40B4-BE49-F238E27FC236}">
                <a16:creationId xmlns:a16="http://schemas.microsoft.com/office/drawing/2014/main" id="{99E22D92-8E8B-DD04-95FA-56F2AB30CAAD}"/>
              </a:ext>
            </a:extLst>
          </p:cNvPr>
          <p:cNvSpPr>
            <a:spLocks noGrp="1"/>
          </p:cNvSpPr>
          <p:nvPr>
            <p:ph type="body" sz="quarter" idx="12"/>
          </p:nvPr>
        </p:nvSpPr>
        <p:spPr>
          <a:xfrm>
            <a:off x="6436660" y="3932101"/>
            <a:ext cx="4102100" cy="120015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Footer Placeholder 28">
            <a:extLst>
              <a:ext uri="{FF2B5EF4-FFF2-40B4-BE49-F238E27FC236}">
                <a16:creationId xmlns:a16="http://schemas.microsoft.com/office/drawing/2014/main" id="{F0E955D9-73A9-DDEB-D394-D7A1E52F7370}"/>
              </a:ext>
            </a:extLst>
          </p:cNvPr>
          <p:cNvSpPr>
            <a:spLocks noGrp="1"/>
          </p:cNvSpPr>
          <p:nvPr>
            <p:ph type="ftr" sz="quarter" idx="13"/>
          </p:nvPr>
        </p:nvSpPr>
        <p:spPr/>
        <p:txBody>
          <a:bodyPr/>
          <a:lstStyle/>
          <a:p>
            <a:endParaRPr lang="en-US" dirty="0"/>
          </a:p>
        </p:txBody>
      </p:sp>
      <p:sp>
        <p:nvSpPr>
          <p:cNvPr id="9" name="Google Shape;170;p4">
            <a:extLst>
              <a:ext uri="{FF2B5EF4-FFF2-40B4-BE49-F238E27FC236}">
                <a16:creationId xmlns:a16="http://schemas.microsoft.com/office/drawing/2014/main" id="{D388E7C9-3C21-A3C7-C3BC-A8892E560A3B}"/>
              </a:ext>
            </a:extLst>
          </p:cNvPr>
          <p:cNvSpPr/>
          <p:nvPr userDrawn="1"/>
        </p:nvSpPr>
        <p:spPr>
          <a:xfrm>
            <a:off x="4165899" y="1132241"/>
            <a:ext cx="1589400" cy="15894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 name="Google Shape;171;p4">
            <a:extLst>
              <a:ext uri="{FF2B5EF4-FFF2-40B4-BE49-F238E27FC236}">
                <a16:creationId xmlns:a16="http://schemas.microsoft.com/office/drawing/2014/main" id="{2B7C80A3-E909-680C-CD22-CD16717C1CBE}"/>
              </a:ext>
            </a:extLst>
          </p:cNvPr>
          <p:cNvSpPr/>
          <p:nvPr userDrawn="1"/>
        </p:nvSpPr>
        <p:spPr>
          <a:xfrm>
            <a:off x="4953000" y="2721642"/>
            <a:ext cx="802342" cy="801938"/>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994308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97AF2D05-9577-9FD1-079D-89975CF15BA0}"/>
              </a:ext>
            </a:extLst>
          </p:cNvPr>
          <p:cNvGraphicFramePr>
            <a:graphicFrameLocks noChangeAspect="1"/>
          </p:cNvGraphicFramePr>
          <p:nvPr userDrawn="1">
            <p:custDataLst>
              <p:tags r:id="rId1"/>
            </p:custDataLst>
            <p:extLst>
              <p:ext uri="{D42A27DB-BD31-4B8C-83A1-F6EECF244321}">
                <p14:modId xmlns:p14="http://schemas.microsoft.com/office/powerpoint/2010/main" val="241436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7" name="think-cell data - do not delete" hidden="1">
                        <a:extLst>
                          <a:ext uri="{FF2B5EF4-FFF2-40B4-BE49-F238E27FC236}">
                            <a16:creationId xmlns:a16="http://schemas.microsoft.com/office/drawing/2014/main" id="{97AF2D05-9577-9FD1-079D-89975CF15B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Google Shape;511;p28">
            <a:extLst>
              <a:ext uri="{FF2B5EF4-FFF2-40B4-BE49-F238E27FC236}">
                <a16:creationId xmlns:a16="http://schemas.microsoft.com/office/drawing/2014/main" id="{DFB6FF19-6E9F-C585-14BA-E88899D7D405}"/>
              </a:ext>
            </a:extLst>
          </p:cNvPr>
          <p:cNvSpPr/>
          <p:nvPr userDrawn="1"/>
        </p:nvSpPr>
        <p:spPr>
          <a:xfrm>
            <a:off x="8160152" y="0"/>
            <a:ext cx="4031848"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 name="Google Shape;512;p28">
            <a:extLst>
              <a:ext uri="{FF2B5EF4-FFF2-40B4-BE49-F238E27FC236}">
                <a16:creationId xmlns:a16="http://schemas.microsoft.com/office/drawing/2014/main" id="{B401211A-3254-1396-FE28-FD82CED858C2}"/>
              </a:ext>
            </a:extLst>
          </p:cNvPr>
          <p:cNvSpPr/>
          <p:nvPr userDrawn="1"/>
        </p:nvSpPr>
        <p:spPr>
          <a:xfrm>
            <a:off x="5664163" y="1009891"/>
            <a:ext cx="5474826" cy="4838218"/>
          </a:xfrm>
          <a:prstGeom prst="rect">
            <a:avLst/>
          </a:prstGeom>
          <a:solidFill>
            <a:schemeClr val="accent3">
              <a:lumMod val="20000"/>
              <a:lumOff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 name="Title 17">
            <a:extLst>
              <a:ext uri="{FF2B5EF4-FFF2-40B4-BE49-F238E27FC236}">
                <a16:creationId xmlns:a16="http://schemas.microsoft.com/office/drawing/2014/main" id="{B8EA42D9-CB2C-0213-25B6-4ECFD5385894}"/>
              </a:ext>
            </a:extLst>
          </p:cNvPr>
          <p:cNvSpPr>
            <a:spLocks noGrp="1"/>
          </p:cNvSpPr>
          <p:nvPr>
            <p:ph type="title" hasCustomPrompt="1"/>
          </p:nvPr>
        </p:nvSpPr>
        <p:spPr>
          <a:xfrm>
            <a:off x="1041400" y="1261040"/>
            <a:ext cx="3924300" cy="708025"/>
          </a:xfrm>
        </p:spPr>
        <p:txBody>
          <a:bodyPr vert="horz">
            <a:noAutofit/>
          </a:bodyPr>
          <a:lstStyle>
            <a:lvl1pPr>
              <a:defRPr sz="3600"/>
            </a:lvl1pPr>
          </a:lstStyle>
          <a:p>
            <a:r>
              <a:rPr lang="en-US"/>
              <a:t>Click to edit title</a:t>
            </a:r>
          </a:p>
        </p:txBody>
      </p:sp>
      <p:sp>
        <p:nvSpPr>
          <p:cNvPr id="26" name="Text Placeholder 25">
            <a:extLst>
              <a:ext uri="{FF2B5EF4-FFF2-40B4-BE49-F238E27FC236}">
                <a16:creationId xmlns:a16="http://schemas.microsoft.com/office/drawing/2014/main" id="{2B2BCF6E-507C-9FB7-4085-4C015304340B}"/>
              </a:ext>
            </a:extLst>
          </p:cNvPr>
          <p:cNvSpPr>
            <a:spLocks noGrp="1"/>
          </p:cNvSpPr>
          <p:nvPr>
            <p:ph type="body" sz="quarter" idx="10"/>
          </p:nvPr>
        </p:nvSpPr>
        <p:spPr>
          <a:xfrm>
            <a:off x="1041837" y="2628163"/>
            <a:ext cx="3924300" cy="923925"/>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hart Placeholder 28">
            <a:extLst>
              <a:ext uri="{FF2B5EF4-FFF2-40B4-BE49-F238E27FC236}">
                <a16:creationId xmlns:a16="http://schemas.microsoft.com/office/drawing/2014/main" id="{DCB76B0C-1C7C-0225-E33B-69B8C2EB2A54}"/>
              </a:ext>
            </a:extLst>
          </p:cNvPr>
          <p:cNvSpPr>
            <a:spLocks noGrp="1"/>
          </p:cNvSpPr>
          <p:nvPr>
            <p:ph type="chart" sz="quarter" idx="11"/>
          </p:nvPr>
        </p:nvSpPr>
        <p:spPr>
          <a:xfrm>
            <a:off x="6092599" y="1385640"/>
            <a:ext cx="4618038" cy="4086225"/>
          </a:xfrm>
        </p:spPr>
        <p:txBody>
          <a:bodyPr/>
          <a:lstStyle/>
          <a:p>
            <a:endParaRPr lang="en-US"/>
          </a:p>
        </p:txBody>
      </p:sp>
      <p:sp>
        <p:nvSpPr>
          <p:cNvPr id="30" name="Text Placeholder 25">
            <a:extLst>
              <a:ext uri="{FF2B5EF4-FFF2-40B4-BE49-F238E27FC236}">
                <a16:creationId xmlns:a16="http://schemas.microsoft.com/office/drawing/2014/main" id="{7F8AFD3A-7F4B-53F3-6C6A-85A0772B6B2A}"/>
              </a:ext>
            </a:extLst>
          </p:cNvPr>
          <p:cNvSpPr>
            <a:spLocks noGrp="1"/>
          </p:cNvSpPr>
          <p:nvPr>
            <p:ph type="body" sz="quarter" idx="12" hasCustomPrompt="1"/>
          </p:nvPr>
        </p:nvSpPr>
        <p:spPr>
          <a:xfrm>
            <a:off x="1041400" y="2006151"/>
            <a:ext cx="3924300" cy="307975"/>
          </a:xfrm>
        </p:spPr>
        <p:txBody>
          <a:bodyPr/>
          <a:lstStyle>
            <a:lvl1pPr marL="0" indent="0">
              <a:buNone/>
              <a:defRPr sz="1400"/>
            </a:lvl1pPr>
          </a:lstStyle>
          <a:p>
            <a:pPr lvl="0"/>
            <a:r>
              <a:rPr lang="en-US"/>
              <a:t>Sub Title</a:t>
            </a:r>
          </a:p>
        </p:txBody>
      </p:sp>
    </p:spTree>
    <p:extLst>
      <p:ext uri="{BB962C8B-B14F-4D97-AF65-F5344CB8AC3E}">
        <p14:creationId xmlns:p14="http://schemas.microsoft.com/office/powerpoint/2010/main" val="322558888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ample Layout_3">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976559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0AF5A7B-9D65-2518-2E1E-A33D6DB7C1D5}"/>
              </a:ext>
            </a:extLst>
          </p:cNvPr>
          <p:cNvSpPr/>
          <p:nvPr userDrawn="1"/>
        </p:nvSpPr>
        <p:spPr>
          <a:xfrm>
            <a:off x="9507537" y="330200"/>
            <a:ext cx="2392363" cy="723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Google Shape;177;p5">
            <a:extLst>
              <a:ext uri="{FF2B5EF4-FFF2-40B4-BE49-F238E27FC236}">
                <a16:creationId xmlns:a16="http://schemas.microsoft.com/office/drawing/2014/main" id="{DCCAFB1A-B414-64A7-D5F8-BAAFFC0D33CF}"/>
              </a:ext>
            </a:extLst>
          </p:cNvPr>
          <p:cNvSpPr/>
          <p:nvPr userDrawn="1"/>
        </p:nvSpPr>
        <p:spPr>
          <a:xfrm>
            <a:off x="5369442" y="0"/>
            <a:ext cx="6822558" cy="3429000"/>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 name="Google Shape;184;p5">
            <a:extLst>
              <a:ext uri="{FF2B5EF4-FFF2-40B4-BE49-F238E27FC236}">
                <a16:creationId xmlns:a16="http://schemas.microsoft.com/office/drawing/2014/main" id="{94BF57C2-6973-64CF-CBDC-840AB76DF7B3}"/>
              </a:ext>
            </a:extLst>
          </p:cNvPr>
          <p:cNvPicPr preferRelativeResize="0">
            <a:picLocks/>
          </p:cNvPicPr>
          <p:nvPr userDrawn="1"/>
        </p:nvPicPr>
        <p:blipFill rotWithShape="1">
          <a:blip r:embed="rId5" cstate="screen">
            <a:alphaModFix/>
            <a:extLst>
              <a:ext uri="{28A0092B-C50C-407E-A947-70E740481C1C}">
                <a14:useLocalDpi xmlns:a14="http://schemas.microsoft.com/office/drawing/2010/main"/>
              </a:ext>
            </a:extLst>
          </a:blip>
          <a:srcRect/>
          <a:stretch/>
        </p:blipFill>
        <p:spPr>
          <a:xfrm>
            <a:off x="4208243" y="446568"/>
            <a:ext cx="2371062" cy="5380076"/>
          </a:xfrm>
          <a:prstGeom prst="rect">
            <a:avLst/>
          </a:prstGeom>
          <a:solidFill>
            <a:schemeClr val="lt1"/>
          </a:solidFill>
          <a:ln>
            <a:noFill/>
          </a:ln>
        </p:spPr>
      </p:pic>
      <p:cxnSp>
        <p:nvCxnSpPr>
          <p:cNvPr id="10" name="Google Shape;187;p5">
            <a:extLst>
              <a:ext uri="{FF2B5EF4-FFF2-40B4-BE49-F238E27FC236}">
                <a16:creationId xmlns:a16="http://schemas.microsoft.com/office/drawing/2014/main" id="{8D1BB031-ABF0-9E1D-8848-32EB72783775}"/>
              </a:ext>
            </a:extLst>
          </p:cNvPr>
          <p:cNvCxnSpPr/>
          <p:nvPr userDrawn="1"/>
        </p:nvCxnSpPr>
        <p:spPr>
          <a:xfrm>
            <a:off x="4208250" y="6205259"/>
            <a:ext cx="2527200" cy="0"/>
          </a:xfrm>
          <a:prstGeom prst="straightConnector1">
            <a:avLst/>
          </a:prstGeom>
          <a:noFill/>
          <a:ln w="28575" cap="flat" cmpd="sng">
            <a:solidFill>
              <a:schemeClr val="accent4"/>
            </a:solidFill>
            <a:prstDash val="solid"/>
            <a:miter lim="800000"/>
            <a:headEnd type="none" w="sm" len="sm"/>
            <a:tailEnd type="none" w="sm" len="sm"/>
          </a:ln>
        </p:spPr>
      </p:cxnSp>
      <p:pic>
        <p:nvPicPr>
          <p:cNvPr id="11" name="Picture 10" descr="A logo with a black background&#10;&#10;Description automatically generated">
            <a:extLst>
              <a:ext uri="{FF2B5EF4-FFF2-40B4-BE49-F238E27FC236}">
                <a16:creationId xmlns:a16="http://schemas.microsoft.com/office/drawing/2014/main" id="{CFD9705C-F571-22EF-6C84-210B16D30397}"/>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499348" y="5404871"/>
            <a:ext cx="1928542" cy="815129"/>
          </a:xfrm>
          <a:prstGeom prst="rect">
            <a:avLst/>
          </a:prstGeom>
        </p:spPr>
      </p:pic>
      <p:sp>
        <p:nvSpPr>
          <p:cNvPr id="14" name="Title 13">
            <a:extLst>
              <a:ext uri="{FF2B5EF4-FFF2-40B4-BE49-F238E27FC236}">
                <a16:creationId xmlns:a16="http://schemas.microsoft.com/office/drawing/2014/main" id="{A673A221-64B7-6C07-6B8A-335E94ACCB34}"/>
              </a:ext>
            </a:extLst>
          </p:cNvPr>
          <p:cNvSpPr>
            <a:spLocks noGrp="1"/>
          </p:cNvSpPr>
          <p:nvPr>
            <p:ph type="title"/>
          </p:nvPr>
        </p:nvSpPr>
        <p:spPr>
          <a:xfrm>
            <a:off x="556142" y="1246667"/>
            <a:ext cx="3254375" cy="1816100"/>
          </a:xfrm>
        </p:spPr>
        <p:txBody>
          <a:bodyPr vert="horz" anchor="t">
            <a:normAutofit/>
          </a:bodyPr>
          <a:lstStyle>
            <a:lvl1pPr>
              <a:defRPr sz="2800"/>
            </a:lvl1pPr>
          </a:lstStyle>
          <a:p>
            <a:r>
              <a:rPr lang="en-US" dirty="0"/>
              <a:t>Click to edit Master title style</a:t>
            </a:r>
          </a:p>
        </p:txBody>
      </p:sp>
      <p:sp>
        <p:nvSpPr>
          <p:cNvPr id="20" name="Text Placeholder 19">
            <a:extLst>
              <a:ext uri="{FF2B5EF4-FFF2-40B4-BE49-F238E27FC236}">
                <a16:creationId xmlns:a16="http://schemas.microsoft.com/office/drawing/2014/main" id="{027B5FA3-F499-591E-960C-DEB026DB8D2A}"/>
              </a:ext>
            </a:extLst>
          </p:cNvPr>
          <p:cNvSpPr>
            <a:spLocks noGrp="1"/>
          </p:cNvSpPr>
          <p:nvPr>
            <p:ph type="body" sz="quarter" idx="10"/>
          </p:nvPr>
        </p:nvSpPr>
        <p:spPr>
          <a:xfrm>
            <a:off x="555625" y="3616170"/>
            <a:ext cx="3254375" cy="923925"/>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9">
            <a:extLst>
              <a:ext uri="{FF2B5EF4-FFF2-40B4-BE49-F238E27FC236}">
                <a16:creationId xmlns:a16="http://schemas.microsoft.com/office/drawing/2014/main" id="{AC2F2943-42D6-3AFB-75D9-9E6DF5FDE90F}"/>
              </a:ext>
            </a:extLst>
          </p:cNvPr>
          <p:cNvSpPr>
            <a:spLocks noGrp="1"/>
          </p:cNvSpPr>
          <p:nvPr>
            <p:ph type="body" sz="quarter" idx="11" hasCustomPrompt="1"/>
          </p:nvPr>
        </p:nvSpPr>
        <p:spPr>
          <a:xfrm>
            <a:off x="555625" y="940536"/>
            <a:ext cx="3254375" cy="306388"/>
          </a:xfrm>
        </p:spPr>
        <p:txBody>
          <a:bodyPr/>
          <a:lstStyle>
            <a:lvl1pPr marL="0" indent="0">
              <a:buNone/>
              <a:defRPr/>
            </a:lvl1pPr>
          </a:lstStyle>
          <a:p>
            <a:pPr lvl="0"/>
            <a:r>
              <a:rPr lang="en-US" dirty="0"/>
              <a:t>Sub Tile</a:t>
            </a:r>
          </a:p>
        </p:txBody>
      </p:sp>
      <p:sp>
        <p:nvSpPr>
          <p:cNvPr id="24" name="Picture Placeholder 22">
            <a:extLst>
              <a:ext uri="{FF2B5EF4-FFF2-40B4-BE49-F238E27FC236}">
                <a16:creationId xmlns:a16="http://schemas.microsoft.com/office/drawing/2014/main" id="{966A59D6-7A41-5E90-A100-40CBA9588B6E}"/>
              </a:ext>
            </a:extLst>
          </p:cNvPr>
          <p:cNvSpPr>
            <a:spLocks noGrp="1"/>
          </p:cNvSpPr>
          <p:nvPr>
            <p:ph type="pic" sz="quarter" idx="12"/>
          </p:nvPr>
        </p:nvSpPr>
        <p:spPr>
          <a:xfrm>
            <a:off x="6730383" y="446565"/>
            <a:ext cx="4895850" cy="5773436"/>
          </a:xfrm>
          <a:solidFill>
            <a:schemeClr val="tx2"/>
          </a:solidFill>
        </p:spPr>
        <p:txBody>
          <a:bodyPr/>
          <a:lstStyle/>
          <a:p>
            <a:endParaRPr lang="en-US"/>
          </a:p>
        </p:txBody>
      </p:sp>
      <p:sp>
        <p:nvSpPr>
          <p:cNvPr id="27" name="Picture Placeholder 25">
            <a:extLst>
              <a:ext uri="{FF2B5EF4-FFF2-40B4-BE49-F238E27FC236}">
                <a16:creationId xmlns:a16="http://schemas.microsoft.com/office/drawing/2014/main" id="{C11459DD-1971-4512-5E86-651446F7A2DD}"/>
              </a:ext>
            </a:extLst>
          </p:cNvPr>
          <p:cNvSpPr>
            <a:spLocks noGrp="1"/>
          </p:cNvSpPr>
          <p:nvPr>
            <p:ph type="pic" sz="quarter" idx="13"/>
          </p:nvPr>
        </p:nvSpPr>
        <p:spPr>
          <a:xfrm>
            <a:off x="4186942" y="446606"/>
            <a:ext cx="2392363" cy="5380038"/>
          </a:xfrm>
          <a:solidFill>
            <a:schemeClr val="tx2"/>
          </a:solidFill>
        </p:spPr>
        <p:txBody>
          <a:bodyPr/>
          <a:lstStyle/>
          <a:p>
            <a:endParaRPr lang="en-US"/>
          </a:p>
        </p:txBody>
      </p:sp>
      <p:sp>
        <p:nvSpPr>
          <p:cNvPr id="28" name="Footer Placeholder 27">
            <a:extLst>
              <a:ext uri="{FF2B5EF4-FFF2-40B4-BE49-F238E27FC236}">
                <a16:creationId xmlns:a16="http://schemas.microsoft.com/office/drawing/2014/main" id="{47FA8EA1-6A44-836C-AC0B-C3C10C51E367}"/>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904789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ample Layout_4">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2565007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192;p6">
            <a:extLst>
              <a:ext uri="{FF2B5EF4-FFF2-40B4-BE49-F238E27FC236}">
                <a16:creationId xmlns:a16="http://schemas.microsoft.com/office/drawing/2014/main" id="{89CBF38B-B01E-FC42-30C8-4BF517FCDF4A}"/>
              </a:ext>
            </a:extLst>
          </p:cNvPr>
          <p:cNvSpPr/>
          <p:nvPr userDrawn="1"/>
        </p:nvSpPr>
        <p:spPr>
          <a:xfrm>
            <a:off x="6317117" y="0"/>
            <a:ext cx="1051208" cy="10974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 name="Google Shape;193;p6">
            <a:extLst>
              <a:ext uri="{FF2B5EF4-FFF2-40B4-BE49-F238E27FC236}">
                <a16:creationId xmlns:a16="http://schemas.microsoft.com/office/drawing/2014/main" id="{F26928DD-45A0-B4AD-C176-0E85CFFDB70C}"/>
              </a:ext>
            </a:extLst>
          </p:cNvPr>
          <p:cNvSpPr/>
          <p:nvPr userDrawn="1"/>
        </p:nvSpPr>
        <p:spPr>
          <a:xfrm>
            <a:off x="1443903" y="1097280"/>
            <a:ext cx="4873214" cy="5760720"/>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 name="Picture 8" descr="A logo with a black background&#10;&#10;Description automatically generated">
            <a:extLst>
              <a:ext uri="{FF2B5EF4-FFF2-40B4-BE49-F238E27FC236}">
                <a16:creationId xmlns:a16="http://schemas.microsoft.com/office/drawing/2014/main" id="{CF8D9EA7-F49D-BDD1-31ED-040842F1B8D3}"/>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212222" y="276399"/>
            <a:ext cx="1631436" cy="689552"/>
          </a:xfrm>
          <a:prstGeom prst="rect">
            <a:avLst/>
          </a:prstGeom>
        </p:spPr>
      </p:pic>
      <p:sp>
        <p:nvSpPr>
          <p:cNvPr id="11" name="Title 10">
            <a:extLst>
              <a:ext uri="{FF2B5EF4-FFF2-40B4-BE49-F238E27FC236}">
                <a16:creationId xmlns:a16="http://schemas.microsoft.com/office/drawing/2014/main" id="{97464F2F-ACE7-6D0F-1AB5-58A2679010A5}"/>
              </a:ext>
            </a:extLst>
          </p:cNvPr>
          <p:cNvSpPr>
            <a:spLocks noGrp="1"/>
          </p:cNvSpPr>
          <p:nvPr>
            <p:ph type="title" hasCustomPrompt="1"/>
          </p:nvPr>
        </p:nvSpPr>
        <p:spPr>
          <a:xfrm>
            <a:off x="7310437" y="2642058"/>
            <a:ext cx="4462463" cy="954088"/>
          </a:xfrm>
        </p:spPr>
        <p:txBody>
          <a:bodyPr vert="horz">
            <a:normAutofit/>
          </a:bodyPr>
          <a:lstStyle>
            <a:lvl1pPr>
              <a:defRPr sz="2800"/>
            </a:lvl1pPr>
          </a:lstStyle>
          <a:p>
            <a:r>
              <a:rPr lang="en-US" dirty="0"/>
              <a:t>Click to edit Master </a:t>
            </a:r>
            <a:br>
              <a:rPr lang="en-US" dirty="0"/>
            </a:br>
            <a:r>
              <a:rPr lang="en-US" dirty="0"/>
              <a:t>title style</a:t>
            </a:r>
          </a:p>
        </p:txBody>
      </p:sp>
      <p:sp>
        <p:nvSpPr>
          <p:cNvPr id="17" name="Text Placeholder 16">
            <a:extLst>
              <a:ext uri="{FF2B5EF4-FFF2-40B4-BE49-F238E27FC236}">
                <a16:creationId xmlns:a16="http://schemas.microsoft.com/office/drawing/2014/main" id="{2939D011-F998-39B6-5EF9-4124CCB75B00}"/>
              </a:ext>
            </a:extLst>
          </p:cNvPr>
          <p:cNvSpPr>
            <a:spLocks noGrp="1"/>
          </p:cNvSpPr>
          <p:nvPr>
            <p:ph type="body" sz="quarter" idx="10" hasCustomPrompt="1"/>
          </p:nvPr>
        </p:nvSpPr>
        <p:spPr>
          <a:xfrm>
            <a:off x="7310438" y="2334104"/>
            <a:ext cx="4462463" cy="307975"/>
          </a:xfrm>
        </p:spPr>
        <p:txBody>
          <a:bodyPr/>
          <a:lstStyle>
            <a:lvl1pPr marL="0" indent="0">
              <a:buNone/>
              <a:defRPr sz="1400"/>
            </a:lvl1pPr>
            <a:lvl2pPr>
              <a:defRPr sz="1400"/>
            </a:lvl2pPr>
            <a:lvl3pPr>
              <a:defRPr sz="1400"/>
            </a:lvl3pPr>
            <a:lvl4pPr>
              <a:defRPr sz="1400"/>
            </a:lvl4pPr>
            <a:lvl5pPr>
              <a:defRPr sz="1400"/>
            </a:lvl5pPr>
          </a:lstStyle>
          <a:p>
            <a:pPr lvl="0"/>
            <a:r>
              <a:rPr lang="en-US" dirty="0"/>
              <a:t>Sub Title</a:t>
            </a:r>
          </a:p>
        </p:txBody>
      </p:sp>
      <p:sp>
        <p:nvSpPr>
          <p:cNvPr id="19" name="Text Placeholder 18">
            <a:extLst>
              <a:ext uri="{FF2B5EF4-FFF2-40B4-BE49-F238E27FC236}">
                <a16:creationId xmlns:a16="http://schemas.microsoft.com/office/drawing/2014/main" id="{DEB66AD6-594E-6DA4-D4C9-7C1E594A9003}"/>
              </a:ext>
            </a:extLst>
          </p:cNvPr>
          <p:cNvSpPr>
            <a:spLocks noGrp="1"/>
          </p:cNvSpPr>
          <p:nvPr>
            <p:ph type="body" sz="quarter" idx="11"/>
          </p:nvPr>
        </p:nvSpPr>
        <p:spPr>
          <a:xfrm>
            <a:off x="7310437" y="3977778"/>
            <a:ext cx="4462463" cy="120015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1">
            <a:extLst>
              <a:ext uri="{FF2B5EF4-FFF2-40B4-BE49-F238E27FC236}">
                <a16:creationId xmlns:a16="http://schemas.microsoft.com/office/drawing/2014/main" id="{F473E3B9-AF66-2275-93A2-0832CDCD4C4D}"/>
              </a:ext>
            </a:extLst>
          </p:cNvPr>
          <p:cNvSpPr>
            <a:spLocks noGrp="1"/>
          </p:cNvSpPr>
          <p:nvPr>
            <p:ph type="pic" sz="quarter" idx="12"/>
          </p:nvPr>
        </p:nvSpPr>
        <p:spPr>
          <a:xfrm>
            <a:off x="776280" y="0"/>
            <a:ext cx="4732338" cy="6145213"/>
          </a:xfrm>
          <a:solidFill>
            <a:schemeClr val="tx2"/>
          </a:solidFill>
        </p:spPr>
        <p:txBody>
          <a:bodyPr/>
          <a:lstStyle/>
          <a:p>
            <a:endParaRPr lang="en-US"/>
          </a:p>
        </p:txBody>
      </p:sp>
    </p:spTree>
    <p:extLst>
      <p:ext uri="{BB962C8B-B14F-4D97-AF65-F5344CB8AC3E}">
        <p14:creationId xmlns:p14="http://schemas.microsoft.com/office/powerpoint/2010/main" val="39906014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ample Layout_5">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3958415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214;p8">
            <a:extLst>
              <a:ext uri="{FF2B5EF4-FFF2-40B4-BE49-F238E27FC236}">
                <a16:creationId xmlns:a16="http://schemas.microsoft.com/office/drawing/2014/main" id="{9B4A2655-19B4-07E8-7654-D1B0BB80BC09}"/>
              </a:ext>
            </a:extLst>
          </p:cNvPr>
          <p:cNvSpPr/>
          <p:nvPr userDrawn="1"/>
        </p:nvSpPr>
        <p:spPr>
          <a:xfrm>
            <a:off x="0" y="0"/>
            <a:ext cx="12192000" cy="4189227"/>
          </a:xfrm>
          <a:prstGeom prst="rect">
            <a:avLst/>
          </a:prstGeom>
          <a:solidFill>
            <a:schemeClr val="accent3">
              <a:lumMod val="20000"/>
              <a:lumOff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 name="Picture Placeholder 12">
            <a:extLst>
              <a:ext uri="{FF2B5EF4-FFF2-40B4-BE49-F238E27FC236}">
                <a16:creationId xmlns:a16="http://schemas.microsoft.com/office/drawing/2014/main" id="{152581EB-D4E7-928E-0C09-E4AD7B391CBB}"/>
              </a:ext>
            </a:extLst>
          </p:cNvPr>
          <p:cNvSpPr>
            <a:spLocks noGrp="1"/>
          </p:cNvSpPr>
          <p:nvPr>
            <p:ph type="pic" sz="quarter" idx="10"/>
          </p:nvPr>
        </p:nvSpPr>
        <p:spPr>
          <a:xfrm>
            <a:off x="942976" y="988826"/>
            <a:ext cx="11249025" cy="3200400"/>
          </a:xfrm>
          <a:solidFill>
            <a:schemeClr val="tx2"/>
          </a:solidFill>
        </p:spPr>
        <p:txBody>
          <a:bodyPr/>
          <a:lstStyle/>
          <a:p>
            <a:endParaRPr lang="en-US"/>
          </a:p>
        </p:txBody>
      </p:sp>
      <p:sp>
        <p:nvSpPr>
          <p:cNvPr id="15" name="Title 14">
            <a:extLst>
              <a:ext uri="{FF2B5EF4-FFF2-40B4-BE49-F238E27FC236}">
                <a16:creationId xmlns:a16="http://schemas.microsoft.com/office/drawing/2014/main" id="{43685072-EFF9-38CC-DF15-978AC1B85D94}"/>
              </a:ext>
            </a:extLst>
          </p:cNvPr>
          <p:cNvSpPr>
            <a:spLocks noGrp="1"/>
          </p:cNvSpPr>
          <p:nvPr>
            <p:ph type="title"/>
          </p:nvPr>
        </p:nvSpPr>
        <p:spPr>
          <a:xfrm>
            <a:off x="942975" y="4652963"/>
            <a:ext cx="4505325" cy="1200150"/>
          </a:xfrm>
        </p:spPr>
        <p:txBody>
          <a:bodyPr vert="horz">
            <a:normAutofit/>
          </a:bodyPr>
          <a:lstStyle>
            <a:lvl1pPr>
              <a:defRPr sz="2800"/>
            </a:lvl1pPr>
          </a:lstStyle>
          <a:p>
            <a:r>
              <a:rPr lang="en-US" dirty="0"/>
              <a:t>Click to edit Master title style</a:t>
            </a:r>
          </a:p>
        </p:txBody>
      </p:sp>
      <p:sp>
        <p:nvSpPr>
          <p:cNvPr id="22" name="Text Placeholder 21">
            <a:extLst>
              <a:ext uri="{FF2B5EF4-FFF2-40B4-BE49-F238E27FC236}">
                <a16:creationId xmlns:a16="http://schemas.microsoft.com/office/drawing/2014/main" id="{9C4CEB76-4455-3CF8-E3C6-8E60F637B33C}"/>
              </a:ext>
            </a:extLst>
          </p:cNvPr>
          <p:cNvSpPr>
            <a:spLocks noGrp="1"/>
          </p:cNvSpPr>
          <p:nvPr>
            <p:ph type="body" sz="quarter" idx="11" hasCustomPrompt="1"/>
          </p:nvPr>
        </p:nvSpPr>
        <p:spPr>
          <a:xfrm>
            <a:off x="5699042" y="4652963"/>
            <a:ext cx="2640013" cy="1200150"/>
          </a:xfrm>
        </p:spPr>
        <p:txBody>
          <a:bodyPr/>
          <a:lstStyle>
            <a:lvl1pPr marL="0" indent="0">
              <a:lnSpc>
                <a:spcPct val="150000"/>
              </a:lnSpc>
              <a:buNone/>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23" name="Text Placeholder 21">
            <a:extLst>
              <a:ext uri="{FF2B5EF4-FFF2-40B4-BE49-F238E27FC236}">
                <a16:creationId xmlns:a16="http://schemas.microsoft.com/office/drawing/2014/main" id="{D255BAB9-B681-0A97-E34F-4C0D0754A775}"/>
              </a:ext>
            </a:extLst>
          </p:cNvPr>
          <p:cNvSpPr>
            <a:spLocks noGrp="1"/>
          </p:cNvSpPr>
          <p:nvPr>
            <p:ph type="body" sz="quarter" idx="12" hasCustomPrompt="1"/>
          </p:nvPr>
        </p:nvSpPr>
        <p:spPr>
          <a:xfrm>
            <a:off x="8861342" y="4652963"/>
            <a:ext cx="2640013" cy="1200150"/>
          </a:xfrm>
        </p:spPr>
        <p:txBody>
          <a:bodyPr/>
          <a:lstStyle>
            <a:lvl1pPr marL="0" indent="0">
              <a:lnSpc>
                <a:spcPct val="150000"/>
              </a:lnSpc>
              <a:buNone/>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27" name="Footer Placeholder 26">
            <a:extLst>
              <a:ext uri="{FF2B5EF4-FFF2-40B4-BE49-F238E27FC236}">
                <a16:creationId xmlns:a16="http://schemas.microsoft.com/office/drawing/2014/main" id="{114FEC0F-5076-0FF4-8484-6310F02BAE41}"/>
              </a:ext>
            </a:extLst>
          </p:cNvPr>
          <p:cNvSpPr>
            <a:spLocks noGrp="1"/>
          </p:cNvSpPr>
          <p:nvPr>
            <p:ph type="ftr" sz="quarter" idx="13"/>
          </p:nvPr>
        </p:nvSpPr>
        <p:spPr/>
        <p:txBody>
          <a:bodyPr/>
          <a:lstStyle/>
          <a:p>
            <a:endParaRPr lang="en-US" dirty="0"/>
          </a:p>
        </p:txBody>
      </p:sp>
      <p:pic>
        <p:nvPicPr>
          <p:cNvPr id="30" name="Picture 29" descr="A logo with a black background&#10;&#10;Description automatically generated">
            <a:extLst>
              <a:ext uri="{FF2B5EF4-FFF2-40B4-BE49-F238E27FC236}">
                <a16:creationId xmlns:a16="http://schemas.microsoft.com/office/drawing/2014/main" id="{281EA6A8-9704-915F-34FA-0E34FF4FE2F3}"/>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92451" y="276399"/>
            <a:ext cx="1631436" cy="689552"/>
          </a:xfrm>
          <a:prstGeom prst="rect">
            <a:avLst/>
          </a:prstGeom>
        </p:spPr>
      </p:pic>
    </p:spTree>
    <p:extLst>
      <p:ext uri="{BB962C8B-B14F-4D97-AF65-F5344CB8AC3E}">
        <p14:creationId xmlns:p14="http://schemas.microsoft.com/office/powerpoint/2010/main" val="7909345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ample Layout_6">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3578193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2" name="Picture Placeholder 51">
            <a:extLst>
              <a:ext uri="{FF2B5EF4-FFF2-40B4-BE49-F238E27FC236}">
                <a16:creationId xmlns:a16="http://schemas.microsoft.com/office/drawing/2014/main" id="{FC799741-BAE8-08ED-6DFA-02FF49A495F5}"/>
              </a:ext>
            </a:extLst>
          </p:cNvPr>
          <p:cNvSpPr>
            <a:spLocks noGrp="1"/>
          </p:cNvSpPr>
          <p:nvPr>
            <p:ph type="pic" sz="quarter" idx="10"/>
          </p:nvPr>
        </p:nvSpPr>
        <p:spPr>
          <a:xfrm>
            <a:off x="0" y="0"/>
            <a:ext cx="12192000" cy="6858000"/>
          </a:xfrm>
          <a:custGeom>
            <a:avLst/>
            <a:gdLst>
              <a:gd name="connsiteX0" fmla="*/ 3859618 w 12192000"/>
              <a:gd name="connsiteY0" fmla="*/ 3536162 h 6858000"/>
              <a:gd name="connsiteX1" fmla="*/ 3859618 w 12192000"/>
              <a:gd name="connsiteY1" fmla="*/ 6412269 h 6858000"/>
              <a:gd name="connsiteX2" fmla="*/ 6735725 w 12192000"/>
              <a:gd name="connsiteY2" fmla="*/ 6412269 h 6858000"/>
              <a:gd name="connsiteX3" fmla="*/ 6735725 w 12192000"/>
              <a:gd name="connsiteY3" fmla="*/ 3536162 h 6858000"/>
              <a:gd name="connsiteX4" fmla="*/ 765544 w 12192000"/>
              <a:gd name="connsiteY4" fmla="*/ 3536162 h 6858000"/>
              <a:gd name="connsiteX5" fmla="*/ 765544 w 12192000"/>
              <a:gd name="connsiteY5" fmla="*/ 6412269 h 6858000"/>
              <a:gd name="connsiteX6" fmla="*/ 3641651 w 12192000"/>
              <a:gd name="connsiteY6" fmla="*/ 6412269 h 6858000"/>
              <a:gd name="connsiteX7" fmla="*/ 3641651 w 12192000"/>
              <a:gd name="connsiteY7" fmla="*/ 3536162 h 6858000"/>
              <a:gd name="connsiteX8" fmla="*/ 765544 w 12192000"/>
              <a:gd name="connsiteY8" fmla="*/ 445732 h 6858000"/>
              <a:gd name="connsiteX9" fmla="*/ 765544 w 12192000"/>
              <a:gd name="connsiteY9" fmla="*/ 3321839 h 6858000"/>
              <a:gd name="connsiteX10" fmla="*/ 3641651 w 12192000"/>
              <a:gd name="connsiteY10" fmla="*/ 3321839 h 6858000"/>
              <a:gd name="connsiteX11" fmla="*/ 3641651 w 12192000"/>
              <a:gd name="connsiteY11" fmla="*/ 445732 h 6858000"/>
              <a:gd name="connsiteX12" fmla="*/ 0 w 12192000"/>
              <a:gd name="connsiteY12" fmla="*/ 0 h 6858000"/>
              <a:gd name="connsiteX13" fmla="*/ 12192000 w 12192000"/>
              <a:gd name="connsiteY13" fmla="*/ 0 h 6858000"/>
              <a:gd name="connsiteX14" fmla="*/ 12192000 w 12192000"/>
              <a:gd name="connsiteY14" fmla="*/ 6858000 h 6858000"/>
              <a:gd name="connsiteX15" fmla="*/ 0 w 12192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3859618" y="3536162"/>
                </a:moveTo>
                <a:lnTo>
                  <a:pt x="3859618" y="6412269"/>
                </a:lnTo>
                <a:lnTo>
                  <a:pt x="6735725" y="6412269"/>
                </a:lnTo>
                <a:lnTo>
                  <a:pt x="6735725" y="3536162"/>
                </a:lnTo>
                <a:close/>
                <a:moveTo>
                  <a:pt x="765544" y="3536162"/>
                </a:moveTo>
                <a:lnTo>
                  <a:pt x="765544" y="6412269"/>
                </a:lnTo>
                <a:lnTo>
                  <a:pt x="3641651" y="6412269"/>
                </a:lnTo>
                <a:lnTo>
                  <a:pt x="3641651" y="3536162"/>
                </a:lnTo>
                <a:close/>
                <a:moveTo>
                  <a:pt x="765544" y="445732"/>
                </a:moveTo>
                <a:lnTo>
                  <a:pt x="765544" y="3321839"/>
                </a:lnTo>
                <a:lnTo>
                  <a:pt x="3641651" y="3321839"/>
                </a:lnTo>
                <a:lnTo>
                  <a:pt x="3641651" y="445732"/>
                </a:lnTo>
                <a:close/>
                <a:moveTo>
                  <a:pt x="0" y="0"/>
                </a:moveTo>
                <a:lnTo>
                  <a:pt x="12192000" y="0"/>
                </a:lnTo>
                <a:lnTo>
                  <a:pt x="12192000" y="6858000"/>
                </a:lnTo>
                <a:lnTo>
                  <a:pt x="0" y="6858000"/>
                </a:lnTo>
                <a:close/>
              </a:path>
            </a:pathLst>
          </a:custGeom>
          <a:solidFill>
            <a:schemeClr val="tx2"/>
          </a:solidFill>
        </p:spPr>
        <p:txBody>
          <a:bodyPr wrap="square">
            <a:noAutofit/>
          </a:bodyPr>
          <a:lstStyle/>
          <a:p>
            <a:endParaRPr lang="en-US"/>
          </a:p>
        </p:txBody>
      </p:sp>
      <p:sp>
        <p:nvSpPr>
          <p:cNvPr id="8" name="Google Shape;230;p9">
            <a:extLst>
              <a:ext uri="{FF2B5EF4-FFF2-40B4-BE49-F238E27FC236}">
                <a16:creationId xmlns:a16="http://schemas.microsoft.com/office/drawing/2014/main" id="{2DD6333C-5656-9111-00CE-C05A81E34ED3}"/>
              </a:ext>
            </a:extLst>
          </p:cNvPr>
          <p:cNvSpPr/>
          <p:nvPr userDrawn="1"/>
        </p:nvSpPr>
        <p:spPr>
          <a:xfrm>
            <a:off x="765544" y="445732"/>
            <a:ext cx="2876107" cy="2876107"/>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 name="Google Shape;231;p9">
            <a:extLst>
              <a:ext uri="{FF2B5EF4-FFF2-40B4-BE49-F238E27FC236}">
                <a16:creationId xmlns:a16="http://schemas.microsoft.com/office/drawing/2014/main" id="{BB00E1E6-F723-1042-D088-E76A03AA52BE}"/>
              </a:ext>
            </a:extLst>
          </p:cNvPr>
          <p:cNvSpPr/>
          <p:nvPr userDrawn="1"/>
        </p:nvSpPr>
        <p:spPr>
          <a:xfrm>
            <a:off x="765544" y="3536162"/>
            <a:ext cx="2876107" cy="2876107"/>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ea typeface="Calibri"/>
              <a:cs typeface="Calibri"/>
              <a:sym typeface="Calibri"/>
            </a:endParaRPr>
          </a:p>
        </p:txBody>
      </p:sp>
      <p:sp>
        <p:nvSpPr>
          <p:cNvPr id="10" name="Google Shape;232;p9">
            <a:extLst>
              <a:ext uri="{FF2B5EF4-FFF2-40B4-BE49-F238E27FC236}">
                <a16:creationId xmlns:a16="http://schemas.microsoft.com/office/drawing/2014/main" id="{22D1AC87-DC94-CEC2-F3A8-4BDE91BA2B01}"/>
              </a:ext>
            </a:extLst>
          </p:cNvPr>
          <p:cNvSpPr/>
          <p:nvPr userDrawn="1"/>
        </p:nvSpPr>
        <p:spPr>
          <a:xfrm>
            <a:off x="3859618" y="3536162"/>
            <a:ext cx="2876107" cy="287610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 name="Picture 16" descr="A logo with white text&#10;&#10;Description automatically generated">
            <a:extLst>
              <a:ext uri="{FF2B5EF4-FFF2-40B4-BE49-F238E27FC236}">
                <a16:creationId xmlns:a16="http://schemas.microsoft.com/office/drawing/2014/main" id="{C5951699-4A5D-0DDD-AAD0-5A15330F2893}"/>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369550" y="423452"/>
            <a:ext cx="1367631" cy="416840"/>
          </a:xfrm>
          <a:prstGeom prst="rect">
            <a:avLst/>
          </a:prstGeom>
        </p:spPr>
      </p:pic>
      <p:sp>
        <p:nvSpPr>
          <p:cNvPr id="28" name="Title 23">
            <a:extLst>
              <a:ext uri="{FF2B5EF4-FFF2-40B4-BE49-F238E27FC236}">
                <a16:creationId xmlns:a16="http://schemas.microsoft.com/office/drawing/2014/main" id="{CBBB3651-12CE-239E-B867-BC1710E2B786}"/>
              </a:ext>
            </a:extLst>
          </p:cNvPr>
          <p:cNvSpPr>
            <a:spLocks noGrp="1"/>
          </p:cNvSpPr>
          <p:nvPr userDrawn="1">
            <p:ph type="title" hasCustomPrompt="1"/>
          </p:nvPr>
        </p:nvSpPr>
        <p:spPr>
          <a:xfrm>
            <a:off x="4436494" y="1541257"/>
            <a:ext cx="4491038" cy="1200150"/>
          </a:xfrm>
        </p:spPr>
        <p:txBody>
          <a:bodyPr vert="horz">
            <a:normAutofit/>
          </a:bodyPr>
          <a:lstStyle>
            <a:lvl1pPr>
              <a:defRPr sz="3600">
                <a:solidFill>
                  <a:schemeClr val="bg1"/>
                </a:solidFill>
              </a:defRPr>
            </a:lvl1pPr>
          </a:lstStyle>
          <a:p>
            <a:r>
              <a:rPr lang="da-DK" dirty="0"/>
              <a:t>LOREM IPSUM DOLOR SIT AMET</a:t>
            </a:r>
          </a:p>
        </p:txBody>
      </p:sp>
      <p:sp>
        <p:nvSpPr>
          <p:cNvPr id="29" name="Text Placeholder 29">
            <a:extLst>
              <a:ext uri="{FF2B5EF4-FFF2-40B4-BE49-F238E27FC236}">
                <a16:creationId xmlns:a16="http://schemas.microsoft.com/office/drawing/2014/main" id="{5F3243A0-1330-BB78-1046-4C7D4779F623}"/>
              </a:ext>
            </a:extLst>
          </p:cNvPr>
          <p:cNvSpPr>
            <a:spLocks noGrp="1"/>
          </p:cNvSpPr>
          <p:nvPr userDrawn="1">
            <p:ph type="body" sz="quarter" idx="11" hasCustomPrompt="1"/>
          </p:nvPr>
        </p:nvSpPr>
        <p:spPr>
          <a:xfrm>
            <a:off x="4435928" y="1233144"/>
            <a:ext cx="4491038" cy="307975"/>
          </a:xfrm>
        </p:spPr>
        <p:txBody>
          <a:bodyPr>
            <a:noAutofit/>
          </a:bodyPr>
          <a:lstStyle>
            <a:lvl1pPr marL="0" indent="0">
              <a:buNone/>
              <a:defRPr sz="1600">
                <a:solidFill>
                  <a:schemeClr val="bg1"/>
                </a:solidFill>
              </a:defRPr>
            </a:lvl1pPr>
          </a:lstStyle>
          <a:p>
            <a:pPr lvl="0"/>
            <a:r>
              <a:rPr lang="en-US" dirty="0"/>
              <a:t>Our Features</a:t>
            </a:r>
          </a:p>
        </p:txBody>
      </p:sp>
      <p:sp>
        <p:nvSpPr>
          <p:cNvPr id="30" name="Text Placeholder 36">
            <a:extLst>
              <a:ext uri="{FF2B5EF4-FFF2-40B4-BE49-F238E27FC236}">
                <a16:creationId xmlns:a16="http://schemas.microsoft.com/office/drawing/2014/main" id="{5A7229FF-1657-8F0C-90D0-5BE6BFE5628F}"/>
              </a:ext>
            </a:extLst>
          </p:cNvPr>
          <p:cNvSpPr>
            <a:spLocks noGrp="1"/>
          </p:cNvSpPr>
          <p:nvPr userDrawn="1">
            <p:ph type="body" sz="quarter" idx="15" hasCustomPrompt="1"/>
          </p:nvPr>
        </p:nvSpPr>
        <p:spPr>
          <a:xfrm>
            <a:off x="1224879" y="5063877"/>
            <a:ext cx="1911350" cy="449261"/>
          </a:xfrm>
        </p:spPr>
        <p:txBody>
          <a:bodyPr>
            <a:normAutofit/>
          </a:bodyPr>
          <a:lstStyle>
            <a:lvl1pPr marL="0" indent="0">
              <a:buNone/>
              <a:defRPr sz="1400" b="1">
                <a:solidFill>
                  <a:schemeClr val="bg1"/>
                </a:solidFill>
              </a:defRPr>
            </a:lvl1pPr>
          </a:lstStyle>
          <a:p>
            <a:pPr lvl="0"/>
            <a:r>
              <a:rPr lang="en-US" dirty="0"/>
              <a:t>LOREM IPSUM DOLOR SIT</a:t>
            </a:r>
          </a:p>
        </p:txBody>
      </p:sp>
      <p:sp>
        <p:nvSpPr>
          <p:cNvPr id="32" name="Text Placeholder 40">
            <a:extLst>
              <a:ext uri="{FF2B5EF4-FFF2-40B4-BE49-F238E27FC236}">
                <a16:creationId xmlns:a16="http://schemas.microsoft.com/office/drawing/2014/main" id="{6547EC64-3639-1A28-A173-66CD872F95F7}"/>
              </a:ext>
            </a:extLst>
          </p:cNvPr>
          <p:cNvSpPr>
            <a:spLocks noGrp="1"/>
          </p:cNvSpPr>
          <p:nvPr userDrawn="1">
            <p:ph type="body" sz="quarter" idx="18" hasCustomPrompt="1"/>
          </p:nvPr>
        </p:nvSpPr>
        <p:spPr>
          <a:xfrm>
            <a:off x="1224879" y="5571997"/>
            <a:ext cx="1925638" cy="369888"/>
          </a:xfrm>
        </p:spPr>
        <p:txBody>
          <a:bodyPr>
            <a:noAutofit/>
          </a:bodyPr>
          <a:lstStyle>
            <a:lvl1pPr marL="0" indent="0">
              <a:buNone/>
              <a:defRPr sz="1200">
                <a:solidFill>
                  <a:schemeClr val="bg1"/>
                </a:solidFill>
              </a:defRPr>
            </a:lvl1pPr>
          </a:lstStyle>
          <a:p>
            <a:pPr lvl="0"/>
            <a:r>
              <a:rPr lang="en-US" dirty="0"/>
              <a:t>Lorem ipsum dolor sit</a:t>
            </a:r>
          </a:p>
        </p:txBody>
      </p:sp>
      <p:sp>
        <p:nvSpPr>
          <p:cNvPr id="35" name="Text Placeholder 36">
            <a:extLst>
              <a:ext uri="{FF2B5EF4-FFF2-40B4-BE49-F238E27FC236}">
                <a16:creationId xmlns:a16="http://schemas.microsoft.com/office/drawing/2014/main" id="{75F6AACE-5876-A939-3696-6B1CFCC94D29}"/>
              </a:ext>
            </a:extLst>
          </p:cNvPr>
          <p:cNvSpPr>
            <a:spLocks noGrp="1"/>
          </p:cNvSpPr>
          <p:nvPr userDrawn="1">
            <p:ph type="body" sz="quarter" idx="19" hasCustomPrompt="1"/>
          </p:nvPr>
        </p:nvSpPr>
        <p:spPr>
          <a:xfrm>
            <a:off x="1224879" y="1990818"/>
            <a:ext cx="1911350" cy="449261"/>
          </a:xfrm>
        </p:spPr>
        <p:txBody>
          <a:bodyPr>
            <a:normAutofit/>
          </a:bodyPr>
          <a:lstStyle>
            <a:lvl1pPr marL="0" indent="0">
              <a:buNone/>
              <a:defRPr sz="1400" b="1">
                <a:solidFill>
                  <a:schemeClr val="bg1"/>
                </a:solidFill>
              </a:defRPr>
            </a:lvl1pPr>
          </a:lstStyle>
          <a:p>
            <a:pPr lvl="0"/>
            <a:r>
              <a:rPr lang="en-US" dirty="0"/>
              <a:t>LOREM IPSUM DOLOR SIT</a:t>
            </a:r>
          </a:p>
        </p:txBody>
      </p:sp>
      <p:sp>
        <p:nvSpPr>
          <p:cNvPr id="36" name="Text Placeholder 40">
            <a:extLst>
              <a:ext uri="{FF2B5EF4-FFF2-40B4-BE49-F238E27FC236}">
                <a16:creationId xmlns:a16="http://schemas.microsoft.com/office/drawing/2014/main" id="{895A21DB-A253-C577-09FE-67721EC88D14}"/>
              </a:ext>
            </a:extLst>
          </p:cNvPr>
          <p:cNvSpPr>
            <a:spLocks noGrp="1"/>
          </p:cNvSpPr>
          <p:nvPr userDrawn="1">
            <p:ph type="body" sz="quarter" idx="20" hasCustomPrompt="1"/>
          </p:nvPr>
        </p:nvSpPr>
        <p:spPr>
          <a:xfrm>
            <a:off x="1224879" y="2498938"/>
            <a:ext cx="1925638" cy="369888"/>
          </a:xfrm>
        </p:spPr>
        <p:txBody>
          <a:bodyPr>
            <a:noAutofit/>
          </a:bodyPr>
          <a:lstStyle>
            <a:lvl1pPr marL="0" indent="0">
              <a:buNone/>
              <a:defRPr sz="1200">
                <a:solidFill>
                  <a:schemeClr val="bg1"/>
                </a:solidFill>
              </a:defRPr>
            </a:lvl1pPr>
          </a:lstStyle>
          <a:p>
            <a:pPr lvl="0"/>
            <a:r>
              <a:rPr lang="en-US" dirty="0"/>
              <a:t>Lorem ipsum dolor sit</a:t>
            </a:r>
          </a:p>
        </p:txBody>
      </p:sp>
      <p:sp>
        <p:nvSpPr>
          <p:cNvPr id="39" name="Text Placeholder 36">
            <a:extLst>
              <a:ext uri="{FF2B5EF4-FFF2-40B4-BE49-F238E27FC236}">
                <a16:creationId xmlns:a16="http://schemas.microsoft.com/office/drawing/2014/main" id="{7AD7E6E3-3217-8552-FBA0-2F9B466BEBC5}"/>
              </a:ext>
            </a:extLst>
          </p:cNvPr>
          <p:cNvSpPr>
            <a:spLocks noGrp="1"/>
          </p:cNvSpPr>
          <p:nvPr userDrawn="1">
            <p:ph type="body" sz="quarter" idx="21" hasCustomPrompt="1"/>
          </p:nvPr>
        </p:nvSpPr>
        <p:spPr>
          <a:xfrm>
            <a:off x="4304629" y="5063877"/>
            <a:ext cx="1911350" cy="449261"/>
          </a:xfrm>
        </p:spPr>
        <p:txBody>
          <a:bodyPr>
            <a:normAutofit/>
          </a:bodyPr>
          <a:lstStyle>
            <a:lvl1pPr marL="0" indent="0">
              <a:buNone/>
              <a:defRPr sz="1400" b="1">
                <a:solidFill>
                  <a:schemeClr val="bg1"/>
                </a:solidFill>
              </a:defRPr>
            </a:lvl1pPr>
          </a:lstStyle>
          <a:p>
            <a:pPr lvl="0"/>
            <a:r>
              <a:rPr lang="en-US" dirty="0"/>
              <a:t>LOREM IPSUM DOLOR SIT</a:t>
            </a:r>
          </a:p>
        </p:txBody>
      </p:sp>
      <p:sp>
        <p:nvSpPr>
          <p:cNvPr id="40" name="Text Placeholder 40">
            <a:extLst>
              <a:ext uri="{FF2B5EF4-FFF2-40B4-BE49-F238E27FC236}">
                <a16:creationId xmlns:a16="http://schemas.microsoft.com/office/drawing/2014/main" id="{AC7A943F-666C-0FF9-CCB2-5940CF6314D0}"/>
              </a:ext>
            </a:extLst>
          </p:cNvPr>
          <p:cNvSpPr>
            <a:spLocks noGrp="1"/>
          </p:cNvSpPr>
          <p:nvPr userDrawn="1">
            <p:ph type="body" sz="quarter" idx="22" hasCustomPrompt="1"/>
          </p:nvPr>
        </p:nvSpPr>
        <p:spPr>
          <a:xfrm>
            <a:off x="4304629" y="5571997"/>
            <a:ext cx="1925638" cy="369888"/>
          </a:xfrm>
        </p:spPr>
        <p:txBody>
          <a:bodyPr>
            <a:noAutofit/>
          </a:bodyPr>
          <a:lstStyle>
            <a:lvl1pPr marL="0" indent="0">
              <a:buNone/>
              <a:defRPr sz="1200">
                <a:solidFill>
                  <a:schemeClr val="bg1"/>
                </a:solidFill>
              </a:defRPr>
            </a:lvl1pPr>
          </a:lstStyle>
          <a:p>
            <a:pPr lvl="0"/>
            <a:r>
              <a:rPr lang="en-US" dirty="0"/>
              <a:t>Lorem ipsum dolor sit</a:t>
            </a:r>
          </a:p>
        </p:txBody>
      </p:sp>
      <p:sp>
        <p:nvSpPr>
          <p:cNvPr id="3" name="TextBox 2">
            <a:extLst>
              <a:ext uri="{FF2B5EF4-FFF2-40B4-BE49-F238E27FC236}">
                <a16:creationId xmlns:a16="http://schemas.microsoft.com/office/drawing/2014/main" id="{02CF6F1E-A578-F366-24B7-01AAACDF055B}"/>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1"/>
                </a:solidFill>
                <a:effectLst/>
                <a:latin typeface="+mn-lt"/>
                <a:ea typeface="Calibri" panose="020F0502020204030204" pitchFamily="34" charset="0"/>
                <a:cs typeface="+mn-cs"/>
              </a:rPr>
              <a:t>Powers the Future</a:t>
            </a:r>
            <a:endParaRPr lang="en-US" sz="1200" b="1" kern="0" dirty="0">
              <a:solidFill>
                <a:schemeClr val="bg1"/>
              </a:solidFill>
              <a:effectLst/>
              <a:latin typeface="+mn-lt"/>
              <a:cs typeface="+mn-cs"/>
            </a:endParaRPr>
          </a:p>
        </p:txBody>
      </p:sp>
    </p:spTree>
    <p:extLst>
      <p:ext uri="{BB962C8B-B14F-4D97-AF65-F5344CB8AC3E}">
        <p14:creationId xmlns:p14="http://schemas.microsoft.com/office/powerpoint/2010/main" val="4619410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ample Layout_7">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993203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41">
            <a:extLst>
              <a:ext uri="{FF2B5EF4-FFF2-40B4-BE49-F238E27FC236}">
                <a16:creationId xmlns:a16="http://schemas.microsoft.com/office/drawing/2014/main" id="{3B5E5F30-076A-36AF-E4F2-4A92337EABE1}"/>
              </a:ext>
            </a:extLst>
          </p:cNvPr>
          <p:cNvSpPr>
            <a:spLocks noGrp="1"/>
          </p:cNvSpPr>
          <p:nvPr>
            <p:ph type="pic" sz="quarter" idx="19"/>
          </p:nvPr>
        </p:nvSpPr>
        <p:spPr>
          <a:xfrm>
            <a:off x="4611800" y="2997692"/>
            <a:ext cx="2965450" cy="2360613"/>
          </a:xfrm>
          <a:custGeom>
            <a:avLst/>
            <a:gdLst>
              <a:gd name="connsiteX0" fmla="*/ 581498 w 2965450"/>
              <a:gd name="connsiteY0" fmla="*/ 0 h 2360613"/>
              <a:gd name="connsiteX1" fmla="*/ 2965450 w 2965450"/>
              <a:gd name="connsiteY1" fmla="*/ 0 h 2360613"/>
              <a:gd name="connsiteX2" fmla="*/ 2965450 w 2965450"/>
              <a:gd name="connsiteY2" fmla="*/ 2360613 h 2360613"/>
              <a:gd name="connsiteX3" fmla="*/ 0 w 2965450"/>
              <a:gd name="connsiteY3" fmla="*/ 2360613 h 2360613"/>
              <a:gd name="connsiteX4" fmla="*/ 0 w 2965450"/>
              <a:gd name="connsiteY4" fmla="*/ 581498 h 2360613"/>
              <a:gd name="connsiteX5" fmla="*/ 581498 w 2965450"/>
              <a:gd name="connsiteY5" fmla="*/ 581498 h 236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5450" h="2360613">
                <a:moveTo>
                  <a:pt x="581498" y="0"/>
                </a:moveTo>
                <a:lnTo>
                  <a:pt x="2965450" y="0"/>
                </a:lnTo>
                <a:lnTo>
                  <a:pt x="2965450" y="2360613"/>
                </a:lnTo>
                <a:lnTo>
                  <a:pt x="0" y="2360613"/>
                </a:lnTo>
                <a:lnTo>
                  <a:pt x="0" y="581498"/>
                </a:lnTo>
                <a:lnTo>
                  <a:pt x="581498" y="581498"/>
                </a:lnTo>
                <a:close/>
              </a:path>
            </a:pathLst>
          </a:custGeom>
          <a:solidFill>
            <a:schemeClr val="tx2"/>
          </a:solidFill>
        </p:spPr>
        <p:txBody>
          <a:bodyPr wrap="square">
            <a:noAutofit/>
          </a:bodyPr>
          <a:lstStyle/>
          <a:p>
            <a:endParaRPr lang="en-US"/>
          </a:p>
        </p:txBody>
      </p:sp>
      <p:sp>
        <p:nvSpPr>
          <p:cNvPr id="7" name="Picture Placeholder 41">
            <a:extLst>
              <a:ext uri="{FF2B5EF4-FFF2-40B4-BE49-F238E27FC236}">
                <a16:creationId xmlns:a16="http://schemas.microsoft.com/office/drawing/2014/main" id="{A9C9F523-427E-BB88-33E5-A836BDCF7C9D}"/>
              </a:ext>
            </a:extLst>
          </p:cNvPr>
          <p:cNvSpPr>
            <a:spLocks noGrp="1"/>
          </p:cNvSpPr>
          <p:nvPr>
            <p:ph type="pic" sz="quarter" idx="20"/>
          </p:nvPr>
        </p:nvSpPr>
        <p:spPr>
          <a:xfrm>
            <a:off x="8187917" y="2997692"/>
            <a:ext cx="2965450" cy="2360613"/>
          </a:xfrm>
          <a:custGeom>
            <a:avLst/>
            <a:gdLst>
              <a:gd name="connsiteX0" fmla="*/ 581498 w 2965450"/>
              <a:gd name="connsiteY0" fmla="*/ 0 h 2360613"/>
              <a:gd name="connsiteX1" fmla="*/ 2965450 w 2965450"/>
              <a:gd name="connsiteY1" fmla="*/ 0 h 2360613"/>
              <a:gd name="connsiteX2" fmla="*/ 2965450 w 2965450"/>
              <a:gd name="connsiteY2" fmla="*/ 2360613 h 2360613"/>
              <a:gd name="connsiteX3" fmla="*/ 0 w 2965450"/>
              <a:gd name="connsiteY3" fmla="*/ 2360613 h 2360613"/>
              <a:gd name="connsiteX4" fmla="*/ 0 w 2965450"/>
              <a:gd name="connsiteY4" fmla="*/ 581498 h 2360613"/>
              <a:gd name="connsiteX5" fmla="*/ 581498 w 2965450"/>
              <a:gd name="connsiteY5" fmla="*/ 581498 h 236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5450" h="2360613">
                <a:moveTo>
                  <a:pt x="581498" y="0"/>
                </a:moveTo>
                <a:lnTo>
                  <a:pt x="2965450" y="0"/>
                </a:lnTo>
                <a:lnTo>
                  <a:pt x="2965450" y="2360613"/>
                </a:lnTo>
                <a:lnTo>
                  <a:pt x="0" y="2360613"/>
                </a:lnTo>
                <a:lnTo>
                  <a:pt x="0" y="581498"/>
                </a:lnTo>
                <a:lnTo>
                  <a:pt x="581498" y="581498"/>
                </a:lnTo>
                <a:close/>
              </a:path>
            </a:pathLst>
          </a:custGeom>
          <a:solidFill>
            <a:schemeClr val="tx2"/>
          </a:solidFill>
        </p:spPr>
        <p:txBody>
          <a:bodyPr wrap="square">
            <a:noAutofit/>
          </a:bodyPr>
          <a:lstStyle/>
          <a:p>
            <a:endParaRPr lang="en-US"/>
          </a:p>
        </p:txBody>
      </p:sp>
      <p:sp>
        <p:nvSpPr>
          <p:cNvPr id="42" name="Picture Placeholder 41">
            <a:extLst>
              <a:ext uri="{FF2B5EF4-FFF2-40B4-BE49-F238E27FC236}">
                <a16:creationId xmlns:a16="http://schemas.microsoft.com/office/drawing/2014/main" id="{81D446EC-24E7-68E1-6568-522D76B8138A}"/>
              </a:ext>
            </a:extLst>
          </p:cNvPr>
          <p:cNvSpPr>
            <a:spLocks noGrp="1"/>
          </p:cNvSpPr>
          <p:nvPr>
            <p:ph type="pic" sz="quarter" idx="10"/>
          </p:nvPr>
        </p:nvSpPr>
        <p:spPr>
          <a:xfrm>
            <a:off x="1035683" y="2997692"/>
            <a:ext cx="2965450" cy="2360613"/>
          </a:xfrm>
          <a:custGeom>
            <a:avLst/>
            <a:gdLst>
              <a:gd name="connsiteX0" fmla="*/ 581498 w 2965450"/>
              <a:gd name="connsiteY0" fmla="*/ 0 h 2360613"/>
              <a:gd name="connsiteX1" fmla="*/ 2965450 w 2965450"/>
              <a:gd name="connsiteY1" fmla="*/ 0 h 2360613"/>
              <a:gd name="connsiteX2" fmla="*/ 2965450 w 2965450"/>
              <a:gd name="connsiteY2" fmla="*/ 2360613 h 2360613"/>
              <a:gd name="connsiteX3" fmla="*/ 0 w 2965450"/>
              <a:gd name="connsiteY3" fmla="*/ 2360613 h 2360613"/>
              <a:gd name="connsiteX4" fmla="*/ 0 w 2965450"/>
              <a:gd name="connsiteY4" fmla="*/ 581498 h 2360613"/>
              <a:gd name="connsiteX5" fmla="*/ 581498 w 2965450"/>
              <a:gd name="connsiteY5" fmla="*/ 581498 h 236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5450" h="2360613">
                <a:moveTo>
                  <a:pt x="581498" y="0"/>
                </a:moveTo>
                <a:lnTo>
                  <a:pt x="2965450" y="0"/>
                </a:lnTo>
                <a:lnTo>
                  <a:pt x="2965450" y="2360613"/>
                </a:lnTo>
                <a:lnTo>
                  <a:pt x="0" y="2360613"/>
                </a:lnTo>
                <a:lnTo>
                  <a:pt x="0" y="581498"/>
                </a:lnTo>
                <a:lnTo>
                  <a:pt x="581498" y="581498"/>
                </a:lnTo>
                <a:close/>
              </a:path>
            </a:pathLst>
          </a:custGeom>
          <a:solidFill>
            <a:schemeClr val="tx2"/>
          </a:solidFill>
        </p:spPr>
        <p:txBody>
          <a:bodyPr wrap="square">
            <a:noAutofit/>
          </a:bodyPr>
          <a:lstStyle/>
          <a:p>
            <a:endParaRPr lang="en-US"/>
          </a:p>
        </p:txBody>
      </p:sp>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Google Shape;250;p10">
            <a:extLst>
              <a:ext uri="{FF2B5EF4-FFF2-40B4-BE49-F238E27FC236}">
                <a16:creationId xmlns:a16="http://schemas.microsoft.com/office/drawing/2014/main" id="{89894639-889A-B708-F538-FFDF442EE70C}"/>
              </a:ext>
            </a:extLst>
          </p:cNvPr>
          <p:cNvSpPr/>
          <p:nvPr userDrawn="1"/>
        </p:nvSpPr>
        <p:spPr>
          <a:xfrm>
            <a:off x="8189907" y="1110"/>
            <a:ext cx="4002094" cy="2996057"/>
          </a:xfrm>
          <a:prstGeom prst="rect">
            <a:avLst/>
          </a:prstGeom>
          <a:solidFill>
            <a:schemeClr val="accent2">
              <a:alpha val="3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9" name="Google Shape;259;p10">
            <a:extLst>
              <a:ext uri="{FF2B5EF4-FFF2-40B4-BE49-F238E27FC236}">
                <a16:creationId xmlns:a16="http://schemas.microsoft.com/office/drawing/2014/main" id="{E8A0309B-4E6B-E2D7-20E7-C15E9A07DDF8}"/>
              </a:ext>
            </a:extLst>
          </p:cNvPr>
          <p:cNvCxnSpPr/>
          <p:nvPr userDrawn="1"/>
        </p:nvCxnSpPr>
        <p:spPr>
          <a:xfrm>
            <a:off x="10624718" y="871322"/>
            <a:ext cx="1567200" cy="3600"/>
          </a:xfrm>
          <a:prstGeom prst="straightConnector1">
            <a:avLst/>
          </a:prstGeom>
          <a:noFill/>
          <a:ln w="19050" cap="flat" cmpd="sng">
            <a:solidFill>
              <a:schemeClr val="accent2"/>
            </a:solidFill>
            <a:prstDash val="solid"/>
            <a:miter lim="800000"/>
            <a:headEnd type="none" w="sm" len="sm"/>
            <a:tailEnd type="none" w="sm" len="sm"/>
          </a:ln>
        </p:spPr>
      </p:cxnSp>
      <p:pic>
        <p:nvPicPr>
          <p:cNvPr id="20" name="Picture 19" descr="A logo with a black background&#10;&#10;Description automatically generated">
            <a:extLst>
              <a:ext uri="{FF2B5EF4-FFF2-40B4-BE49-F238E27FC236}">
                <a16:creationId xmlns:a16="http://schemas.microsoft.com/office/drawing/2014/main" id="{5832BE38-5225-25A6-BCBB-F690CB1BFC4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8916166" y="456388"/>
            <a:ext cx="1631436" cy="689552"/>
          </a:xfrm>
          <a:prstGeom prst="rect">
            <a:avLst/>
          </a:prstGeom>
        </p:spPr>
      </p:pic>
      <p:sp>
        <p:nvSpPr>
          <p:cNvPr id="24" name="Title 23">
            <a:extLst>
              <a:ext uri="{FF2B5EF4-FFF2-40B4-BE49-F238E27FC236}">
                <a16:creationId xmlns:a16="http://schemas.microsoft.com/office/drawing/2014/main" id="{8F5330A8-6F63-6056-70A9-30B2BCBA852E}"/>
              </a:ext>
            </a:extLst>
          </p:cNvPr>
          <p:cNvSpPr>
            <a:spLocks noGrp="1"/>
          </p:cNvSpPr>
          <p:nvPr>
            <p:ph type="title" hasCustomPrompt="1"/>
          </p:nvPr>
        </p:nvSpPr>
        <p:spPr>
          <a:xfrm>
            <a:off x="1035679" y="1047771"/>
            <a:ext cx="4414773" cy="1200150"/>
          </a:xfrm>
        </p:spPr>
        <p:txBody>
          <a:bodyPr vert="horz">
            <a:normAutofit/>
          </a:bodyPr>
          <a:lstStyle>
            <a:lvl1pPr>
              <a:defRPr sz="3600"/>
            </a:lvl1pPr>
          </a:lstStyle>
          <a:p>
            <a:r>
              <a:rPr lang="da-DK" dirty="0"/>
              <a:t>LOREM IPSUM DOLOR SIT AMET</a:t>
            </a:r>
          </a:p>
        </p:txBody>
      </p:sp>
      <p:sp>
        <p:nvSpPr>
          <p:cNvPr id="30" name="Text Placeholder 29">
            <a:extLst>
              <a:ext uri="{FF2B5EF4-FFF2-40B4-BE49-F238E27FC236}">
                <a16:creationId xmlns:a16="http://schemas.microsoft.com/office/drawing/2014/main" id="{67D78C7A-E997-8E6E-6922-D6DF6202BA15}"/>
              </a:ext>
            </a:extLst>
          </p:cNvPr>
          <p:cNvSpPr>
            <a:spLocks noGrp="1"/>
          </p:cNvSpPr>
          <p:nvPr>
            <p:ph type="body" sz="quarter" idx="11" hasCustomPrompt="1"/>
          </p:nvPr>
        </p:nvSpPr>
        <p:spPr>
          <a:xfrm>
            <a:off x="1035113" y="739658"/>
            <a:ext cx="4414773" cy="307975"/>
          </a:xfrm>
        </p:spPr>
        <p:txBody>
          <a:bodyPr>
            <a:normAutofit/>
          </a:bodyPr>
          <a:lstStyle>
            <a:lvl1pPr marL="0" indent="0">
              <a:buNone/>
              <a:defRPr sz="1400"/>
            </a:lvl1pPr>
          </a:lstStyle>
          <a:p>
            <a:pPr lvl="0"/>
            <a:r>
              <a:rPr lang="en-US" dirty="0"/>
              <a:t>Our Features</a:t>
            </a:r>
          </a:p>
        </p:txBody>
      </p:sp>
      <p:sp>
        <p:nvSpPr>
          <p:cNvPr id="32" name="Text Placeholder 31">
            <a:extLst>
              <a:ext uri="{FF2B5EF4-FFF2-40B4-BE49-F238E27FC236}">
                <a16:creationId xmlns:a16="http://schemas.microsoft.com/office/drawing/2014/main" id="{8556CFE2-D72D-5FEF-4B27-3FB87C3CDE1A}"/>
              </a:ext>
            </a:extLst>
          </p:cNvPr>
          <p:cNvSpPr>
            <a:spLocks noGrp="1"/>
          </p:cNvSpPr>
          <p:nvPr>
            <p:ph type="body" sz="quarter" idx="12" hasCustomPrompt="1"/>
          </p:nvPr>
        </p:nvSpPr>
        <p:spPr>
          <a:xfrm>
            <a:off x="1035681" y="5533369"/>
            <a:ext cx="2965450" cy="306388"/>
          </a:xfrm>
        </p:spPr>
        <p:txBody>
          <a:bodyPr>
            <a:normAutofit/>
          </a:bodyPr>
          <a:lstStyle>
            <a:lvl1pPr marL="0" indent="0">
              <a:buNone/>
              <a:defRPr sz="1400" b="1">
                <a:solidFill>
                  <a:schemeClr val="bg2"/>
                </a:solidFill>
              </a:defRPr>
            </a:lvl1pPr>
          </a:lstStyle>
          <a:p>
            <a:pPr lvl="0"/>
            <a:r>
              <a:rPr lang="en-US" dirty="0"/>
              <a:t>LOREM IPSUM DOLOR SIT</a:t>
            </a:r>
          </a:p>
        </p:txBody>
      </p:sp>
      <p:sp>
        <p:nvSpPr>
          <p:cNvPr id="34" name="Text Placeholder 33">
            <a:extLst>
              <a:ext uri="{FF2B5EF4-FFF2-40B4-BE49-F238E27FC236}">
                <a16:creationId xmlns:a16="http://schemas.microsoft.com/office/drawing/2014/main" id="{405846DE-9DEF-6AD8-BD73-45F7A950D920}"/>
              </a:ext>
            </a:extLst>
          </p:cNvPr>
          <p:cNvSpPr>
            <a:spLocks noGrp="1"/>
          </p:cNvSpPr>
          <p:nvPr>
            <p:ph type="body" sz="quarter" idx="13" hasCustomPrompt="1"/>
          </p:nvPr>
        </p:nvSpPr>
        <p:spPr>
          <a:xfrm>
            <a:off x="1035681" y="5840292"/>
            <a:ext cx="2965450" cy="277813"/>
          </a:xfrm>
        </p:spPr>
        <p:txBody>
          <a:bodyPr/>
          <a:lstStyle>
            <a:lvl1pPr marL="0" indent="0">
              <a:buNone/>
              <a:defRPr/>
            </a:lvl1pPr>
          </a:lstStyle>
          <a:p>
            <a:pPr lvl="0"/>
            <a:r>
              <a:rPr lang="en-US" dirty="0"/>
              <a:t>Lorem ipsum dolor sit</a:t>
            </a:r>
          </a:p>
        </p:txBody>
      </p:sp>
      <p:sp>
        <p:nvSpPr>
          <p:cNvPr id="35" name="Text Placeholder 31">
            <a:extLst>
              <a:ext uri="{FF2B5EF4-FFF2-40B4-BE49-F238E27FC236}">
                <a16:creationId xmlns:a16="http://schemas.microsoft.com/office/drawing/2014/main" id="{99416318-0725-8591-C0C8-A7B402B3DC81}"/>
              </a:ext>
            </a:extLst>
          </p:cNvPr>
          <p:cNvSpPr>
            <a:spLocks noGrp="1"/>
          </p:cNvSpPr>
          <p:nvPr>
            <p:ph type="body" sz="quarter" idx="14" hasCustomPrompt="1"/>
          </p:nvPr>
        </p:nvSpPr>
        <p:spPr>
          <a:xfrm>
            <a:off x="4611800" y="5533369"/>
            <a:ext cx="2965450" cy="306388"/>
          </a:xfrm>
        </p:spPr>
        <p:txBody>
          <a:bodyPr>
            <a:normAutofit/>
          </a:bodyPr>
          <a:lstStyle>
            <a:lvl1pPr marL="0" indent="0">
              <a:buNone/>
              <a:defRPr sz="1400" b="1">
                <a:solidFill>
                  <a:schemeClr val="bg2"/>
                </a:solidFill>
              </a:defRPr>
            </a:lvl1pPr>
          </a:lstStyle>
          <a:p>
            <a:pPr lvl="0"/>
            <a:r>
              <a:rPr lang="en-US" dirty="0"/>
              <a:t>LOREM IPSUM DOLOR SIT</a:t>
            </a:r>
          </a:p>
        </p:txBody>
      </p:sp>
      <p:sp>
        <p:nvSpPr>
          <p:cNvPr id="36" name="Text Placeholder 33">
            <a:extLst>
              <a:ext uri="{FF2B5EF4-FFF2-40B4-BE49-F238E27FC236}">
                <a16:creationId xmlns:a16="http://schemas.microsoft.com/office/drawing/2014/main" id="{36DD58D9-0FDC-DDE5-22AA-297143E72340}"/>
              </a:ext>
            </a:extLst>
          </p:cNvPr>
          <p:cNvSpPr>
            <a:spLocks noGrp="1"/>
          </p:cNvSpPr>
          <p:nvPr>
            <p:ph type="body" sz="quarter" idx="15" hasCustomPrompt="1"/>
          </p:nvPr>
        </p:nvSpPr>
        <p:spPr>
          <a:xfrm>
            <a:off x="4611800" y="5840292"/>
            <a:ext cx="2965450" cy="277813"/>
          </a:xfrm>
        </p:spPr>
        <p:txBody>
          <a:bodyPr/>
          <a:lstStyle>
            <a:lvl1pPr marL="0" indent="0">
              <a:buNone/>
              <a:defRPr/>
            </a:lvl1pPr>
          </a:lstStyle>
          <a:p>
            <a:pPr lvl="0"/>
            <a:r>
              <a:rPr lang="en-US" dirty="0"/>
              <a:t>Lorem ipsum dolor sit</a:t>
            </a:r>
          </a:p>
        </p:txBody>
      </p:sp>
      <p:sp>
        <p:nvSpPr>
          <p:cNvPr id="37" name="Text Placeholder 31">
            <a:extLst>
              <a:ext uri="{FF2B5EF4-FFF2-40B4-BE49-F238E27FC236}">
                <a16:creationId xmlns:a16="http://schemas.microsoft.com/office/drawing/2014/main" id="{64276B5E-44FA-918F-D94C-DCA6A419464C}"/>
              </a:ext>
            </a:extLst>
          </p:cNvPr>
          <p:cNvSpPr>
            <a:spLocks noGrp="1"/>
          </p:cNvSpPr>
          <p:nvPr>
            <p:ph type="body" sz="quarter" idx="16" hasCustomPrompt="1"/>
          </p:nvPr>
        </p:nvSpPr>
        <p:spPr>
          <a:xfrm>
            <a:off x="8189907" y="5533369"/>
            <a:ext cx="2965450" cy="306388"/>
          </a:xfrm>
        </p:spPr>
        <p:txBody>
          <a:bodyPr>
            <a:normAutofit/>
          </a:bodyPr>
          <a:lstStyle>
            <a:lvl1pPr marL="0" indent="0">
              <a:buNone/>
              <a:defRPr sz="1400" b="1">
                <a:solidFill>
                  <a:schemeClr val="bg2"/>
                </a:solidFill>
              </a:defRPr>
            </a:lvl1pPr>
          </a:lstStyle>
          <a:p>
            <a:pPr lvl="0"/>
            <a:r>
              <a:rPr lang="en-US" dirty="0"/>
              <a:t>LOREM IPSUM DOLOR SIT</a:t>
            </a:r>
          </a:p>
        </p:txBody>
      </p:sp>
      <p:sp>
        <p:nvSpPr>
          <p:cNvPr id="38" name="Text Placeholder 33">
            <a:extLst>
              <a:ext uri="{FF2B5EF4-FFF2-40B4-BE49-F238E27FC236}">
                <a16:creationId xmlns:a16="http://schemas.microsoft.com/office/drawing/2014/main" id="{29FA79C5-1EEA-503E-98A4-1D1C1F7B6392}"/>
              </a:ext>
            </a:extLst>
          </p:cNvPr>
          <p:cNvSpPr>
            <a:spLocks noGrp="1"/>
          </p:cNvSpPr>
          <p:nvPr>
            <p:ph type="body" sz="quarter" idx="17" hasCustomPrompt="1"/>
          </p:nvPr>
        </p:nvSpPr>
        <p:spPr>
          <a:xfrm>
            <a:off x="8189907" y="5840292"/>
            <a:ext cx="2965450" cy="277813"/>
          </a:xfrm>
        </p:spPr>
        <p:txBody>
          <a:bodyPr/>
          <a:lstStyle>
            <a:lvl1pPr marL="0" indent="0">
              <a:buNone/>
              <a:defRPr/>
            </a:lvl1pPr>
          </a:lstStyle>
          <a:p>
            <a:pPr lvl="0"/>
            <a:r>
              <a:rPr lang="en-US" dirty="0"/>
              <a:t>Lorem ipsum dolor sit</a:t>
            </a:r>
          </a:p>
        </p:txBody>
      </p:sp>
      <p:sp>
        <p:nvSpPr>
          <p:cNvPr id="40" name="Text Placeholder 39">
            <a:extLst>
              <a:ext uri="{FF2B5EF4-FFF2-40B4-BE49-F238E27FC236}">
                <a16:creationId xmlns:a16="http://schemas.microsoft.com/office/drawing/2014/main" id="{DDED04C7-A16D-34EC-C464-5F8892D25559}"/>
              </a:ext>
            </a:extLst>
          </p:cNvPr>
          <p:cNvSpPr>
            <a:spLocks noGrp="1"/>
          </p:cNvSpPr>
          <p:nvPr>
            <p:ph type="body" sz="quarter" idx="18" hasCustomPrompt="1"/>
          </p:nvPr>
        </p:nvSpPr>
        <p:spPr>
          <a:xfrm>
            <a:off x="1035683" y="2997641"/>
            <a:ext cx="581025" cy="581025"/>
          </a:xfrm>
          <a:solidFill>
            <a:schemeClr val="accent1"/>
          </a:solidFill>
        </p:spPr>
        <p:txBody>
          <a:bodyPr lIns="91440" anchor="ctr">
            <a:normAutofit/>
          </a:bodyPr>
          <a:lstStyle>
            <a:lvl1pPr marL="0" indent="0" algn="ctr">
              <a:buNone/>
              <a:defRPr sz="1600" b="1">
                <a:solidFill>
                  <a:schemeClr val="bg1"/>
                </a:solidFill>
              </a:defRPr>
            </a:lvl1pPr>
            <a:lvl2pPr marL="182880" indent="0">
              <a:buNone/>
              <a:defRPr>
                <a:solidFill>
                  <a:schemeClr val="bg1"/>
                </a:solidFill>
              </a:defRPr>
            </a:lvl2pPr>
            <a:lvl3pPr marL="365760" indent="0">
              <a:buNone/>
              <a:defRPr>
                <a:solidFill>
                  <a:schemeClr val="bg1"/>
                </a:solidFill>
              </a:defRPr>
            </a:lvl3pPr>
            <a:lvl4pPr marL="548640" indent="0">
              <a:buNone/>
              <a:defRPr>
                <a:solidFill>
                  <a:schemeClr val="bg1"/>
                </a:solidFill>
              </a:defRPr>
            </a:lvl4pPr>
            <a:lvl5pPr marL="731520" indent="0">
              <a:buNone/>
              <a:defRPr>
                <a:solidFill>
                  <a:schemeClr val="bg1"/>
                </a:solidFill>
              </a:defRPr>
            </a:lvl5pPr>
          </a:lstStyle>
          <a:p>
            <a:pPr lvl="0"/>
            <a:r>
              <a:rPr lang="en-US" dirty="0"/>
              <a:t>##</a:t>
            </a:r>
          </a:p>
        </p:txBody>
      </p:sp>
      <p:sp>
        <p:nvSpPr>
          <p:cNvPr id="12" name="Text Placeholder 39">
            <a:extLst>
              <a:ext uri="{FF2B5EF4-FFF2-40B4-BE49-F238E27FC236}">
                <a16:creationId xmlns:a16="http://schemas.microsoft.com/office/drawing/2014/main" id="{33DFDFA7-6D1E-2B69-A7EB-695286A61899}"/>
              </a:ext>
            </a:extLst>
          </p:cNvPr>
          <p:cNvSpPr>
            <a:spLocks noGrp="1"/>
          </p:cNvSpPr>
          <p:nvPr>
            <p:ph type="body" sz="quarter" idx="21" hasCustomPrompt="1"/>
          </p:nvPr>
        </p:nvSpPr>
        <p:spPr>
          <a:xfrm>
            <a:off x="4611800" y="2997641"/>
            <a:ext cx="581025" cy="581025"/>
          </a:xfrm>
          <a:solidFill>
            <a:schemeClr val="accent1"/>
          </a:solidFill>
        </p:spPr>
        <p:txBody>
          <a:bodyPr lIns="91440" anchor="ctr">
            <a:normAutofit/>
          </a:bodyPr>
          <a:lstStyle>
            <a:lvl1pPr marL="0" indent="0" algn="ctr">
              <a:buNone/>
              <a:defRPr sz="1600" b="1">
                <a:solidFill>
                  <a:schemeClr val="bg1"/>
                </a:solidFill>
              </a:defRPr>
            </a:lvl1pPr>
            <a:lvl2pPr marL="182880" indent="0">
              <a:buNone/>
              <a:defRPr>
                <a:solidFill>
                  <a:schemeClr val="bg1"/>
                </a:solidFill>
              </a:defRPr>
            </a:lvl2pPr>
            <a:lvl3pPr marL="365760" indent="0">
              <a:buNone/>
              <a:defRPr>
                <a:solidFill>
                  <a:schemeClr val="bg1"/>
                </a:solidFill>
              </a:defRPr>
            </a:lvl3pPr>
            <a:lvl4pPr marL="548640" indent="0">
              <a:buNone/>
              <a:defRPr>
                <a:solidFill>
                  <a:schemeClr val="bg1"/>
                </a:solidFill>
              </a:defRPr>
            </a:lvl4pPr>
            <a:lvl5pPr marL="731520" indent="0">
              <a:buNone/>
              <a:defRPr>
                <a:solidFill>
                  <a:schemeClr val="bg1"/>
                </a:solidFill>
              </a:defRPr>
            </a:lvl5pPr>
          </a:lstStyle>
          <a:p>
            <a:pPr lvl="0"/>
            <a:r>
              <a:rPr lang="en-US" dirty="0"/>
              <a:t>##</a:t>
            </a:r>
          </a:p>
        </p:txBody>
      </p:sp>
      <p:sp>
        <p:nvSpPr>
          <p:cNvPr id="13" name="Text Placeholder 39">
            <a:extLst>
              <a:ext uri="{FF2B5EF4-FFF2-40B4-BE49-F238E27FC236}">
                <a16:creationId xmlns:a16="http://schemas.microsoft.com/office/drawing/2014/main" id="{CFFC4E31-8579-495A-3021-112C768761D7}"/>
              </a:ext>
            </a:extLst>
          </p:cNvPr>
          <p:cNvSpPr>
            <a:spLocks noGrp="1"/>
          </p:cNvSpPr>
          <p:nvPr>
            <p:ph type="body" sz="quarter" idx="22" hasCustomPrompt="1"/>
          </p:nvPr>
        </p:nvSpPr>
        <p:spPr>
          <a:xfrm>
            <a:off x="8187917" y="2997641"/>
            <a:ext cx="581025" cy="581025"/>
          </a:xfrm>
          <a:solidFill>
            <a:schemeClr val="accent1"/>
          </a:solidFill>
        </p:spPr>
        <p:txBody>
          <a:bodyPr lIns="91440" anchor="ctr">
            <a:normAutofit/>
          </a:bodyPr>
          <a:lstStyle>
            <a:lvl1pPr marL="0" indent="0" algn="ctr">
              <a:buNone/>
              <a:defRPr sz="1600" b="1">
                <a:solidFill>
                  <a:schemeClr val="bg1"/>
                </a:solidFill>
              </a:defRPr>
            </a:lvl1pPr>
            <a:lvl2pPr marL="182880" indent="0">
              <a:buNone/>
              <a:defRPr>
                <a:solidFill>
                  <a:schemeClr val="bg1"/>
                </a:solidFill>
              </a:defRPr>
            </a:lvl2pPr>
            <a:lvl3pPr marL="365760" indent="0">
              <a:buNone/>
              <a:defRPr>
                <a:solidFill>
                  <a:schemeClr val="bg1"/>
                </a:solidFill>
              </a:defRPr>
            </a:lvl3pPr>
            <a:lvl4pPr marL="548640" indent="0">
              <a:buNone/>
              <a:defRPr>
                <a:solidFill>
                  <a:schemeClr val="bg1"/>
                </a:solidFill>
              </a:defRPr>
            </a:lvl4pPr>
            <a:lvl5pPr marL="731520" indent="0">
              <a:buNone/>
              <a:defRPr>
                <a:solidFill>
                  <a:schemeClr val="bg1"/>
                </a:solidFill>
              </a:defRPr>
            </a:lvl5pPr>
          </a:lstStyle>
          <a:p>
            <a:pPr lvl="0"/>
            <a:r>
              <a:rPr lang="en-US" dirty="0"/>
              <a:t>##</a:t>
            </a:r>
          </a:p>
        </p:txBody>
      </p:sp>
      <p:sp>
        <p:nvSpPr>
          <p:cNvPr id="2" name="Footer Placeholder 1">
            <a:extLst>
              <a:ext uri="{FF2B5EF4-FFF2-40B4-BE49-F238E27FC236}">
                <a16:creationId xmlns:a16="http://schemas.microsoft.com/office/drawing/2014/main" id="{93D14F87-4FA1-F9D2-6094-C867ED5FA3D6}"/>
              </a:ext>
            </a:extLst>
          </p:cNvPr>
          <p:cNvSpPr>
            <a:spLocks noGrp="1"/>
          </p:cNvSpPr>
          <p:nvPr>
            <p:ph type="ftr" sz="quarter" idx="25"/>
          </p:nvPr>
        </p:nvSpPr>
        <p:spPr/>
        <p:txBody>
          <a:bodyPr/>
          <a:lstStyle/>
          <a:p>
            <a:endParaRPr lang="en-US" dirty="0"/>
          </a:p>
        </p:txBody>
      </p:sp>
    </p:spTree>
    <p:extLst>
      <p:ext uri="{BB962C8B-B14F-4D97-AF65-F5344CB8AC3E}">
        <p14:creationId xmlns:p14="http://schemas.microsoft.com/office/powerpoint/2010/main" val="334717082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ample Layout_8">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3591025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279;p12">
            <a:extLst>
              <a:ext uri="{FF2B5EF4-FFF2-40B4-BE49-F238E27FC236}">
                <a16:creationId xmlns:a16="http://schemas.microsoft.com/office/drawing/2014/main" id="{8FEE283B-7C44-0C3F-A77C-40959FE363B6}"/>
              </a:ext>
            </a:extLst>
          </p:cNvPr>
          <p:cNvSpPr/>
          <p:nvPr userDrawn="1"/>
        </p:nvSpPr>
        <p:spPr>
          <a:xfrm>
            <a:off x="1" y="1"/>
            <a:ext cx="1839310" cy="183931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 name="Google Shape;280;p12">
            <a:extLst>
              <a:ext uri="{FF2B5EF4-FFF2-40B4-BE49-F238E27FC236}">
                <a16:creationId xmlns:a16="http://schemas.microsoft.com/office/drawing/2014/main" id="{F4B79B4D-5D5E-2BF7-B87D-4228EDA181D0}"/>
              </a:ext>
            </a:extLst>
          </p:cNvPr>
          <p:cNvSpPr/>
          <p:nvPr userDrawn="1"/>
        </p:nvSpPr>
        <p:spPr>
          <a:xfrm>
            <a:off x="1839309" y="4554908"/>
            <a:ext cx="767257" cy="767257"/>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 name="Google Shape;281;p12">
            <a:extLst>
              <a:ext uri="{FF2B5EF4-FFF2-40B4-BE49-F238E27FC236}">
                <a16:creationId xmlns:a16="http://schemas.microsoft.com/office/drawing/2014/main" id="{4202D1D0-5346-D88D-9D22-C45F4C04D4F5}"/>
              </a:ext>
            </a:extLst>
          </p:cNvPr>
          <p:cNvSpPr/>
          <p:nvPr userDrawn="1"/>
        </p:nvSpPr>
        <p:spPr>
          <a:xfrm>
            <a:off x="3901348" y="0"/>
            <a:ext cx="645150" cy="6451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 name="Google Shape;282;p12">
            <a:extLst>
              <a:ext uri="{FF2B5EF4-FFF2-40B4-BE49-F238E27FC236}">
                <a16:creationId xmlns:a16="http://schemas.microsoft.com/office/drawing/2014/main" id="{4C403456-75B6-88B3-7253-CE27D3A00A25}"/>
              </a:ext>
            </a:extLst>
          </p:cNvPr>
          <p:cNvSpPr/>
          <p:nvPr userDrawn="1"/>
        </p:nvSpPr>
        <p:spPr>
          <a:xfrm>
            <a:off x="4546498" y="3909758"/>
            <a:ext cx="645150" cy="64515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 name="Google Shape;283;p12">
            <a:extLst>
              <a:ext uri="{FF2B5EF4-FFF2-40B4-BE49-F238E27FC236}">
                <a16:creationId xmlns:a16="http://schemas.microsoft.com/office/drawing/2014/main" id="{5518B854-27B3-EA81-CCE1-B6C2C32C374F}"/>
              </a:ext>
            </a:extLst>
          </p:cNvPr>
          <p:cNvSpPr/>
          <p:nvPr userDrawn="1"/>
        </p:nvSpPr>
        <p:spPr>
          <a:xfrm>
            <a:off x="5732151" y="646383"/>
            <a:ext cx="1194157" cy="119415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 name="Google Shape;284;p12">
            <a:extLst>
              <a:ext uri="{FF2B5EF4-FFF2-40B4-BE49-F238E27FC236}">
                <a16:creationId xmlns:a16="http://schemas.microsoft.com/office/drawing/2014/main" id="{7CB6262D-B628-CE88-E04E-C9C9A6E67CD0}"/>
              </a:ext>
            </a:extLst>
          </p:cNvPr>
          <p:cNvSpPr/>
          <p:nvPr userDrawn="1"/>
        </p:nvSpPr>
        <p:spPr>
          <a:xfrm>
            <a:off x="750257" y="1839309"/>
            <a:ext cx="1088964" cy="1089052"/>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 name="Google Shape;285;p12">
            <a:extLst>
              <a:ext uri="{FF2B5EF4-FFF2-40B4-BE49-F238E27FC236}">
                <a16:creationId xmlns:a16="http://schemas.microsoft.com/office/drawing/2014/main" id="{38B547D1-4714-765B-AA4C-23F8F857109D}"/>
              </a:ext>
            </a:extLst>
          </p:cNvPr>
          <p:cNvSpPr/>
          <p:nvPr userDrawn="1"/>
        </p:nvSpPr>
        <p:spPr>
          <a:xfrm>
            <a:off x="2606522" y="4554908"/>
            <a:ext cx="1940021" cy="1940021"/>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 name="Picture 13" descr="A logo with a black background&#10;&#10;Description automatically generated">
            <a:extLst>
              <a:ext uri="{FF2B5EF4-FFF2-40B4-BE49-F238E27FC236}">
                <a16:creationId xmlns:a16="http://schemas.microsoft.com/office/drawing/2014/main" id="{FEA7A8E9-1A2D-E572-C346-13C16B89DD6A}"/>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651751" y="4728895"/>
            <a:ext cx="2197848" cy="928955"/>
          </a:xfrm>
          <a:prstGeom prst="rect">
            <a:avLst/>
          </a:prstGeom>
        </p:spPr>
      </p:pic>
      <p:sp>
        <p:nvSpPr>
          <p:cNvPr id="19" name="Title 18">
            <a:extLst>
              <a:ext uri="{FF2B5EF4-FFF2-40B4-BE49-F238E27FC236}">
                <a16:creationId xmlns:a16="http://schemas.microsoft.com/office/drawing/2014/main" id="{0BF21579-6797-501A-1F1B-0A6F6FC78BFB}"/>
              </a:ext>
            </a:extLst>
          </p:cNvPr>
          <p:cNvSpPr>
            <a:spLocks noGrp="1"/>
          </p:cNvSpPr>
          <p:nvPr>
            <p:ph type="title" hasCustomPrompt="1"/>
          </p:nvPr>
        </p:nvSpPr>
        <p:spPr>
          <a:xfrm>
            <a:off x="7788684" y="1744759"/>
            <a:ext cx="3643313" cy="1077913"/>
          </a:xfrm>
        </p:spPr>
        <p:txBody>
          <a:bodyPr vert="horz">
            <a:normAutofit/>
          </a:bodyPr>
          <a:lstStyle>
            <a:lvl1pPr>
              <a:defRPr sz="3200"/>
            </a:lvl1pPr>
          </a:lstStyle>
          <a:p>
            <a:r>
              <a:rPr lang="da-DK" dirty="0"/>
              <a:t>LOREM IPSUM DOLOR SIT AMET</a:t>
            </a:r>
          </a:p>
        </p:txBody>
      </p:sp>
      <p:sp>
        <p:nvSpPr>
          <p:cNvPr id="25" name="Text Placeholder 24">
            <a:extLst>
              <a:ext uri="{FF2B5EF4-FFF2-40B4-BE49-F238E27FC236}">
                <a16:creationId xmlns:a16="http://schemas.microsoft.com/office/drawing/2014/main" id="{BF044090-B6A5-251E-F49E-FA4E9A5A8328}"/>
              </a:ext>
            </a:extLst>
          </p:cNvPr>
          <p:cNvSpPr>
            <a:spLocks noGrp="1"/>
          </p:cNvSpPr>
          <p:nvPr>
            <p:ph type="body" sz="quarter" idx="10" hasCustomPrompt="1"/>
          </p:nvPr>
        </p:nvSpPr>
        <p:spPr>
          <a:xfrm>
            <a:off x="7788275" y="1438579"/>
            <a:ext cx="3643313" cy="368300"/>
          </a:xfrm>
        </p:spPr>
        <p:txBody>
          <a:bodyPr>
            <a:noAutofit/>
          </a:bodyPr>
          <a:lstStyle>
            <a:lvl1pPr marL="0" indent="0">
              <a:buNone/>
              <a:defRPr sz="1800"/>
            </a:lvl1pPr>
            <a:lvl2pPr marL="182880" indent="0">
              <a:buNone/>
              <a:defRPr sz="1800"/>
            </a:lvl2pPr>
            <a:lvl3pPr marL="365760" indent="0">
              <a:buNone/>
              <a:defRPr sz="1800"/>
            </a:lvl3pPr>
            <a:lvl4pPr marL="548640" indent="0">
              <a:buNone/>
              <a:defRPr sz="1800"/>
            </a:lvl4pPr>
            <a:lvl5pPr marL="731520" indent="0">
              <a:buNone/>
              <a:defRPr sz="1800"/>
            </a:lvl5pPr>
          </a:lstStyle>
          <a:p>
            <a:pPr lvl="0"/>
            <a:r>
              <a:rPr lang="en-US" dirty="0"/>
              <a:t>Sample headline</a:t>
            </a:r>
          </a:p>
        </p:txBody>
      </p:sp>
      <p:sp>
        <p:nvSpPr>
          <p:cNvPr id="27" name="Text Placeholder 26">
            <a:extLst>
              <a:ext uri="{FF2B5EF4-FFF2-40B4-BE49-F238E27FC236}">
                <a16:creationId xmlns:a16="http://schemas.microsoft.com/office/drawing/2014/main" id="{86F1DB22-37E7-6E14-6C8E-60010FBDD26D}"/>
              </a:ext>
            </a:extLst>
          </p:cNvPr>
          <p:cNvSpPr>
            <a:spLocks noGrp="1"/>
          </p:cNvSpPr>
          <p:nvPr>
            <p:ph type="body" sz="quarter" idx="11"/>
          </p:nvPr>
        </p:nvSpPr>
        <p:spPr>
          <a:xfrm>
            <a:off x="7788275" y="3080925"/>
            <a:ext cx="3643313" cy="120015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Picture Placeholder 28">
            <a:extLst>
              <a:ext uri="{FF2B5EF4-FFF2-40B4-BE49-F238E27FC236}">
                <a16:creationId xmlns:a16="http://schemas.microsoft.com/office/drawing/2014/main" id="{D5A9B5D7-6FDF-0A0C-0BA1-C4CC785D233E}"/>
              </a:ext>
            </a:extLst>
          </p:cNvPr>
          <p:cNvSpPr>
            <a:spLocks noGrp="1"/>
          </p:cNvSpPr>
          <p:nvPr>
            <p:ph type="pic" sz="quarter" idx="12"/>
          </p:nvPr>
        </p:nvSpPr>
        <p:spPr>
          <a:xfrm>
            <a:off x="750283" y="5322192"/>
            <a:ext cx="1089025" cy="1089025"/>
          </a:xfrm>
          <a:solidFill>
            <a:schemeClr val="tx2"/>
          </a:solidFill>
        </p:spPr>
        <p:txBody>
          <a:bodyPr/>
          <a:lstStyle/>
          <a:p>
            <a:endParaRPr lang="en-US" dirty="0"/>
          </a:p>
        </p:txBody>
      </p:sp>
      <p:sp>
        <p:nvSpPr>
          <p:cNvPr id="33" name="Picture Placeholder 31">
            <a:extLst>
              <a:ext uri="{FF2B5EF4-FFF2-40B4-BE49-F238E27FC236}">
                <a16:creationId xmlns:a16="http://schemas.microsoft.com/office/drawing/2014/main" id="{ED39DD41-9A54-79E0-0B45-892654B0804A}"/>
              </a:ext>
            </a:extLst>
          </p:cNvPr>
          <p:cNvSpPr>
            <a:spLocks noGrp="1"/>
          </p:cNvSpPr>
          <p:nvPr>
            <p:ph type="pic" sz="quarter" idx="13"/>
          </p:nvPr>
        </p:nvSpPr>
        <p:spPr>
          <a:xfrm>
            <a:off x="1839810" y="1840283"/>
            <a:ext cx="2706688" cy="2714625"/>
          </a:xfrm>
          <a:solidFill>
            <a:schemeClr val="tx2"/>
          </a:solidFill>
        </p:spPr>
        <p:txBody>
          <a:bodyPr/>
          <a:lstStyle/>
          <a:p>
            <a:endParaRPr lang="en-US"/>
          </a:p>
        </p:txBody>
      </p:sp>
      <p:sp>
        <p:nvSpPr>
          <p:cNvPr id="36" name="Picture Placeholder 34">
            <a:extLst>
              <a:ext uri="{FF2B5EF4-FFF2-40B4-BE49-F238E27FC236}">
                <a16:creationId xmlns:a16="http://schemas.microsoft.com/office/drawing/2014/main" id="{876A4943-E603-2C55-FAFA-3AB78E898FC5}"/>
              </a:ext>
            </a:extLst>
          </p:cNvPr>
          <p:cNvSpPr>
            <a:spLocks noGrp="1"/>
          </p:cNvSpPr>
          <p:nvPr>
            <p:ph type="pic" sz="quarter" idx="14"/>
          </p:nvPr>
        </p:nvSpPr>
        <p:spPr>
          <a:xfrm>
            <a:off x="4546288" y="645152"/>
            <a:ext cx="1185863" cy="1195388"/>
          </a:xfrm>
          <a:solidFill>
            <a:schemeClr val="tx2"/>
          </a:solidFill>
        </p:spPr>
        <p:txBody>
          <a:bodyPr/>
          <a:lstStyle/>
          <a:p>
            <a:endParaRPr lang="en-US"/>
          </a:p>
        </p:txBody>
      </p:sp>
      <p:sp>
        <p:nvSpPr>
          <p:cNvPr id="39" name="Picture Placeholder 37">
            <a:extLst>
              <a:ext uri="{FF2B5EF4-FFF2-40B4-BE49-F238E27FC236}">
                <a16:creationId xmlns:a16="http://schemas.microsoft.com/office/drawing/2014/main" id="{18FA1BB2-F375-EE5A-42E6-DD2CCDDFDC48}"/>
              </a:ext>
            </a:extLst>
          </p:cNvPr>
          <p:cNvSpPr>
            <a:spLocks noGrp="1"/>
          </p:cNvSpPr>
          <p:nvPr>
            <p:ph type="pic" sz="quarter" idx="15"/>
          </p:nvPr>
        </p:nvSpPr>
        <p:spPr>
          <a:xfrm>
            <a:off x="4546417" y="4554694"/>
            <a:ext cx="2322513" cy="2322513"/>
          </a:xfrm>
          <a:solidFill>
            <a:schemeClr val="tx2"/>
          </a:solidFill>
        </p:spPr>
        <p:txBody>
          <a:bodyPr/>
          <a:lstStyle/>
          <a:p>
            <a:endParaRPr lang="en-US"/>
          </a:p>
        </p:txBody>
      </p:sp>
    </p:spTree>
    <p:extLst>
      <p:ext uri="{BB962C8B-B14F-4D97-AF65-F5344CB8AC3E}">
        <p14:creationId xmlns:p14="http://schemas.microsoft.com/office/powerpoint/2010/main" val="27509360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ample Layout_9">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2606485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C804D65-1E97-B709-DC11-F7CDADD4C567}"/>
              </a:ext>
            </a:extLst>
          </p:cNvPr>
          <p:cNvSpPr/>
          <p:nvPr userDrawn="1"/>
        </p:nvSpPr>
        <p:spPr>
          <a:xfrm>
            <a:off x="8658225" y="6281738"/>
            <a:ext cx="3287032" cy="3939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295;p13">
            <a:extLst>
              <a:ext uri="{FF2B5EF4-FFF2-40B4-BE49-F238E27FC236}">
                <a16:creationId xmlns:a16="http://schemas.microsoft.com/office/drawing/2014/main" id="{7F150611-AF57-029C-A322-C4D5FA9FDE0C}"/>
              </a:ext>
            </a:extLst>
          </p:cNvPr>
          <p:cNvSpPr/>
          <p:nvPr userDrawn="1"/>
        </p:nvSpPr>
        <p:spPr>
          <a:xfrm>
            <a:off x="6390933" y="3425825"/>
            <a:ext cx="2369100" cy="1832075"/>
          </a:xfrm>
          <a:prstGeom prst="rect">
            <a:avLst/>
          </a:prstGeom>
          <a:solidFill>
            <a:schemeClr val="accent2">
              <a:lumMod val="20000"/>
              <a:lumOff val="80000"/>
            </a:schemeClr>
          </a:solidFill>
          <a:ln w="9525"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 name="Google Shape;296;p13">
            <a:extLst>
              <a:ext uri="{FF2B5EF4-FFF2-40B4-BE49-F238E27FC236}">
                <a16:creationId xmlns:a16="http://schemas.microsoft.com/office/drawing/2014/main" id="{2BFCDAB7-D83E-49B7-0D7E-63EEDB8F86E8}"/>
              </a:ext>
            </a:extLst>
          </p:cNvPr>
          <p:cNvSpPr/>
          <p:nvPr userDrawn="1"/>
        </p:nvSpPr>
        <p:spPr>
          <a:xfrm>
            <a:off x="6390853" y="2235084"/>
            <a:ext cx="2369180" cy="1193916"/>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 name="Google Shape;301;p13">
            <a:extLst>
              <a:ext uri="{FF2B5EF4-FFF2-40B4-BE49-F238E27FC236}">
                <a16:creationId xmlns:a16="http://schemas.microsoft.com/office/drawing/2014/main" id="{8B6C4B6F-791E-D163-6473-59174E7E54DE}"/>
              </a:ext>
            </a:extLst>
          </p:cNvPr>
          <p:cNvSpPr/>
          <p:nvPr userDrawn="1"/>
        </p:nvSpPr>
        <p:spPr>
          <a:xfrm>
            <a:off x="6390853" y="4964091"/>
            <a:ext cx="2368972" cy="11938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3" name="Google Shape;307;p13">
            <a:extLst>
              <a:ext uri="{FF2B5EF4-FFF2-40B4-BE49-F238E27FC236}">
                <a16:creationId xmlns:a16="http://schemas.microsoft.com/office/drawing/2014/main" id="{A8A09181-432C-CE1C-2F2F-C63C80E453BC}"/>
              </a:ext>
            </a:extLst>
          </p:cNvPr>
          <p:cNvCxnSpPr/>
          <p:nvPr userDrawn="1"/>
        </p:nvCxnSpPr>
        <p:spPr>
          <a:xfrm>
            <a:off x="-12" y="1246090"/>
            <a:ext cx="1471200" cy="0"/>
          </a:xfrm>
          <a:prstGeom prst="straightConnector1">
            <a:avLst/>
          </a:prstGeom>
          <a:noFill/>
          <a:ln w="28575" cap="flat" cmpd="sng">
            <a:solidFill>
              <a:schemeClr val="accent4"/>
            </a:solidFill>
            <a:prstDash val="solid"/>
            <a:miter lim="800000"/>
            <a:headEnd type="none" w="sm" len="sm"/>
            <a:tailEnd type="none" w="sm" len="sm"/>
          </a:ln>
        </p:spPr>
      </p:cxnSp>
      <p:sp>
        <p:nvSpPr>
          <p:cNvPr id="19" name="Text Placeholder 36">
            <a:extLst>
              <a:ext uri="{FF2B5EF4-FFF2-40B4-BE49-F238E27FC236}">
                <a16:creationId xmlns:a16="http://schemas.microsoft.com/office/drawing/2014/main" id="{49E01793-04E8-4EA0-B6E1-F44894A3DFBC}"/>
              </a:ext>
            </a:extLst>
          </p:cNvPr>
          <p:cNvSpPr>
            <a:spLocks noGrp="1"/>
          </p:cNvSpPr>
          <p:nvPr>
            <p:ph type="body" sz="quarter" idx="14" hasCustomPrompt="1"/>
          </p:nvPr>
        </p:nvSpPr>
        <p:spPr>
          <a:xfrm>
            <a:off x="6648449" y="2538095"/>
            <a:ext cx="1810703" cy="369888"/>
          </a:xfrm>
        </p:spPr>
        <p:txBody>
          <a:bodyPr>
            <a:normAutofit/>
          </a:bodyPr>
          <a:lstStyle>
            <a:lvl1pPr marL="0" indent="0" algn="r">
              <a:buNone/>
              <a:defRPr sz="1800" b="1">
                <a:solidFill>
                  <a:schemeClr val="bg1"/>
                </a:solidFill>
              </a:defRPr>
            </a:lvl1pPr>
          </a:lstStyle>
          <a:p>
            <a:pPr lvl="0"/>
            <a:r>
              <a:rPr lang="en-US" dirty="0"/>
              <a:t>Sample</a:t>
            </a:r>
          </a:p>
        </p:txBody>
      </p:sp>
      <p:sp>
        <p:nvSpPr>
          <p:cNvPr id="20" name="Text Placeholder 40">
            <a:extLst>
              <a:ext uri="{FF2B5EF4-FFF2-40B4-BE49-F238E27FC236}">
                <a16:creationId xmlns:a16="http://schemas.microsoft.com/office/drawing/2014/main" id="{5C98D911-CB0A-97AD-ADFB-7BA8B64505D5}"/>
              </a:ext>
            </a:extLst>
          </p:cNvPr>
          <p:cNvSpPr>
            <a:spLocks noGrp="1"/>
          </p:cNvSpPr>
          <p:nvPr>
            <p:ph type="body" sz="quarter" idx="17" hasCustomPrompt="1"/>
          </p:nvPr>
        </p:nvSpPr>
        <p:spPr>
          <a:xfrm>
            <a:off x="6647924" y="2844325"/>
            <a:ext cx="1810703" cy="369888"/>
          </a:xfrm>
        </p:spPr>
        <p:txBody>
          <a:bodyPr>
            <a:noAutofit/>
          </a:bodyPr>
          <a:lstStyle>
            <a:lvl1pPr marL="0" indent="0" algn="r">
              <a:buNone/>
              <a:defRPr sz="1800">
                <a:solidFill>
                  <a:schemeClr val="bg1"/>
                </a:solidFill>
              </a:defRPr>
            </a:lvl1pPr>
          </a:lstStyle>
          <a:p>
            <a:pPr lvl="0"/>
            <a:r>
              <a:rPr lang="en-US" dirty="0"/>
              <a:t>Sample title</a:t>
            </a:r>
          </a:p>
        </p:txBody>
      </p:sp>
      <p:sp>
        <p:nvSpPr>
          <p:cNvPr id="23" name="Text Placeholder 36">
            <a:extLst>
              <a:ext uri="{FF2B5EF4-FFF2-40B4-BE49-F238E27FC236}">
                <a16:creationId xmlns:a16="http://schemas.microsoft.com/office/drawing/2014/main" id="{DDCFEC3F-8F9D-6E93-5503-DFF6AECD2303}"/>
              </a:ext>
            </a:extLst>
          </p:cNvPr>
          <p:cNvSpPr>
            <a:spLocks noGrp="1"/>
          </p:cNvSpPr>
          <p:nvPr>
            <p:ph type="body" sz="quarter" idx="18" hasCustomPrompt="1"/>
          </p:nvPr>
        </p:nvSpPr>
        <p:spPr>
          <a:xfrm>
            <a:off x="6648449" y="5235464"/>
            <a:ext cx="1810703" cy="369888"/>
          </a:xfrm>
        </p:spPr>
        <p:txBody>
          <a:bodyPr>
            <a:normAutofit/>
          </a:bodyPr>
          <a:lstStyle>
            <a:lvl1pPr marL="0" indent="0" algn="r">
              <a:buNone/>
              <a:defRPr sz="1800" b="1">
                <a:solidFill>
                  <a:schemeClr val="bg1"/>
                </a:solidFill>
              </a:defRPr>
            </a:lvl1pPr>
          </a:lstStyle>
          <a:p>
            <a:pPr lvl="0"/>
            <a:r>
              <a:rPr lang="en-US" dirty="0"/>
              <a:t>Sample</a:t>
            </a:r>
          </a:p>
        </p:txBody>
      </p:sp>
      <p:sp>
        <p:nvSpPr>
          <p:cNvPr id="24" name="Text Placeholder 40">
            <a:extLst>
              <a:ext uri="{FF2B5EF4-FFF2-40B4-BE49-F238E27FC236}">
                <a16:creationId xmlns:a16="http://schemas.microsoft.com/office/drawing/2014/main" id="{6CC53C61-5032-9E3C-C9AC-97EC9A7BCA14}"/>
              </a:ext>
            </a:extLst>
          </p:cNvPr>
          <p:cNvSpPr>
            <a:spLocks noGrp="1"/>
          </p:cNvSpPr>
          <p:nvPr>
            <p:ph type="body" sz="quarter" idx="19" hasCustomPrompt="1"/>
          </p:nvPr>
        </p:nvSpPr>
        <p:spPr>
          <a:xfrm>
            <a:off x="6647924" y="5541694"/>
            <a:ext cx="1810703" cy="369888"/>
          </a:xfrm>
        </p:spPr>
        <p:txBody>
          <a:bodyPr>
            <a:noAutofit/>
          </a:bodyPr>
          <a:lstStyle>
            <a:lvl1pPr marL="0" indent="0" algn="r">
              <a:buNone/>
              <a:defRPr sz="1800">
                <a:solidFill>
                  <a:schemeClr val="bg1"/>
                </a:solidFill>
              </a:defRPr>
            </a:lvl1pPr>
          </a:lstStyle>
          <a:p>
            <a:pPr lvl="0"/>
            <a:r>
              <a:rPr lang="en-US" dirty="0"/>
              <a:t>Sample title</a:t>
            </a:r>
          </a:p>
        </p:txBody>
      </p:sp>
      <p:sp>
        <p:nvSpPr>
          <p:cNvPr id="25" name="Title 24">
            <a:extLst>
              <a:ext uri="{FF2B5EF4-FFF2-40B4-BE49-F238E27FC236}">
                <a16:creationId xmlns:a16="http://schemas.microsoft.com/office/drawing/2014/main" id="{B3080745-6450-3660-A517-6AEA46EAE078}"/>
              </a:ext>
            </a:extLst>
          </p:cNvPr>
          <p:cNvSpPr>
            <a:spLocks noGrp="1"/>
          </p:cNvSpPr>
          <p:nvPr>
            <p:ph type="title"/>
          </p:nvPr>
        </p:nvSpPr>
        <p:spPr>
          <a:xfrm>
            <a:off x="1764325" y="892075"/>
            <a:ext cx="3889375" cy="708025"/>
          </a:xfrm>
        </p:spPr>
        <p:txBody>
          <a:bodyPr vert="horz" anchor="t">
            <a:normAutofit/>
          </a:bodyPr>
          <a:lstStyle>
            <a:lvl1pPr>
              <a:defRPr sz="4000"/>
            </a:lvl1pPr>
          </a:lstStyle>
          <a:p>
            <a:r>
              <a:rPr lang="en-US" dirty="0"/>
              <a:t>Click to edit</a:t>
            </a:r>
          </a:p>
        </p:txBody>
      </p:sp>
      <p:sp>
        <p:nvSpPr>
          <p:cNvPr id="32" name="Text Placeholder 31">
            <a:extLst>
              <a:ext uri="{FF2B5EF4-FFF2-40B4-BE49-F238E27FC236}">
                <a16:creationId xmlns:a16="http://schemas.microsoft.com/office/drawing/2014/main" id="{021D16C6-644F-55D9-1B5D-6FA0E0EE4120}"/>
              </a:ext>
            </a:extLst>
          </p:cNvPr>
          <p:cNvSpPr>
            <a:spLocks noGrp="1"/>
          </p:cNvSpPr>
          <p:nvPr>
            <p:ph type="body" sz="quarter" idx="20" hasCustomPrompt="1"/>
          </p:nvPr>
        </p:nvSpPr>
        <p:spPr>
          <a:xfrm>
            <a:off x="1763713" y="1730972"/>
            <a:ext cx="3889375" cy="369888"/>
          </a:xfrm>
        </p:spPr>
        <p:txBody>
          <a:bodyPr>
            <a:noAutofit/>
          </a:bodyPr>
          <a:lstStyle>
            <a:lvl1pPr marL="0" indent="0">
              <a:buNone/>
              <a:defRPr sz="1800"/>
            </a:lvl1pPr>
            <a:lvl2pPr marL="182880" indent="0">
              <a:buNone/>
              <a:defRPr sz="1800"/>
            </a:lvl2pPr>
            <a:lvl3pPr marL="365760" indent="0">
              <a:buNone/>
              <a:defRPr sz="1800"/>
            </a:lvl3pPr>
            <a:lvl4pPr marL="548640" indent="0">
              <a:buNone/>
              <a:defRPr sz="1800"/>
            </a:lvl4pPr>
            <a:lvl5pPr marL="731520" indent="0">
              <a:buNone/>
              <a:defRPr sz="1800"/>
            </a:lvl5pPr>
          </a:lstStyle>
          <a:p>
            <a:pPr lvl="0"/>
            <a:r>
              <a:rPr lang="en-US" dirty="0"/>
              <a:t>Sample headline</a:t>
            </a:r>
          </a:p>
        </p:txBody>
      </p:sp>
      <p:sp>
        <p:nvSpPr>
          <p:cNvPr id="37" name="Picture Placeholder 35">
            <a:extLst>
              <a:ext uri="{FF2B5EF4-FFF2-40B4-BE49-F238E27FC236}">
                <a16:creationId xmlns:a16="http://schemas.microsoft.com/office/drawing/2014/main" id="{A01E6A62-A0FA-65E2-9652-4185F1BB297F}"/>
              </a:ext>
            </a:extLst>
          </p:cNvPr>
          <p:cNvSpPr>
            <a:spLocks noGrp="1"/>
          </p:cNvSpPr>
          <p:nvPr>
            <p:ph type="pic" sz="quarter" idx="21"/>
          </p:nvPr>
        </p:nvSpPr>
        <p:spPr>
          <a:xfrm>
            <a:off x="-509" y="3429000"/>
            <a:ext cx="6391275" cy="3429000"/>
          </a:xfrm>
          <a:solidFill>
            <a:schemeClr val="tx2"/>
          </a:solidFill>
        </p:spPr>
        <p:txBody>
          <a:bodyPr/>
          <a:lstStyle/>
          <a:p>
            <a:endParaRPr lang="en-US"/>
          </a:p>
        </p:txBody>
      </p:sp>
      <p:sp>
        <p:nvSpPr>
          <p:cNvPr id="40" name="Picture Placeholder 38">
            <a:extLst>
              <a:ext uri="{FF2B5EF4-FFF2-40B4-BE49-F238E27FC236}">
                <a16:creationId xmlns:a16="http://schemas.microsoft.com/office/drawing/2014/main" id="{B2974A7E-8502-28F4-DB3B-6AE03780148F}"/>
              </a:ext>
            </a:extLst>
          </p:cNvPr>
          <p:cNvSpPr>
            <a:spLocks noGrp="1"/>
          </p:cNvSpPr>
          <p:nvPr>
            <p:ph type="pic" sz="quarter" idx="22"/>
          </p:nvPr>
        </p:nvSpPr>
        <p:spPr>
          <a:xfrm>
            <a:off x="8759825" y="-575"/>
            <a:ext cx="3432175" cy="3443288"/>
          </a:xfrm>
          <a:solidFill>
            <a:schemeClr val="tx2"/>
          </a:solidFill>
        </p:spPr>
        <p:txBody>
          <a:bodyPr/>
          <a:lstStyle/>
          <a:p>
            <a:endParaRPr lang="en-US"/>
          </a:p>
        </p:txBody>
      </p:sp>
      <p:sp>
        <p:nvSpPr>
          <p:cNvPr id="43" name="Picture Placeholder 41">
            <a:extLst>
              <a:ext uri="{FF2B5EF4-FFF2-40B4-BE49-F238E27FC236}">
                <a16:creationId xmlns:a16="http://schemas.microsoft.com/office/drawing/2014/main" id="{E78693DE-635A-78EC-F158-E50E017E9F56}"/>
              </a:ext>
            </a:extLst>
          </p:cNvPr>
          <p:cNvSpPr>
            <a:spLocks noGrp="1"/>
          </p:cNvSpPr>
          <p:nvPr>
            <p:ph type="pic" sz="quarter" idx="23"/>
          </p:nvPr>
        </p:nvSpPr>
        <p:spPr>
          <a:xfrm>
            <a:off x="8763000" y="3429000"/>
            <a:ext cx="3429000" cy="2728891"/>
          </a:xfrm>
          <a:solidFill>
            <a:schemeClr val="accent3"/>
          </a:solidFill>
        </p:spPr>
        <p:txBody>
          <a:bodyPr/>
          <a:lstStyle/>
          <a:p>
            <a:endParaRPr lang="en-US"/>
          </a:p>
        </p:txBody>
      </p:sp>
      <p:sp>
        <p:nvSpPr>
          <p:cNvPr id="12" name="Footer Placeholder 11">
            <a:extLst>
              <a:ext uri="{FF2B5EF4-FFF2-40B4-BE49-F238E27FC236}">
                <a16:creationId xmlns:a16="http://schemas.microsoft.com/office/drawing/2014/main" id="{1679A4BE-FF48-E123-1060-A9F794555737}"/>
              </a:ext>
            </a:extLst>
          </p:cNvPr>
          <p:cNvSpPr>
            <a:spLocks noGrp="1"/>
          </p:cNvSpPr>
          <p:nvPr>
            <p:ph type="ftr" sz="quarter" idx="24"/>
          </p:nvPr>
        </p:nvSpPr>
        <p:spPr>
          <a:xfrm>
            <a:off x="419101" y="6398540"/>
            <a:ext cx="8039526" cy="153888"/>
          </a:xfrm>
        </p:spPr>
        <p:txBody>
          <a:bodyPr/>
          <a:lstStyle>
            <a:lvl1pPr>
              <a:defRPr>
                <a:solidFill>
                  <a:schemeClr val="bg1"/>
                </a:solidFill>
              </a:defRPr>
            </a:lvl1pPr>
          </a:lstStyle>
          <a:p>
            <a:endParaRPr lang="en-US" dirty="0"/>
          </a:p>
        </p:txBody>
      </p:sp>
      <p:sp>
        <p:nvSpPr>
          <p:cNvPr id="4" name="TextBox 3">
            <a:extLst>
              <a:ext uri="{FF2B5EF4-FFF2-40B4-BE49-F238E27FC236}">
                <a16:creationId xmlns:a16="http://schemas.microsoft.com/office/drawing/2014/main" id="{30B4AF0E-7CCE-D571-C5A8-5F61DE46098E}"/>
              </a:ext>
            </a:extLst>
          </p:cNvPr>
          <p:cNvSpPr txBox="1"/>
          <p:nvPr userDrawn="1"/>
        </p:nvSpPr>
        <p:spPr>
          <a:xfrm>
            <a:off x="8485868" y="6400800"/>
            <a:ext cx="3287031"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2"/>
                </a:solidFill>
                <a:effectLst/>
                <a:latin typeface="+mn-lt"/>
                <a:ea typeface="Calibri" panose="020F0502020204030204" pitchFamily="34" charset="0"/>
                <a:cs typeface="+mn-cs"/>
              </a:rPr>
              <a:t>Powers the Future</a:t>
            </a:r>
            <a:endParaRPr lang="en-US" sz="1200" b="1" kern="0" dirty="0">
              <a:solidFill>
                <a:schemeClr val="bg2"/>
              </a:solidFill>
              <a:effectLst/>
              <a:latin typeface="+mn-lt"/>
              <a:cs typeface="+mn-cs"/>
            </a:endParaRPr>
          </a:p>
        </p:txBody>
      </p:sp>
    </p:spTree>
    <p:extLst>
      <p:ext uri="{BB962C8B-B14F-4D97-AF65-F5344CB8AC3E}">
        <p14:creationId xmlns:p14="http://schemas.microsoft.com/office/powerpoint/2010/main" val="35975226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ample Layout_10">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2975919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Google Shape;314;p14">
            <a:extLst>
              <a:ext uri="{FF2B5EF4-FFF2-40B4-BE49-F238E27FC236}">
                <a16:creationId xmlns:a16="http://schemas.microsoft.com/office/drawing/2014/main" id="{DEB73398-1981-A772-985E-22A02C66CC40}"/>
              </a:ext>
            </a:extLst>
          </p:cNvPr>
          <p:cNvSpPr/>
          <p:nvPr userDrawn="1"/>
        </p:nvSpPr>
        <p:spPr>
          <a:xfrm>
            <a:off x="0" y="2286001"/>
            <a:ext cx="2870200" cy="2286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 name="Google Shape;315;p14">
            <a:extLst>
              <a:ext uri="{FF2B5EF4-FFF2-40B4-BE49-F238E27FC236}">
                <a16:creationId xmlns:a16="http://schemas.microsoft.com/office/drawing/2014/main" id="{5D6014ED-3F00-D087-FE83-6F78C8913193}"/>
              </a:ext>
            </a:extLst>
          </p:cNvPr>
          <p:cNvSpPr/>
          <p:nvPr userDrawn="1"/>
        </p:nvSpPr>
        <p:spPr>
          <a:xfrm>
            <a:off x="2870200" y="1"/>
            <a:ext cx="2870200" cy="2286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 name="Google Shape;316;p14">
            <a:extLst>
              <a:ext uri="{FF2B5EF4-FFF2-40B4-BE49-F238E27FC236}">
                <a16:creationId xmlns:a16="http://schemas.microsoft.com/office/drawing/2014/main" id="{8746D1AE-B5FF-C65B-C343-21996AE9613F}"/>
              </a:ext>
            </a:extLst>
          </p:cNvPr>
          <p:cNvSpPr/>
          <p:nvPr userDrawn="1"/>
        </p:nvSpPr>
        <p:spPr>
          <a:xfrm>
            <a:off x="2870200" y="4572001"/>
            <a:ext cx="2870200" cy="2286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8" name="Google Shape;327;p14">
            <a:extLst>
              <a:ext uri="{FF2B5EF4-FFF2-40B4-BE49-F238E27FC236}">
                <a16:creationId xmlns:a16="http://schemas.microsoft.com/office/drawing/2014/main" id="{5C5CE71A-2F82-C990-EE06-2790A1269E56}"/>
              </a:ext>
            </a:extLst>
          </p:cNvPr>
          <p:cNvCxnSpPr>
            <a:cxnSpLocks/>
          </p:cNvCxnSpPr>
          <p:nvPr userDrawn="1"/>
        </p:nvCxnSpPr>
        <p:spPr>
          <a:xfrm>
            <a:off x="7097713" y="4384265"/>
            <a:ext cx="1344325" cy="0"/>
          </a:xfrm>
          <a:prstGeom prst="straightConnector1">
            <a:avLst/>
          </a:prstGeom>
          <a:noFill/>
          <a:ln w="28575" cap="flat" cmpd="sng">
            <a:solidFill>
              <a:schemeClr val="accent4"/>
            </a:solidFill>
            <a:prstDash val="solid"/>
            <a:miter lim="800000"/>
            <a:headEnd type="none" w="sm" len="sm"/>
            <a:tailEnd type="none" w="sm" len="sm"/>
          </a:ln>
        </p:spPr>
      </p:cxnSp>
      <p:pic>
        <p:nvPicPr>
          <p:cNvPr id="19" name="Picture 18" descr="A logo with a black background&#10;&#10;Description automatically generated">
            <a:extLst>
              <a:ext uri="{FF2B5EF4-FFF2-40B4-BE49-F238E27FC236}">
                <a16:creationId xmlns:a16="http://schemas.microsoft.com/office/drawing/2014/main" id="{FDE31A45-11B3-D5D8-4564-84174E217833}"/>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863081" y="5128945"/>
            <a:ext cx="2197848" cy="928955"/>
          </a:xfrm>
          <a:prstGeom prst="rect">
            <a:avLst/>
          </a:prstGeom>
        </p:spPr>
      </p:pic>
      <p:sp>
        <p:nvSpPr>
          <p:cNvPr id="22" name="Picture Placeholder 20">
            <a:extLst>
              <a:ext uri="{FF2B5EF4-FFF2-40B4-BE49-F238E27FC236}">
                <a16:creationId xmlns:a16="http://schemas.microsoft.com/office/drawing/2014/main" id="{A4007A8D-C319-8C6E-4DF4-E1B072BE33D5}"/>
              </a:ext>
            </a:extLst>
          </p:cNvPr>
          <p:cNvSpPr>
            <a:spLocks noGrp="1"/>
          </p:cNvSpPr>
          <p:nvPr>
            <p:ph type="pic" sz="quarter" idx="10"/>
          </p:nvPr>
        </p:nvSpPr>
        <p:spPr>
          <a:xfrm>
            <a:off x="0" y="0"/>
            <a:ext cx="2870200" cy="2286000"/>
          </a:xfrm>
          <a:solidFill>
            <a:schemeClr val="tx2"/>
          </a:solidFill>
        </p:spPr>
        <p:txBody>
          <a:bodyPr/>
          <a:lstStyle/>
          <a:p>
            <a:endParaRPr lang="en-US"/>
          </a:p>
        </p:txBody>
      </p:sp>
      <p:sp>
        <p:nvSpPr>
          <p:cNvPr id="25" name="Picture Placeholder 23">
            <a:extLst>
              <a:ext uri="{FF2B5EF4-FFF2-40B4-BE49-F238E27FC236}">
                <a16:creationId xmlns:a16="http://schemas.microsoft.com/office/drawing/2014/main" id="{8C249680-9953-A485-9084-B45C1C76F71A}"/>
              </a:ext>
            </a:extLst>
          </p:cNvPr>
          <p:cNvSpPr>
            <a:spLocks noGrp="1"/>
          </p:cNvSpPr>
          <p:nvPr>
            <p:ph type="pic" sz="quarter" idx="11"/>
          </p:nvPr>
        </p:nvSpPr>
        <p:spPr>
          <a:xfrm>
            <a:off x="0" y="4572001"/>
            <a:ext cx="2870200" cy="2286000"/>
          </a:xfrm>
          <a:solidFill>
            <a:schemeClr val="tx2"/>
          </a:solidFill>
        </p:spPr>
        <p:txBody>
          <a:bodyPr/>
          <a:lstStyle/>
          <a:p>
            <a:endParaRPr lang="en-US"/>
          </a:p>
        </p:txBody>
      </p:sp>
      <p:sp>
        <p:nvSpPr>
          <p:cNvPr id="28" name="Picture Placeholder 26">
            <a:extLst>
              <a:ext uri="{FF2B5EF4-FFF2-40B4-BE49-F238E27FC236}">
                <a16:creationId xmlns:a16="http://schemas.microsoft.com/office/drawing/2014/main" id="{BFA87BB0-A865-AE31-D0E2-52701760B355}"/>
              </a:ext>
            </a:extLst>
          </p:cNvPr>
          <p:cNvSpPr>
            <a:spLocks noGrp="1"/>
          </p:cNvSpPr>
          <p:nvPr>
            <p:ph type="pic" sz="quarter" idx="12"/>
          </p:nvPr>
        </p:nvSpPr>
        <p:spPr>
          <a:xfrm>
            <a:off x="2870200" y="2286001"/>
            <a:ext cx="2870200" cy="2286000"/>
          </a:xfrm>
          <a:solidFill>
            <a:schemeClr val="tx2"/>
          </a:solidFill>
        </p:spPr>
        <p:txBody>
          <a:bodyPr/>
          <a:lstStyle/>
          <a:p>
            <a:endParaRPr lang="en-US"/>
          </a:p>
        </p:txBody>
      </p:sp>
      <p:sp>
        <p:nvSpPr>
          <p:cNvPr id="29" name="Title 28">
            <a:extLst>
              <a:ext uri="{FF2B5EF4-FFF2-40B4-BE49-F238E27FC236}">
                <a16:creationId xmlns:a16="http://schemas.microsoft.com/office/drawing/2014/main" id="{2B3E391E-3107-9361-8249-1EC8A11F5DB6}"/>
              </a:ext>
            </a:extLst>
          </p:cNvPr>
          <p:cNvSpPr>
            <a:spLocks noGrp="1"/>
          </p:cNvSpPr>
          <p:nvPr>
            <p:ph type="title" hasCustomPrompt="1"/>
          </p:nvPr>
        </p:nvSpPr>
        <p:spPr>
          <a:xfrm>
            <a:off x="7097713" y="1644386"/>
            <a:ext cx="3211513" cy="1754188"/>
          </a:xfrm>
        </p:spPr>
        <p:txBody>
          <a:bodyPr vert="horz">
            <a:noAutofit/>
          </a:bodyPr>
          <a:lstStyle>
            <a:lvl1pPr>
              <a:defRPr sz="4800"/>
            </a:lvl1pPr>
          </a:lstStyle>
          <a:p>
            <a:r>
              <a:rPr lang="en-US" dirty="0"/>
              <a:t>SAMPLE TITLE</a:t>
            </a:r>
          </a:p>
        </p:txBody>
      </p:sp>
      <p:sp>
        <p:nvSpPr>
          <p:cNvPr id="35" name="Text Placeholder 34">
            <a:extLst>
              <a:ext uri="{FF2B5EF4-FFF2-40B4-BE49-F238E27FC236}">
                <a16:creationId xmlns:a16="http://schemas.microsoft.com/office/drawing/2014/main" id="{DE0FEA96-DC54-F6B9-5B16-8A80B1439B2E}"/>
              </a:ext>
            </a:extLst>
          </p:cNvPr>
          <p:cNvSpPr>
            <a:spLocks noGrp="1"/>
          </p:cNvSpPr>
          <p:nvPr>
            <p:ph type="body" sz="quarter" idx="13" hasCustomPrompt="1"/>
          </p:nvPr>
        </p:nvSpPr>
        <p:spPr>
          <a:xfrm>
            <a:off x="7097713" y="3582673"/>
            <a:ext cx="3211513" cy="369888"/>
          </a:xfrm>
        </p:spPr>
        <p:txBody>
          <a:bodyPr>
            <a:noAutofit/>
          </a:bodyPr>
          <a:lstStyle>
            <a:lvl1pPr marL="0" indent="0">
              <a:buNone/>
              <a:defRPr sz="1800"/>
            </a:lvl1pPr>
          </a:lstStyle>
          <a:p>
            <a:pPr lvl="0"/>
            <a:r>
              <a:rPr lang="en-US" dirty="0"/>
              <a:t>Sample small title</a:t>
            </a:r>
          </a:p>
        </p:txBody>
      </p:sp>
      <p:sp>
        <p:nvSpPr>
          <p:cNvPr id="37" name="Text Placeholder 36">
            <a:extLst>
              <a:ext uri="{FF2B5EF4-FFF2-40B4-BE49-F238E27FC236}">
                <a16:creationId xmlns:a16="http://schemas.microsoft.com/office/drawing/2014/main" id="{23F42EEC-7646-28B1-FEBD-D49CAD175DAB}"/>
              </a:ext>
            </a:extLst>
          </p:cNvPr>
          <p:cNvSpPr>
            <a:spLocks noGrp="1"/>
          </p:cNvSpPr>
          <p:nvPr>
            <p:ph type="body" sz="quarter" idx="14" hasCustomPrompt="1"/>
          </p:nvPr>
        </p:nvSpPr>
        <p:spPr>
          <a:xfrm>
            <a:off x="3125788" y="1327387"/>
            <a:ext cx="1925638" cy="368300"/>
          </a:xfrm>
        </p:spPr>
        <p:txBody>
          <a:bodyPr>
            <a:normAutofit/>
          </a:bodyPr>
          <a:lstStyle>
            <a:lvl1pPr marL="0" indent="0">
              <a:buNone/>
              <a:defRPr sz="1800" b="1">
                <a:solidFill>
                  <a:schemeClr val="bg1"/>
                </a:solidFill>
              </a:defRPr>
            </a:lvl1pPr>
          </a:lstStyle>
          <a:p>
            <a:pPr lvl="0"/>
            <a:r>
              <a:rPr lang="en-US" dirty="0"/>
              <a:t>Sample title</a:t>
            </a:r>
          </a:p>
        </p:txBody>
      </p:sp>
      <p:sp>
        <p:nvSpPr>
          <p:cNvPr id="38" name="Text Placeholder 36">
            <a:extLst>
              <a:ext uri="{FF2B5EF4-FFF2-40B4-BE49-F238E27FC236}">
                <a16:creationId xmlns:a16="http://schemas.microsoft.com/office/drawing/2014/main" id="{CD195F09-B242-214B-1346-0F0D1D1B2CF6}"/>
              </a:ext>
            </a:extLst>
          </p:cNvPr>
          <p:cNvSpPr>
            <a:spLocks noGrp="1"/>
          </p:cNvSpPr>
          <p:nvPr>
            <p:ph type="body" sz="quarter" idx="15" hasCustomPrompt="1"/>
          </p:nvPr>
        </p:nvSpPr>
        <p:spPr>
          <a:xfrm>
            <a:off x="234950" y="3574156"/>
            <a:ext cx="1925638" cy="368300"/>
          </a:xfrm>
        </p:spPr>
        <p:txBody>
          <a:bodyPr>
            <a:normAutofit/>
          </a:bodyPr>
          <a:lstStyle>
            <a:lvl1pPr marL="0" indent="0">
              <a:buNone/>
              <a:defRPr sz="1800" b="1">
                <a:solidFill>
                  <a:schemeClr val="bg1"/>
                </a:solidFill>
              </a:defRPr>
            </a:lvl1pPr>
          </a:lstStyle>
          <a:p>
            <a:pPr lvl="0"/>
            <a:r>
              <a:rPr lang="en-US" dirty="0"/>
              <a:t>Sample title</a:t>
            </a:r>
          </a:p>
        </p:txBody>
      </p:sp>
      <p:sp>
        <p:nvSpPr>
          <p:cNvPr id="39" name="Text Placeholder 36">
            <a:extLst>
              <a:ext uri="{FF2B5EF4-FFF2-40B4-BE49-F238E27FC236}">
                <a16:creationId xmlns:a16="http://schemas.microsoft.com/office/drawing/2014/main" id="{A32081A8-FA0D-3FDF-8A3E-077C7409C890}"/>
              </a:ext>
            </a:extLst>
          </p:cNvPr>
          <p:cNvSpPr>
            <a:spLocks noGrp="1"/>
          </p:cNvSpPr>
          <p:nvPr>
            <p:ph type="body" sz="quarter" idx="16" hasCustomPrompt="1"/>
          </p:nvPr>
        </p:nvSpPr>
        <p:spPr>
          <a:xfrm>
            <a:off x="3144838" y="5902382"/>
            <a:ext cx="1925638" cy="368300"/>
          </a:xfrm>
        </p:spPr>
        <p:txBody>
          <a:bodyPr>
            <a:normAutofit/>
          </a:bodyPr>
          <a:lstStyle>
            <a:lvl1pPr marL="0" indent="0">
              <a:buNone/>
              <a:defRPr sz="1800" b="1">
                <a:solidFill>
                  <a:schemeClr val="tx1"/>
                </a:solidFill>
              </a:defRPr>
            </a:lvl1pPr>
          </a:lstStyle>
          <a:p>
            <a:pPr lvl="0"/>
            <a:r>
              <a:rPr lang="en-US" dirty="0"/>
              <a:t>Sample title</a:t>
            </a:r>
          </a:p>
        </p:txBody>
      </p:sp>
      <p:sp>
        <p:nvSpPr>
          <p:cNvPr id="41" name="Text Placeholder 40">
            <a:extLst>
              <a:ext uri="{FF2B5EF4-FFF2-40B4-BE49-F238E27FC236}">
                <a16:creationId xmlns:a16="http://schemas.microsoft.com/office/drawing/2014/main" id="{F23BE336-5AF9-0214-E5C1-A02CD6166EAE}"/>
              </a:ext>
            </a:extLst>
          </p:cNvPr>
          <p:cNvSpPr>
            <a:spLocks noGrp="1"/>
          </p:cNvSpPr>
          <p:nvPr>
            <p:ph type="body" sz="quarter" idx="17" hasCustomPrompt="1"/>
          </p:nvPr>
        </p:nvSpPr>
        <p:spPr>
          <a:xfrm>
            <a:off x="3126562" y="1633576"/>
            <a:ext cx="1925638" cy="369888"/>
          </a:xfrm>
        </p:spPr>
        <p:txBody>
          <a:bodyPr>
            <a:noAutofit/>
          </a:bodyPr>
          <a:lstStyle>
            <a:lvl1pPr marL="0" indent="0">
              <a:buNone/>
              <a:defRPr sz="1800">
                <a:solidFill>
                  <a:schemeClr val="bg1"/>
                </a:solidFill>
              </a:defRPr>
            </a:lvl1pPr>
          </a:lstStyle>
          <a:p>
            <a:pPr lvl="0"/>
            <a:r>
              <a:rPr lang="en-US" dirty="0"/>
              <a:t>Sample</a:t>
            </a:r>
          </a:p>
        </p:txBody>
      </p:sp>
      <p:sp>
        <p:nvSpPr>
          <p:cNvPr id="42" name="Text Placeholder 40">
            <a:extLst>
              <a:ext uri="{FF2B5EF4-FFF2-40B4-BE49-F238E27FC236}">
                <a16:creationId xmlns:a16="http://schemas.microsoft.com/office/drawing/2014/main" id="{1DAE5523-1E68-0EFF-EB40-D42A1EB4EBFE}"/>
              </a:ext>
            </a:extLst>
          </p:cNvPr>
          <p:cNvSpPr>
            <a:spLocks noGrp="1"/>
          </p:cNvSpPr>
          <p:nvPr>
            <p:ph type="body" sz="quarter" idx="18" hasCustomPrompt="1"/>
          </p:nvPr>
        </p:nvSpPr>
        <p:spPr>
          <a:xfrm>
            <a:off x="234663" y="3880345"/>
            <a:ext cx="1925638" cy="369888"/>
          </a:xfrm>
        </p:spPr>
        <p:txBody>
          <a:bodyPr>
            <a:noAutofit/>
          </a:bodyPr>
          <a:lstStyle>
            <a:lvl1pPr marL="0" indent="0">
              <a:buNone/>
              <a:defRPr sz="1800">
                <a:solidFill>
                  <a:schemeClr val="bg1"/>
                </a:solidFill>
              </a:defRPr>
            </a:lvl1pPr>
          </a:lstStyle>
          <a:p>
            <a:pPr lvl="0"/>
            <a:r>
              <a:rPr lang="en-US" dirty="0"/>
              <a:t>Sample</a:t>
            </a:r>
          </a:p>
        </p:txBody>
      </p:sp>
      <p:sp>
        <p:nvSpPr>
          <p:cNvPr id="43" name="Text Placeholder 40">
            <a:extLst>
              <a:ext uri="{FF2B5EF4-FFF2-40B4-BE49-F238E27FC236}">
                <a16:creationId xmlns:a16="http://schemas.microsoft.com/office/drawing/2014/main" id="{19DD38DD-9496-6A81-B192-65ACD8483D99}"/>
              </a:ext>
            </a:extLst>
          </p:cNvPr>
          <p:cNvSpPr>
            <a:spLocks noGrp="1"/>
          </p:cNvSpPr>
          <p:nvPr>
            <p:ph type="body" sz="quarter" idx="19" hasCustomPrompt="1"/>
          </p:nvPr>
        </p:nvSpPr>
        <p:spPr>
          <a:xfrm>
            <a:off x="3144838" y="6208571"/>
            <a:ext cx="1925638" cy="369888"/>
          </a:xfrm>
        </p:spPr>
        <p:txBody>
          <a:bodyPr>
            <a:noAutofit/>
          </a:bodyPr>
          <a:lstStyle>
            <a:lvl1pPr marL="0" indent="0">
              <a:buNone/>
              <a:defRPr sz="1800">
                <a:solidFill>
                  <a:schemeClr val="tx1"/>
                </a:solidFill>
              </a:defRPr>
            </a:lvl1pPr>
          </a:lstStyle>
          <a:p>
            <a:pPr lvl="0"/>
            <a:r>
              <a:rPr lang="en-US" dirty="0"/>
              <a:t>Sample</a:t>
            </a:r>
          </a:p>
        </p:txBody>
      </p:sp>
    </p:spTree>
    <p:extLst>
      <p:ext uri="{BB962C8B-B14F-4D97-AF65-F5344CB8AC3E}">
        <p14:creationId xmlns:p14="http://schemas.microsoft.com/office/powerpoint/2010/main" val="32376420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ample Layout_11">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2162590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332;p15">
            <a:extLst>
              <a:ext uri="{FF2B5EF4-FFF2-40B4-BE49-F238E27FC236}">
                <a16:creationId xmlns:a16="http://schemas.microsoft.com/office/drawing/2014/main" id="{EFDCCCD3-99CF-1D83-2B82-F4159425E4B3}"/>
              </a:ext>
            </a:extLst>
          </p:cNvPr>
          <p:cNvSpPr/>
          <p:nvPr userDrawn="1"/>
        </p:nvSpPr>
        <p:spPr>
          <a:xfrm>
            <a:off x="7689197" y="0"/>
            <a:ext cx="4502804" cy="6858000"/>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 name="Google Shape;333;p15">
            <a:extLst>
              <a:ext uri="{FF2B5EF4-FFF2-40B4-BE49-F238E27FC236}">
                <a16:creationId xmlns:a16="http://schemas.microsoft.com/office/drawing/2014/main" id="{A80F68E1-11A2-1808-69BF-A0C155F6789D}"/>
              </a:ext>
            </a:extLst>
          </p:cNvPr>
          <p:cNvSpPr/>
          <p:nvPr userDrawn="1"/>
        </p:nvSpPr>
        <p:spPr>
          <a:xfrm>
            <a:off x="7689196" y="800100"/>
            <a:ext cx="1753057" cy="1753057"/>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 name="Google Shape;334;p15">
            <a:extLst>
              <a:ext uri="{FF2B5EF4-FFF2-40B4-BE49-F238E27FC236}">
                <a16:creationId xmlns:a16="http://schemas.microsoft.com/office/drawing/2014/main" id="{ED3355BE-BF39-081E-C847-EB850DD49916}"/>
              </a:ext>
            </a:extLst>
          </p:cNvPr>
          <p:cNvSpPr/>
          <p:nvPr userDrawn="1"/>
        </p:nvSpPr>
        <p:spPr>
          <a:xfrm>
            <a:off x="5936139" y="2552471"/>
            <a:ext cx="1753057" cy="1753057"/>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 name="Google Shape;335;p15">
            <a:extLst>
              <a:ext uri="{FF2B5EF4-FFF2-40B4-BE49-F238E27FC236}">
                <a16:creationId xmlns:a16="http://schemas.microsoft.com/office/drawing/2014/main" id="{D3908DF3-36ED-E582-36E1-A65E92EF6797}"/>
              </a:ext>
            </a:extLst>
          </p:cNvPr>
          <p:cNvSpPr/>
          <p:nvPr userDrawn="1"/>
        </p:nvSpPr>
        <p:spPr>
          <a:xfrm>
            <a:off x="9442253" y="2552471"/>
            <a:ext cx="1753057" cy="1753057"/>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 name="Google Shape;336;p15">
            <a:extLst>
              <a:ext uri="{FF2B5EF4-FFF2-40B4-BE49-F238E27FC236}">
                <a16:creationId xmlns:a16="http://schemas.microsoft.com/office/drawing/2014/main" id="{DEA9A1C3-FF74-2781-6597-AFBDC37BE4A6}"/>
              </a:ext>
            </a:extLst>
          </p:cNvPr>
          <p:cNvSpPr/>
          <p:nvPr userDrawn="1"/>
        </p:nvSpPr>
        <p:spPr>
          <a:xfrm>
            <a:off x="7689196" y="4304843"/>
            <a:ext cx="1753057" cy="1753057"/>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7" name="Google Shape;346;p15">
            <a:extLst>
              <a:ext uri="{FF2B5EF4-FFF2-40B4-BE49-F238E27FC236}">
                <a16:creationId xmlns:a16="http://schemas.microsoft.com/office/drawing/2014/main" id="{02B54590-D359-A6E8-132F-C461FAD31C52}"/>
              </a:ext>
            </a:extLst>
          </p:cNvPr>
          <p:cNvCxnSpPr/>
          <p:nvPr userDrawn="1"/>
        </p:nvCxnSpPr>
        <p:spPr>
          <a:xfrm>
            <a:off x="-12" y="800090"/>
            <a:ext cx="2172900" cy="0"/>
          </a:xfrm>
          <a:prstGeom prst="straightConnector1">
            <a:avLst/>
          </a:prstGeom>
          <a:noFill/>
          <a:ln w="28575" cap="flat" cmpd="sng">
            <a:solidFill>
              <a:schemeClr val="accent4"/>
            </a:solidFill>
            <a:prstDash val="solid"/>
            <a:miter lim="800000"/>
            <a:headEnd type="none" w="sm" len="sm"/>
            <a:tailEnd type="none" w="sm" len="sm"/>
          </a:ln>
        </p:spPr>
      </p:cxnSp>
      <p:pic>
        <p:nvPicPr>
          <p:cNvPr id="18" name="Picture 17" descr="A logo with a black background&#10;&#10;Description automatically generated">
            <a:extLst>
              <a:ext uri="{FF2B5EF4-FFF2-40B4-BE49-F238E27FC236}">
                <a16:creationId xmlns:a16="http://schemas.microsoft.com/office/drawing/2014/main" id="{BFAF1127-9D5E-3375-C1C8-010E9481170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71435" y="5310011"/>
            <a:ext cx="2197848" cy="928955"/>
          </a:xfrm>
          <a:prstGeom prst="rect">
            <a:avLst/>
          </a:prstGeom>
        </p:spPr>
      </p:pic>
      <p:sp>
        <p:nvSpPr>
          <p:cNvPr id="19" name="Title 18">
            <a:extLst>
              <a:ext uri="{FF2B5EF4-FFF2-40B4-BE49-F238E27FC236}">
                <a16:creationId xmlns:a16="http://schemas.microsoft.com/office/drawing/2014/main" id="{2A940701-2BA5-3B80-7A09-560299C4BF74}"/>
              </a:ext>
            </a:extLst>
          </p:cNvPr>
          <p:cNvSpPr>
            <a:spLocks noGrp="1"/>
          </p:cNvSpPr>
          <p:nvPr>
            <p:ph type="title" hasCustomPrompt="1"/>
          </p:nvPr>
        </p:nvSpPr>
        <p:spPr>
          <a:xfrm>
            <a:off x="996949" y="1712629"/>
            <a:ext cx="4102100" cy="1200150"/>
          </a:xfrm>
        </p:spPr>
        <p:txBody>
          <a:bodyPr vert="horz">
            <a:normAutofit/>
          </a:bodyPr>
          <a:lstStyle>
            <a:lvl1pPr>
              <a:defRPr sz="3600"/>
            </a:lvl1pPr>
          </a:lstStyle>
          <a:p>
            <a:r>
              <a:rPr lang="en-US" dirty="0"/>
              <a:t>SAMPLE HEADLINE</a:t>
            </a:r>
          </a:p>
        </p:txBody>
      </p:sp>
      <p:sp>
        <p:nvSpPr>
          <p:cNvPr id="25" name="Text Placeholder 24">
            <a:extLst>
              <a:ext uri="{FF2B5EF4-FFF2-40B4-BE49-F238E27FC236}">
                <a16:creationId xmlns:a16="http://schemas.microsoft.com/office/drawing/2014/main" id="{1A332516-8328-3349-7124-D1A2FC24FE01}"/>
              </a:ext>
            </a:extLst>
          </p:cNvPr>
          <p:cNvSpPr>
            <a:spLocks noGrp="1"/>
          </p:cNvSpPr>
          <p:nvPr>
            <p:ph type="body" sz="quarter" idx="10" hasCustomPrompt="1"/>
          </p:nvPr>
        </p:nvSpPr>
        <p:spPr>
          <a:xfrm>
            <a:off x="996949" y="1405391"/>
            <a:ext cx="4102100" cy="368300"/>
          </a:xfrm>
        </p:spPr>
        <p:txBody>
          <a:bodyPr>
            <a:noAutofit/>
          </a:bodyPr>
          <a:lstStyle>
            <a:lvl1pPr marL="0" indent="0">
              <a:buNone/>
              <a:defRPr sz="1800"/>
            </a:lvl1pPr>
          </a:lstStyle>
          <a:p>
            <a:pPr lvl="0"/>
            <a:r>
              <a:rPr lang="en-US" dirty="0"/>
              <a:t>Sample title</a:t>
            </a:r>
          </a:p>
        </p:txBody>
      </p:sp>
      <p:sp>
        <p:nvSpPr>
          <p:cNvPr id="28" name="Text Placeholder 27">
            <a:extLst>
              <a:ext uri="{FF2B5EF4-FFF2-40B4-BE49-F238E27FC236}">
                <a16:creationId xmlns:a16="http://schemas.microsoft.com/office/drawing/2014/main" id="{FDE8B246-26CD-0A5D-A51F-3EF6DDACC6A2}"/>
              </a:ext>
            </a:extLst>
          </p:cNvPr>
          <p:cNvSpPr>
            <a:spLocks noGrp="1"/>
          </p:cNvSpPr>
          <p:nvPr>
            <p:ph type="body" sz="quarter" idx="11"/>
          </p:nvPr>
        </p:nvSpPr>
        <p:spPr>
          <a:xfrm>
            <a:off x="997691" y="3175643"/>
            <a:ext cx="4102100" cy="1754188"/>
          </a:xfrm>
        </p:spPr>
        <p:txBody>
          <a:bodyPr>
            <a:noAutofit/>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Picture Placeholder 29">
            <a:extLst>
              <a:ext uri="{FF2B5EF4-FFF2-40B4-BE49-F238E27FC236}">
                <a16:creationId xmlns:a16="http://schemas.microsoft.com/office/drawing/2014/main" id="{01D17C81-7F67-6206-ED38-60248D0EA2A9}"/>
              </a:ext>
            </a:extLst>
          </p:cNvPr>
          <p:cNvSpPr>
            <a:spLocks noGrp="1"/>
          </p:cNvSpPr>
          <p:nvPr>
            <p:ph type="pic" sz="quarter" idx="12"/>
          </p:nvPr>
        </p:nvSpPr>
        <p:spPr>
          <a:xfrm>
            <a:off x="5935009" y="800557"/>
            <a:ext cx="1754188" cy="1752600"/>
          </a:xfrm>
          <a:solidFill>
            <a:schemeClr val="tx2"/>
          </a:solidFill>
        </p:spPr>
        <p:txBody>
          <a:bodyPr/>
          <a:lstStyle/>
          <a:p>
            <a:endParaRPr lang="en-US"/>
          </a:p>
        </p:txBody>
      </p:sp>
      <p:sp>
        <p:nvSpPr>
          <p:cNvPr id="34" name="Picture Placeholder 32">
            <a:extLst>
              <a:ext uri="{FF2B5EF4-FFF2-40B4-BE49-F238E27FC236}">
                <a16:creationId xmlns:a16="http://schemas.microsoft.com/office/drawing/2014/main" id="{B36F1371-9047-5B8F-0306-43A28E9C89E6}"/>
              </a:ext>
            </a:extLst>
          </p:cNvPr>
          <p:cNvSpPr>
            <a:spLocks noGrp="1"/>
          </p:cNvSpPr>
          <p:nvPr>
            <p:ph type="pic" sz="quarter" idx="13"/>
          </p:nvPr>
        </p:nvSpPr>
        <p:spPr>
          <a:xfrm>
            <a:off x="9442253" y="800101"/>
            <a:ext cx="1752600" cy="1752600"/>
          </a:xfrm>
          <a:solidFill>
            <a:schemeClr val="tx2"/>
          </a:solidFill>
        </p:spPr>
        <p:txBody>
          <a:bodyPr/>
          <a:lstStyle/>
          <a:p>
            <a:endParaRPr lang="en-US"/>
          </a:p>
        </p:txBody>
      </p:sp>
      <p:sp>
        <p:nvSpPr>
          <p:cNvPr id="37" name="Picture Placeholder 35">
            <a:extLst>
              <a:ext uri="{FF2B5EF4-FFF2-40B4-BE49-F238E27FC236}">
                <a16:creationId xmlns:a16="http://schemas.microsoft.com/office/drawing/2014/main" id="{E16BB587-0493-1383-A1BE-99BD73E9120B}"/>
              </a:ext>
            </a:extLst>
          </p:cNvPr>
          <p:cNvSpPr>
            <a:spLocks noGrp="1"/>
          </p:cNvSpPr>
          <p:nvPr>
            <p:ph type="pic" sz="quarter" idx="14"/>
          </p:nvPr>
        </p:nvSpPr>
        <p:spPr>
          <a:xfrm>
            <a:off x="7689197" y="2552928"/>
            <a:ext cx="1752600" cy="1752600"/>
          </a:xfrm>
          <a:solidFill>
            <a:schemeClr val="tx2"/>
          </a:solidFill>
        </p:spPr>
        <p:txBody>
          <a:bodyPr/>
          <a:lstStyle/>
          <a:p>
            <a:endParaRPr lang="en-US"/>
          </a:p>
        </p:txBody>
      </p:sp>
      <p:sp>
        <p:nvSpPr>
          <p:cNvPr id="40" name="Picture Placeholder 38">
            <a:extLst>
              <a:ext uri="{FF2B5EF4-FFF2-40B4-BE49-F238E27FC236}">
                <a16:creationId xmlns:a16="http://schemas.microsoft.com/office/drawing/2014/main" id="{ED41663E-D0C5-861D-E4EC-A882A0AC5EDF}"/>
              </a:ext>
            </a:extLst>
          </p:cNvPr>
          <p:cNvSpPr>
            <a:spLocks noGrp="1"/>
          </p:cNvSpPr>
          <p:nvPr>
            <p:ph type="pic" sz="quarter" idx="15"/>
          </p:nvPr>
        </p:nvSpPr>
        <p:spPr>
          <a:xfrm>
            <a:off x="9442253" y="4304844"/>
            <a:ext cx="1752600" cy="1752600"/>
          </a:xfrm>
          <a:solidFill>
            <a:schemeClr val="tx2"/>
          </a:solidFill>
        </p:spPr>
        <p:txBody>
          <a:bodyPr/>
          <a:lstStyle/>
          <a:p>
            <a:endParaRPr lang="en-US"/>
          </a:p>
        </p:txBody>
      </p:sp>
      <p:sp>
        <p:nvSpPr>
          <p:cNvPr id="43" name="Picture Placeholder 41">
            <a:extLst>
              <a:ext uri="{FF2B5EF4-FFF2-40B4-BE49-F238E27FC236}">
                <a16:creationId xmlns:a16="http://schemas.microsoft.com/office/drawing/2014/main" id="{E2F9DA35-B8AB-C8B8-DDF1-74C8FEE28F5E}"/>
              </a:ext>
            </a:extLst>
          </p:cNvPr>
          <p:cNvSpPr>
            <a:spLocks noGrp="1"/>
          </p:cNvSpPr>
          <p:nvPr>
            <p:ph type="pic" sz="quarter" idx="16"/>
          </p:nvPr>
        </p:nvSpPr>
        <p:spPr>
          <a:xfrm>
            <a:off x="5936140" y="4305300"/>
            <a:ext cx="1754188" cy="1752600"/>
          </a:xfrm>
          <a:solidFill>
            <a:schemeClr val="tx2"/>
          </a:solidFill>
        </p:spPr>
        <p:txBody>
          <a:bodyPr/>
          <a:lstStyle/>
          <a:p>
            <a:endParaRPr lang="en-US"/>
          </a:p>
        </p:txBody>
      </p:sp>
      <p:sp>
        <p:nvSpPr>
          <p:cNvPr id="15" name="Footer Placeholder 14">
            <a:extLst>
              <a:ext uri="{FF2B5EF4-FFF2-40B4-BE49-F238E27FC236}">
                <a16:creationId xmlns:a16="http://schemas.microsoft.com/office/drawing/2014/main" id="{A9C18027-9E61-5E75-D168-6164D9E06DCD}"/>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70488525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ample Layout_12">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825033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Google Shape;364;p17">
            <a:extLst>
              <a:ext uri="{FF2B5EF4-FFF2-40B4-BE49-F238E27FC236}">
                <a16:creationId xmlns:a16="http://schemas.microsoft.com/office/drawing/2014/main" id="{6765D164-3D13-7C11-BD5B-1EADE2E02816}"/>
              </a:ext>
            </a:extLst>
          </p:cNvPr>
          <p:cNvSpPr/>
          <p:nvPr userDrawn="1"/>
        </p:nvSpPr>
        <p:spPr>
          <a:xfrm>
            <a:off x="5613722" y="3549486"/>
            <a:ext cx="6578278" cy="3308514"/>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oogle Shape;369;p17">
            <a:extLst>
              <a:ext uri="{FF2B5EF4-FFF2-40B4-BE49-F238E27FC236}">
                <a16:creationId xmlns:a16="http://schemas.microsoft.com/office/drawing/2014/main" id="{3516ED0B-42AE-F360-E7E3-1BD15F763232}"/>
              </a:ext>
            </a:extLst>
          </p:cNvPr>
          <p:cNvSpPr/>
          <p:nvPr userDrawn="1"/>
        </p:nvSpPr>
        <p:spPr>
          <a:xfrm>
            <a:off x="10545999" y="0"/>
            <a:ext cx="1646001" cy="3549486"/>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 name="Picture 15" descr="A logo with a black background&#10;&#10;Description automatically generated">
            <a:extLst>
              <a:ext uri="{FF2B5EF4-FFF2-40B4-BE49-F238E27FC236}">
                <a16:creationId xmlns:a16="http://schemas.microsoft.com/office/drawing/2014/main" id="{3EEE6227-E404-DD5B-D50E-EEB7A23FE3A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76937" y="909070"/>
            <a:ext cx="2197848" cy="928955"/>
          </a:xfrm>
          <a:prstGeom prst="rect">
            <a:avLst/>
          </a:prstGeom>
        </p:spPr>
      </p:pic>
      <p:sp>
        <p:nvSpPr>
          <p:cNvPr id="17" name="Rectangle 16">
            <a:extLst>
              <a:ext uri="{FF2B5EF4-FFF2-40B4-BE49-F238E27FC236}">
                <a16:creationId xmlns:a16="http://schemas.microsoft.com/office/drawing/2014/main" id="{542D8B30-05BE-7BC0-596A-41DA0A7BAF52}"/>
              </a:ext>
            </a:extLst>
          </p:cNvPr>
          <p:cNvSpPr/>
          <p:nvPr userDrawn="1"/>
        </p:nvSpPr>
        <p:spPr>
          <a:xfrm>
            <a:off x="5991003" y="3989332"/>
            <a:ext cx="396875" cy="3952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1F57027-BD74-8889-0FE8-A1DD7FA5FA83}"/>
              </a:ext>
            </a:extLst>
          </p:cNvPr>
          <p:cNvSpPr/>
          <p:nvPr userDrawn="1"/>
        </p:nvSpPr>
        <p:spPr>
          <a:xfrm>
            <a:off x="6495153" y="3989332"/>
            <a:ext cx="396875" cy="3952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9D204CFE-C7A5-A6D0-8A52-6CA89A11B557}"/>
              </a:ext>
            </a:extLst>
          </p:cNvPr>
          <p:cNvSpPr/>
          <p:nvPr userDrawn="1"/>
        </p:nvSpPr>
        <p:spPr>
          <a:xfrm>
            <a:off x="6999302" y="3989332"/>
            <a:ext cx="396875" cy="3952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Picture Placeholder 24">
            <a:extLst>
              <a:ext uri="{FF2B5EF4-FFF2-40B4-BE49-F238E27FC236}">
                <a16:creationId xmlns:a16="http://schemas.microsoft.com/office/drawing/2014/main" id="{DE144F57-24CD-B5C3-AFF1-EEACDE77E4C1}"/>
              </a:ext>
            </a:extLst>
          </p:cNvPr>
          <p:cNvSpPr>
            <a:spLocks noGrp="1"/>
          </p:cNvSpPr>
          <p:nvPr>
            <p:ph type="pic" sz="quarter" idx="16"/>
          </p:nvPr>
        </p:nvSpPr>
        <p:spPr>
          <a:xfrm>
            <a:off x="5613639" y="2"/>
            <a:ext cx="4932363" cy="3549650"/>
          </a:xfrm>
          <a:solidFill>
            <a:schemeClr val="tx2"/>
          </a:solidFill>
        </p:spPr>
        <p:txBody>
          <a:bodyPr/>
          <a:lstStyle/>
          <a:p>
            <a:endParaRPr lang="en-US"/>
          </a:p>
        </p:txBody>
      </p:sp>
      <p:sp>
        <p:nvSpPr>
          <p:cNvPr id="27" name="Title 26">
            <a:extLst>
              <a:ext uri="{FF2B5EF4-FFF2-40B4-BE49-F238E27FC236}">
                <a16:creationId xmlns:a16="http://schemas.microsoft.com/office/drawing/2014/main" id="{9B223E74-03D9-A6EF-D80F-43D7882BB89C}"/>
              </a:ext>
            </a:extLst>
          </p:cNvPr>
          <p:cNvSpPr>
            <a:spLocks noGrp="1"/>
          </p:cNvSpPr>
          <p:nvPr>
            <p:ph type="title"/>
          </p:nvPr>
        </p:nvSpPr>
        <p:spPr>
          <a:xfrm>
            <a:off x="971550" y="2536765"/>
            <a:ext cx="3810000" cy="1077913"/>
          </a:xfrm>
        </p:spPr>
        <p:txBody>
          <a:bodyPr vert="horz">
            <a:normAutofit/>
          </a:bodyPr>
          <a:lstStyle>
            <a:lvl1pPr>
              <a:defRPr sz="3200"/>
            </a:lvl1pPr>
          </a:lstStyle>
          <a:p>
            <a:r>
              <a:rPr lang="en-US" dirty="0"/>
              <a:t>Click to edit Master title style</a:t>
            </a:r>
          </a:p>
        </p:txBody>
      </p:sp>
      <p:sp>
        <p:nvSpPr>
          <p:cNvPr id="33" name="Text Placeholder 32">
            <a:extLst>
              <a:ext uri="{FF2B5EF4-FFF2-40B4-BE49-F238E27FC236}">
                <a16:creationId xmlns:a16="http://schemas.microsoft.com/office/drawing/2014/main" id="{B75D6AFB-3842-CE3A-B0A0-7D4DF0088C0B}"/>
              </a:ext>
            </a:extLst>
          </p:cNvPr>
          <p:cNvSpPr>
            <a:spLocks noGrp="1"/>
          </p:cNvSpPr>
          <p:nvPr>
            <p:ph type="body" sz="quarter" idx="17" hasCustomPrompt="1"/>
          </p:nvPr>
        </p:nvSpPr>
        <p:spPr>
          <a:xfrm>
            <a:off x="971550" y="2231142"/>
            <a:ext cx="3810000" cy="306388"/>
          </a:xfrm>
        </p:spPr>
        <p:txBody>
          <a:bodyPr>
            <a:normAutofit/>
          </a:bodyPr>
          <a:lstStyle>
            <a:lvl1pPr marL="0" indent="0">
              <a:buNone/>
              <a:defRPr sz="1400"/>
            </a:lvl1pPr>
          </a:lstStyle>
          <a:p>
            <a:pPr lvl="0"/>
            <a:r>
              <a:rPr lang="en-US" dirty="0"/>
              <a:t>Our Service</a:t>
            </a:r>
          </a:p>
        </p:txBody>
      </p:sp>
      <p:sp>
        <p:nvSpPr>
          <p:cNvPr id="36" name="Text Placeholder 35">
            <a:extLst>
              <a:ext uri="{FF2B5EF4-FFF2-40B4-BE49-F238E27FC236}">
                <a16:creationId xmlns:a16="http://schemas.microsoft.com/office/drawing/2014/main" id="{5D711B85-98CC-6F2E-DAB6-44A18866B42E}"/>
              </a:ext>
            </a:extLst>
          </p:cNvPr>
          <p:cNvSpPr>
            <a:spLocks noGrp="1"/>
          </p:cNvSpPr>
          <p:nvPr>
            <p:ph type="body" sz="quarter" idx="18"/>
          </p:nvPr>
        </p:nvSpPr>
        <p:spPr>
          <a:xfrm>
            <a:off x="971550" y="3990737"/>
            <a:ext cx="3810000" cy="1477963"/>
          </a:xfrm>
        </p:spPr>
        <p:txBody>
          <a:bodyPr>
            <a:noAutofit/>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8" name="Text Placeholder 35">
            <a:extLst>
              <a:ext uri="{FF2B5EF4-FFF2-40B4-BE49-F238E27FC236}">
                <a16:creationId xmlns:a16="http://schemas.microsoft.com/office/drawing/2014/main" id="{1C094583-FFF8-E92B-62E4-CCBDD20CCD22}"/>
              </a:ext>
            </a:extLst>
          </p:cNvPr>
          <p:cNvSpPr>
            <a:spLocks noGrp="1"/>
          </p:cNvSpPr>
          <p:nvPr>
            <p:ph type="body" sz="quarter" idx="19"/>
          </p:nvPr>
        </p:nvSpPr>
        <p:spPr>
          <a:xfrm>
            <a:off x="5991650" y="4777789"/>
            <a:ext cx="5781250" cy="923925"/>
          </a:xfrm>
        </p:spPr>
        <p:txBody>
          <a:bodyPr>
            <a:noAutofit/>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Footer Placeholder 40">
            <a:extLst>
              <a:ext uri="{FF2B5EF4-FFF2-40B4-BE49-F238E27FC236}">
                <a16:creationId xmlns:a16="http://schemas.microsoft.com/office/drawing/2014/main" id="{57BAA898-582C-1A01-A675-0762BB683290}"/>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20950080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bout page_1">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3880664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145;p2">
            <a:extLst>
              <a:ext uri="{FF2B5EF4-FFF2-40B4-BE49-F238E27FC236}">
                <a16:creationId xmlns:a16="http://schemas.microsoft.com/office/drawing/2014/main" id="{39D0A688-CA04-1113-37B9-F19C00C1D481}"/>
              </a:ext>
            </a:extLst>
          </p:cNvPr>
          <p:cNvSpPr/>
          <p:nvPr userDrawn="1"/>
        </p:nvSpPr>
        <p:spPr>
          <a:xfrm>
            <a:off x="4001850" y="830474"/>
            <a:ext cx="3398838" cy="1009825"/>
          </a:xfrm>
          <a:prstGeom prst="rect">
            <a:avLst/>
          </a:prstGeom>
          <a:solidFill>
            <a:schemeClr val="accent2">
              <a:lumMod val="20000"/>
              <a:lumOff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8" name="Google Shape;148;p2">
            <a:extLst>
              <a:ext uri="{FF2B5EF4-FFF2-40B4-BE49-F238E27FC236}">
                <a16:creationId xmlns:a16="http://schemas.microsoft.com/office/drawing/2014/main" id="{2EC24C5D-14B9-B06C-DDA3-F6D0D976BECE}"/>
              </a:ext>
            </a:extLst>
          </p:cNvPr>
          <p:cNvCxnSpPr/>
          <p:nvPr userDrawn="1"/>
        </p:nvCxnSpPr>
        <p:spPr>
          <a:xfrm>
            <a:off x="7401288" y="5745915"/>
            <a:ext cx="1752600" cy="0"/>
          </a:xfrm>
          <a:prstGeom prst="straightConnector1">
            <a:avLst/>
          </a:prstGeom>
          <a:noFill/>
          <a:ln w="28575" cap="flat" cmpd="sng">
            <a:solidFill>
              <a:schemeClr val="accent4"/>
            </a:solidFill>
            <a:prstDash val="solid"/>
            <a:miter lim="800000"/>
            <a:headEnd type="none" w="sm" len="sm"/>
            <a:tailEnd type="none" w="sm" len="sm"/>
          </a:ln>
        </p:spPr>
      </p:cxnSp>
      <p:pic>
        <p:nvPicPr>
          <p:cNvPr id="9" name="Picture 8" descr="A logo with a black background&#10;&#10;Description automatically generated">
            <a:extLst>
              <a:ext uri="{FF2B5EF4-FFF2-40B4-BE49-F238E27FC236}">
                <a16:creationId xmlns:a16="http://schemas.microsoft.com/office/drawing/2014/main" id="{C2B4977C-2C78-B20B-4840-5FECFA049DA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969367" y="1961963"/>
            <a:ext cx="2943365" cy="1244062"/>
          </a:xfrm>
          <a:prstGeom prst="rect">
            <a:avLst/>
          </a:prstGeom>
        </p:spPr>
      </p:pic>
      <p:sp>
        <p:nvSpPr>
          <p:cNvPr id="11" name="Title 10">
            <a:extLst>
              <a:ext uri="{FF2B5EF4-FFF2-40B4-BE49-F238E27FC236}">
                <a16:creationId xmlns:a16="http://schemas.microsoft.com/office/drawing/2014/main" id="{650AE7BB-8389-9B3D-1812-08F025B418CE}"/>
              </a:ext>
            </a:extLst>
          </p:cNvPr>
          <p:cNvSpPr>
            <a:spLocks noGrp="1"/>
          </p:cNvSpPr>
          <p:nvPr>
            <p:ph type="title" hasCustomPrompt="1"/>
          </p:nvPr>
        </p:nvSpPr>
        <p:spPr>
          <a:xfrm>
            <a:off x="8199694" y="3102446"/>
            <a:ext cx="2760663" cy="1016000"/>
          </a:xfrm>
        </p:spPr>
        <p:txBody>
          <a:bodyPr vert="horz">
            <a:noAutofit/>
          </a:bodyPr>
          <a:lstStyle>
            <a:lvl1pPr>
              <a:defRPr sz="6000"/>
            </a:lvl1pPr>
          </a:lstStyle>
          <a:p>
            <a:r>
              <a:rPr lang="en-US"/>
              <a:t>About </a:t>
            </a:r>
          </a:p>
        </p:txBody>
      </p:sp>
      <p:sp>
        <p:nvSpPr>
          <p:cNvPr id="17" name="Text Placeholder 16">
            <a:extLst>
              <a:ext uri="{FF2B5EF4-FFF2-40B4-BE49-F238E27FC236}">
                <a16:creationId xmlns:a16="http://schemas.microsoft.com/office/drawing/2014/main" id="{407077D2-8ED2-A691-9E95-83F079FD8652}"/>
              </a:ext>
            </a:extLst>
          </p:cNvPr>
          <p:cNvSpPr>
            <a:spLocks noGrp="1"/>
          </p:cNvSpPr>
          <p:nvPr>
            <p:ph type="body" sz="quarter" idx="10" hasCustomPrompt="1"/>
          </p:nvPr>
        </p:nvSpPr>
        <p:spPr>
          <a:xfrm>
            <a:off x="8199694" y="4117975"/>
            <a:ext cx="2760663" cy="339725"/>
          </a:xfrm>
        </p:spPr>
        <p:txBody>
          <a:bodyPr/>
          <a:lstStyle>
            <a:lvl1pPr marL="0" indent="0">
              <a:buNone/>
              <a:defRPr sz="1600"/>
            </a:lvl1pPr>
            <a:lvl2pPr>
              <a:defRPr sz="1600"/>
            </a:lvl2pPr>
            <a:lvl3pPr>
              <a:defRPr sz="1600"/>
            </a:lvl3pPr>
            <a:lvl4pPr>
              <a:defRPr sz="1600"/>
            </a:lvl4pPr>
            <a:lvl5pPr>
              <a:defRPr sz="1600"/>
            </a:lvl5pPr>
          </a:lstStyle>
          <a:p>
            <a:pPr lvl="0"/>
            <a:r>
              <a:rPr lang="en-US"/>
              <a:t>Sub Title</a:t>
            </a:r>
          </a:p>
        </p:txBody>
      </p:sp>
      <p:sp>
        <p:nvSpPr>
          <p:cNvPr id="19" name="Footer Placeholder 18">
            <a:extLst>
              <a:ext uri="{FF2B5EF4-FFF2-40B4-BE49-F238E27FC236}">
                <a16:creationId xmlns:a16="http://schemas.microsoft.com/office/drawing/2014/main" id="{037E97C8-D8E0-F7DA-6C5B-5F08D9B9141F}"/>
              </a:ext>
            </a:extLst>
          </p:cNvPr>
          <p:cNvSpPr>
            <a:spLocks noGrp="1"/>
          </p:cNvSpPr>
          <p:nvPr>
            <p:ph type="ftr" sz="quarter" idx="11"/>
          </p:nvPr>
        </p:nvSpPr>
        <p:spPr/>
        <p:txBody>
          <a:bodyPr/>
          <a:lstStyle/>
          <a:p>
            <a:endParaRPr lang="en-US"/>
          </a:p>
        </p:txBody>
      </p:sp>
      <p:sp>
        <p:nvSpPr>
          <p:cNvPr id="23" name="Picture Placeholder 21">
            <a:extLst>
              <a:ext uri="{FF2B5EF4-FFF2-40B4-BE49-F238E27FC236}">
                <a16:creationId xmlns:a16="http://schemas.microsoft.com/office/drawing/2014/main" id="{DC100832-6CFD-9279-219C-B0F27410CA6A}"/>
              </a:ext>
            </a:extLst>
          </p:cNvPr>
          <p:cNvSpPr>
            <a:spLocks noGrp="1"/>
          </p:cNvSpPr>
          <p:nvPr>
            <p:ph type="pic" sz="quarter" idx="13"/>
          </p:nvPr>
        </p:nvSpPr>
        <p:spPr>
          <a:xfrm>
            <a:off x="-270" y="836458"/>
            <a:ext cx="4002088" cy="5224463"/>
          </a:xfrm>
          <a:solidFill>
            <a:schemeClr val="tx2"/>
          </a:solidFill>
        </p:spPr>
        <p:txBody>
          <a:bodyPr/>
          <a:lstStyle/>
          <a:p>
            <a:endParaRPr lang="en-US"/>
          </a:p>
        </p:txBody>
      </p:sp>
      <p:sp>
        <p:nvSpPr>
          <p:cNvPr id="26" name="Picture Placeholder 24">
            <a:extLst>
              <a:ext uri="{FF2B5EF4-FFF2-40B4-BE49-F238E27FC236}">
                <a16:creationId xmlns:a16="http://schemas.microsoft.com/office/drawing/2014/main" id="{17E2BEF4-4B2C-80DB-5AB1-5935473B8020}"/>
              </a:ext>
            </a:extLst>
          </p:cNvPr>
          <p:cNvSpPr>
            <a:spLocks noGrp="1"/>
          </p:cNvSpPr>
          <p:nvPr>
            <p:ph type="pic" sz="quarter" idx="14"/>
          </p:nvPr>
        </p:nvSpPr>
        <p:spPr>
          <a:xfrm>
            <a:off x="4001850" y="1839913"/>
            <a:ext cx="3398838" cy="4471988"/>
          </a:xfrm>
          <a:solidFill>
            <a:schemeClr val="tx2"/>
          </a:solidFill>
        </p:spPr>
        <p:txBody>
          <a:bodyPr/>
          <a:lstStyle/>
          <a:p>
            <a:endParaRPr lang="en-US"/>
          </a:p>
        </p:txBody>
      </p:sp>
    </p:spTree>
    <p:extLst>
      <p:ext uri="{BB962C8B-B14F-4D97-AF65-F5344CB8AC3E}">
        <p14:creationId xmlns:p14="http://schemas.microsoft.com/office/powerpoint/2010/main" val="1322255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ample Layout_13">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1976328727"/>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379;p18">
            <a:extLst>
              <a:ext uri="{FF2B5EF4-FFF2-40B4-BE49-F238E27FC236}">
                <a16:creationId xmlns:a16="http://schemas.microsoft.com/office/drawing/2014/main" id="{C34E640E-F267-E34C-ADE6-363059B33EE2}"/>
              </a:ext>
            </a:extLst>
          </p:cNvPr>
          <p:cNvSpPr/>
          <p:nvPr userDrawn="1"/>
        </p:nvSpPr>
        <p:spPr>
          <a:xfrm>
            <a:off x="0" y="0"/>
            <a:ext cx="3119400" cy="6858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 name="Picture 9" descr="A logo with a black background&#10;&#10;Description automatically generated">
            <a:extLst>
              <a:ext uri="{FF2B5EF4-FFF2-40B4-BE49-F238E27FC236}">
                <a16:creationId xmlns:a16="http://schemas.microsoft.com/office/drawing/2014/main" id="{5C13425B-1473-27F5-96CC-4E284F1B23B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995796" y="5407075"/>
            <a:ext cx="2197848" cy="928955"/>
          </a:xfrm>
          <a:prstGeom prst="rect">
            <a:avLst/>
          </a:prstGeom>
        </p:spPr>
      </p:pic>
      <p:sp>
        <p:nvSpPr>
          <p:cNvPr id="15" name="Picture Placeholder 14">
            <a:extLst>
              <a:ext uri="{FF2B5EF4-FFF2-40B4-BE49-F238E27FC236}">
                <a16:creationId xmlns:a16="http://schemas.microsoft.com/office/drawing/2014/main" id="{CEC65B6C-75B6-1171-44AA-CBA5BC3A0042}"/>
              </a:ext>
            </a:extLst>
          </p:cNvPr>
          <p:cNvSpPr>
            <a:spLocks noGrp="1"/>
          </p:cNvSpPr>
          <p:nvPr>
            <p:ph type="pic" sz="quarter" idx="10"/>
          </p:nvPr>
        </p:nvSpPr>
        <p:spPr>
          <a:xfrm>
            <a:off x="833212" y="789587"/>
            <a:ext cx="4525963" cy="5280025"/>
          </a:xfrm>
          <a:custGeom>
            <a:avLst/>
            <a:gdLst>
              <a:gd name="connsiteX0" fmla="*/ 0 w 4525963"/>
              <a:gd name="connsiteY0" fmla="*/ 0 h 5280025"/>
              <a:gd name="connsiteX1" fmla="*/ 4525963 w 4525963"/>
              <a:gd name="connsiteY1" fmla="*/ 0 h 5280025"/>
              <a:gd name="connsiteX2" fmla="*/ 4525963 w 4525963"/>
              <a:gd name="connsiteY2" fmla="*/ 1385237 h 5280025"/>
              <a:gd name="connsiteX3" fmla="*/ 2286945 w 4525963"/>
              <a:gd name="connsiteY3" fmla="*/ 1385237 h 5280025"/>
              <a:gd name="connsiteX4" fmla="*/ 2286945 w 4525963"/>
              <a:gd name="connsiteY4" fmla="*/ 5280025 h 5280025"/>
              <a:gd name="connsiteX5" fmla="*/ 0 w 4525963"/>
              <a:gd name="connsiteY5" fmla="*/ 5280025 h 528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5963" h="5280025">
                <a:moveTo>
                  <a:pt x="0" y="0"/>
                </a:moveTo>
                <a:lnTo>
                  <a:pt x="4525963" y="0"/>
                </a:lnTo>
                <a:lnTo>
                  <a:pt x="4525963" y="1385237"/>
                </a:lnTo>
                <a:lnTo>
                  <a:pt x="2286945" y="1385237"/>
                </a:lnTo>
                <a:lnTo>
                  <a:pt x="2286945" y="5280025"/>
                </a:lnTo>
                <a:lnTo>
                  <a:pt x="0" y="5280025"/>
                </a:lnTo>
                <a:close/>
              </a:path>
            </a:pathLst>
          </a:custGeom>
          <a:solidFill>
            <a:schemeClr val="tx2"/>
          </a:solidFill>
          <a:ln>
            <a:noFill/>
          </a:ln>
        </p:spPr>
        <p:txBody>
          <a:bodyPr wrap="square">
            <a:noAutofit/>
          </a:bodyPr>
          <a:lstStyle/>
          <a:p>
            <a:endParaRPr lang="en-US"/>
          </a:p>
        </p:txBody>
      </p:sp>
      <p:sp>
        <p:nvSpPr>
          <p:cNvPr id="18" name="Picture Placeholder 16">
            <a:extLst>
              <a:ext uri="{FF2B5EF4-FFF2-40B4-BE49-F238E27FC236}">
                <a16:creationId xmlns:a16="http://schemas.microsoft.com/office/drawing/2014/main" id="{C56A8C88-643B-BC61-814B-AB7503D9FA35}"/>
              </a:ext>
            </a:extLst>
          </p:cNvPr>
          <p:cNvSpPr>
            <a:spLocks noGrp="1"/>
          </p:cNvSpPr>
          <p:nvPr>
            <p:ph type="pic" sz="quarter" idx="11"/>
          </p:nvPr>
        </p:nvSpPr>
        <p:spPr>
          <a:xfrm>
            <a:off x="3120157" y="2173887"/>
            <a:ext cx="3338513" cy="3895725"/>
          </a:xfrm>
          <a:solidFill>
            <a:schemeClr val="accent3"/>
          </a:solidFill>
        </p:spPr>
        <p:txBody>
          <a:bodyPr/>
          <a:lstStyle/>
          <a:p>
            <a:endParaRPr lang="en-US"/>
          </a:p>
        </p:txBody>
      </p:sp>
      <p:sp>
        <p:nvSpPr>
          <p:cNvPr id="19" name="Title 18">
            <a:extLst>
              <a:ext uri="{FF2B5EF4-FFF2-40B4-BE49-F238E27FC236}">
                <a16:creationId xmlns:a16="http://schemas.microsoft.com/office/drawing/2014/main" id="{54854FD0-DB78-8A8A-467C-2E31C5197638}"/>
              </a:ext>
            </a:extLst>
          </p:cNvPr>
          <p:cNvSpPr>
            <a:spLocks noGrp="1"/>
          </p:cNvSpPr>
          <p:nvPr>
            <p:ph type="title" hasCustomPrompt="1"/>
          </p:nvPr>
        </p:nvSpPr>
        <p:spPr>
          <a:xfrm>
            <a:off x="7208516" y="1386621"/>
            <a:ext cx="4103688" cy="1076325"/>
          </a:xfrm>
        </p:spPr>
        <p:txBody>
          <a:bodyPr vert="horz">
            <a:normAutofit/>
          </a:bodyPr>
          <a:lstStyle>
            <a:lvl1pPr>
              <a:defRPr sz="3200"/>
            </a:lvl1pPr>
          </a:lstStyle>
          <a:p>
            <a:r>
              <a:rPr lang="en-US" dirty="0"/>
              <a:t>SAMPLE HEADLINE</a:t>
            </a:r>
          </a:p>
        </p:txBody>
      </p:sp>
      <p:sp>
        <p:nvSpPr>
          <p:cNvPr id="25" name="Text Placeholder 24">
            <a:extLst>
              <a:ext uri="{FF2B5EF4-FFF2-40B4-BE49-F238E27FC236}">
                <a16:creationId xmlns:a16="http://schemas.microsoft.com/office/drawing/2014/main" id="{3C8FD2B0-79F7-5527-ECBE-144EBD281206}"/>
              </a:ext>
            </a:extLst>
          </p:cNvPr>
          <p:cNvSpPr>
            <a:spLocks noGrp="1"/>
          </p:cNvSpPr>
          <p:nvPr>
            <p:ph type="body" sz="quarter" idx="12" hasCustomPrompt="1"/>
          </p:nvPr>
        </p:nvSpPr>
        <p:spPr>
          <a:xfrm>
            <a:off x="7208516" y="1077793"/>
            <a:ext cx="4103688" cy="307975"/>
          </a:xfrm>
        </p:spPr>
        <p:txBody>
          <a:bodyPr>
            <a:normAutofit/>
          </a:bodyPr>
          <a:lstStyle>
            <a:lvl1pPr marL="0" indent="0">
              <a:buNone/>
              <a:defRPr sz="1400"/>
            </a:lvl1pPr>
          </a:lstStyle>
          <a:p>
            <a:pPr lvl="0"/>
            <a:r>
              <a:rPr lang="en-US" dirty="0"/>
              <a:t>Our Services</a:t>
            </a:r>
          </a:p>
        </p:txBody>
      </p:sp>
      <p:sp>
        <p:nvSpPr>
          <p:cNvPr id="27" name="Text Placeholder 26">
            <a:extLst>
              <a:ext uri="{FF2B5EF4-FFF2-40B4-BE49-F238E27FC236}">
                <a16:creationId xmlns:a16="http://schemas.microsoft.com/office/drawing/2014/main" id="{2DEE50CC-D88F-5A61-77B9-5C38FBA69635}"/>
              </a:ext>
            </a:extLst>
          </p:cNvPr>
          <p:cNvSpPr>
            <a:spLocks noGrp="1"/>
          </p:cNvSpPr>
          <p:nvPr>
            <p:ph type="body" sz="quarter" idx="13"/>
          </p:nvPr>
        </p:nvSpPr>
        <p:spPr>
          <a:xfrm>
            <a:off x="7208516" y="2429183"/>
            <a:ext cx="4103688" cy="2308225"/>
          </a:xfrm>
        </p:spPr>
        <p:txBody>
          <a:bodyPr>
            <a:noAutofit/>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6DB9EFB0-7AE4-562B-8960-8FDB2CBD213F}"/>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2"/>
                </a:solidFill>
                <a:effectLst/>
                <a:latin typeface="+mn-lt"/>
                <a:ea typeface="Calibri" panose="020F0502020204030204" pitchFamily="34" charset="0"/>
                <a:cs typeface="+mn-cs"/>
              </a:rPr>
              <a:t>Powers the Future</a:t>
            </a:r>
            <a:endParaRPr lang="en-US" sz="1200" b="1" kern="0" dirty="0">
              <a:solidFill>
                <a:schemeClr val="bg2"/>
              </a:solidFill>
              <a:effectLst/>
              <a:latin typeface="+mn-lt"/>
              <a:cs typeface="+mn-cs"/>
            </a:endParaRPr>
          </a:p>
        </p:txBody>
      </p:sp>
    </p:spTree>
    <p:extLst>
      <p:ext uri="{BB962C8B-B14F-4D97-AF65-F5344CB8AC3E}">
        <p14:creationId xmlns:p14="http://schemas.microsoft.com/office/powerpoint/2010/main" val="203714885"/>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ample Layout_14">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3915085887"/>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6" name="Google Shape;395;p19">
            <a:extLst>
              <a:ext uri="{FF2B5EF4-FFF2-40B4-BE49-F238E27FC236}">
                <a16:creationId xmlns:a16="http://schemas.microsoft.com/office/drawing/2014/main" id="{B45CA4CF-DA5F-6859-850E-8F0C4E685FF0}"/>
              </a:ext>
            </a:extLst>
          </p:cNvPr>
          <p:cNvSpPr/>
          <p:nvPr userDrawn="1"/>
        </p:nvSpPr>
        <p:spPr>
          <a:xfrm>
            <a:off x="6261905" y="0"/>
            <a:ext cx="5225246" cy="4120587"/>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 name="Google Shape;396;p19">
            <a:extLst>
              <a:ext uri="{FF2B5EF4-FFF2-40B4-BE49-F238E27FC236}">
                <a16:creationId xmlns:a16="http://schemas.microsoft.com/office/drawing/2014/main" id="{71172AA2-F003-2AB6-8426-81A1EDA20C4E}"/>
              </a:ext>
            </a:extLst>
          </p:cNvPr>
          <p:cNvSpPr/>
          <p:nvPr userDrawn="1"/>
        </p:nvSpPr>
        <p:spPr>
          <a:xfrm>
            <a:off x="1229640" y="4120587"/>
            <a:ext cx="5032265" cy="2737413"/>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 name="Picture Placeholder 11">
            <a:extLst>
              <a:ext uri="{FF2B5EF4-FFF2-40B4-BE49-F238E27FC236}">
                <a16:creationId xmlns:a16="http://schemas.microsoft.com/office/drawing/2014/main" id="{1A6263BB-6147-0A24-37D3-DBADBE00BBBF}"/>
              </a:ext>
            </a:extLst>
          </p:cNvPr>
          <p:cNvSpPr>
            <a:spLocks noGrp="1"/>
          </p:cNvSpPr>
          <p:nvPr>
            <p:ph type="pic" sz="quarter" idx="10"/>
          </p:nvPr>
        </p:nvSpPr>
        <p:spPr>
          <a:xfrm>
            <a:off x="7220096" y="949250"/>
            <a:ext cx="4267055" cy="5291893"/>
          </a:xfrm>
          <a:solidFill>
            <a:schemeClr val="tx2"/>
          </a:solidFill>
          <a:ln>
            <a:noFill/>
          </a:ln>
        </p:spPr>
        <p:txBody>
          <a:bodyPr/>
          <a:lstStyle/>
          <a:p>
            <a:endParaRPr lang="en-US"/>
          </a:p>
        </p:txBody>
      </p:sp>
      <p:sp>
        <p:nvSpPr>
          <p:cNvPr id="15" name="Text Placeholder 14">
            <a:extLst>
              <a:ext uri="{FF2B5EF4-FFF2-40B4-BE49-F238E27FC236}">
                <a16:creationId xmlns:a16="http://schemas.microsoft.com/office/drawing/2014/main" id="{2972C7A4-6E85-8435-7C1B-D6B38D7E22FA}"/>
              </a:ext>
            </a:extLst>
          </p:cNvPr>
          <p:cNvSpPr>
            <a:spLocks noGrp="1"/>
          </p:cNvSpPr>
          <p:nvPr>
            <p:ph type="body" sz="quarter" idx="11" hasCustomPrompt="1"/>
          </p:nvPr>
        </p:nvSpPr>
        <p:spPr>
          <a:xfrm>
            <a:off x="1706562" y="4673476"/>
            <a:ext cx="4025900" cy="338138"/>
          </a:xfrm>
        </p:spPr>
        <p:txBody>
          <a:bodyPr>
            <a:normAutofit/>
          </a:bodyPr>
          <a:lstStyle>
            <a:lvl1pPr marL="0" indent="0">
              <a:buNone/>
              <a:defRPr sz="1600">
                <a:solidFill>
                  <a:schemeClr val="bg1"/>
                </a:solidFill>
              </a:defRPr>
            </a:lvl1pPr>
          </a:lstStyle>
          <a:p>
            <a:pPr lvl="0"/>
            <a:r>
              <a:rPr lang="en-US" dirty="0"/>
              <a:t>Our Services</a:t>
            </a:r>
          </a:p>
        </p:txBody>
      </p:sp>
      <p:sp>
        <p:nvSpPr>
          <p:cNvPr id="17" name="Text Placeholder 16">
            <a:extLst>
              <a:ext uri="{FF2B5EF4-FFF2-40B4-BE49-F238E27FC236}">
                <a16:creationId xmlns:a16="http://schemas.microsoft.com/office/drawing/2014/main" id="{0656C942-9C1C-5560-8A0B-60C7B6EECF07}"/>
              </a:ext>
            </a:extLst>
          </p:cNvPr>
          <p:cNvSpPr>
            <a:spLocks noGrp="1"/>
          </p:cNvSpPr>
          <p:nvPr>
            <p:ph type="body" sz="quarter" idx="12"/>
          </p:nvPr>
        </p:nvSpPr>
        <p:spPr>
          <a:xfrm>
            <a:off x="1707243" y="5113328"/>
            <a:ext cx="4025900" cy="923925"/>
          </a:xfrm>
        </p:spPr>
        <p:txBody>
          <a:bodyPr/>
          <a:lstStyle>
            <a:lvl1pPr marL="0" indent="0">
              <a:lnSpc>
                <a:spcPct val="150000"/>
              </a:lnSpc>
              <a:buNone/>
              <a:defRPr>
                <a:solidFill>
                  <a:schemeClr val="bg1"/>
                </a:solidFill>
              </a:defRPr>
            </a:lvl1pPr>
            <a:lvl2pPr marL="182880" indent="0">
              <a:lnSpc>
                <a:spcPct val="150000"/>
              </a:lnSpc>
              <a:buNone/>
              <a:defRPr>
                <a:solidFill>
                  <a:schemeClr val="bg1"/>
                </a:solidFill>
              </a:defRPr>
            </a:lvl2pPr>
            <a:lvl3pPr marL="365760" indent="0">
              <a:lnSpc>
                <a:spcPct val="150000"/>
              </a:lnSpc>
              <a:buNone/>
              <a:defRPr>
                <a:solidFill>
                  <a:schemeClr val="bg1"/>
                </a:solidFill>
              </a:defRPr>
            </a:lvl3pPr>
            <a:lvl4pPr marL="548640" indent="0">
              <a:lnSpc>
                <a:spcPct val="150000"/>
              </a:lnSpc>
              <a:buNone/>
              <a:defRPr>
                <a:solidFill>
                  <a:schemeClr val="bg1"/>
                </a:solidFill>
              </a:defRPr>
            </a:lvl4pPr>
            <a:lvl5pPr marL="731520" indent="0">
              <a:lnSpc>
                <a:spcPct val="150000"/>
              </a:lnSpc>
              <a:buNone/>
              <a:defRPr>
                <a:solidFill>
                  <a:schemeClr val="bg1"/>
                </a:solidFill>
              </a:defRPr>
            </a:lvl5pPr>
          </a:lstStyle>
          <a:p>
            <a:pPr lvl="0"/>
            <a:r>
              <a:rPr lang="en-US" dirty="0"/>
              <a:t>Click to edit Master text styles</a:t>
            </a:r>
          </a:p>
        </p:txBody>
      </p:sp>
      <p:sp>
        <p:nvSpPr>
          <p:cNvPr id="19" name="Text Placeholder 18">
            <a:extLst>
              <a:ext uri="{FF2B5EF4-FFF2-40B4-BE49-F238E27FC236}">
                <a16:creationId xmlns:a16="http://schemas.microsoft.com/office/drawing/2014/main" id="{76768012-0E5E-BF19-5A93-F3A8AF5336CF}"/>
              </a:ext>
            </a:extLst>
          </p:cNvPr>
          <p:cNvSpPr>
            <a:spLocks noGrp="1"/>
          </p:cNvSpPr>
          <p:nvPr>
            <p:ph type="body" sz="quarter" idx="13"/>
          </p:nvPr>
        </p:nvSpPr>
        <p:spPr>
          <a:xfrm>
            <a:off x="1230631" y="2585713"/>
            <a:ext cx="4102100" cy="923925"/>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itle 19">
            <a:extLst>
              <a:ext uri="{FF2B5EF4-FFF2-40B4-BE49-F238E27FC236}">
                <a16:creationId xmlns:a16="http://schemas.microsoft.com/office/drawing/2014/main" id="{839440F4-9F08-545D-1C1A-681CD7D99446}"/>
              </a:ext>
            </a:extLst>
          </p:cNvPr>
          <p:cNvSpPr>
            <a:spLocks noGrp="1"/>
          </p:cNvSpPr>
          <p:nvPr>
            <p:ph type="title" hasCustomPrompt="1"/>
          </p:nvPr>
        </p:nvSpPr>
        <p:spPr>
          <a:xfrm>
            <a:off x="1230631" y="1078693"/>
            <a:ext cx="4102100" cy="1200150"/>
          </a:xfrm>
        </p:spPr>
        <p:txBody>
          <a:bodyPr vert="horz">
            <a:normAutofit/>
          </a:bodyPr>
          <a:lstStyle>
            <a:lvl1pPr>
              <a:defRPr sz="3600"/>
            </a:lvl1pPr>
          </a:lstStyle>
          <a:p>
            <a:r>
              <a:rPr lang="en-US" dirty="0"/>
              <a:t>SAMPLE HEADLINE</a:t>
            </a:r>
          </a:p>
        </p:txBody>
      </p:sp>
      <p:sp>
        <p:nvSpPr>
          <p:cNvPr id="26" name="Text Placeholder 25">
            <a:extLst>
              <a:ext uri="{FF2B5EF4-FFF2-40B4-BE49-F238E27FC236}">
                <a16:creationId xmlns:a16="http://schemas.microsoft.com/office/drawing/2014/main" id="{86651C78-CCFD-C561-5E2F-3331E21B1287}"/>
              </a:ext>
            </a:extLst>
          </p:cNvPr>
          <p:cNvSpPr>
            <a:spLocks noGrp="1"/>
          </p:cNvSpPr>
          <p:nvPr>
            <p:ph type="body" sz="quarter" idx="14" hasCustomPrompt="1"/>
          </p:nvPr>
        </p:nvSpPr>
        <p:spPr>
          <a:xfrm>
            <a:off x="1230312" y="770268"/>
            <a:ext cx="4102100" cy="307975"/>
          </a:xfrm>
        </p:spPr>
        <p:txBody>
          <a:bodyPr>
            <a:normAutofit/>
          </a:bodyPr>
          <a:lstStyle>
            <a:lvl1pPr marL="0" indent="0">
              <a:buNone/>
              <a:defRPr sz="1400"/>
            </a:lvl1pPr>
          </a:lstStyle>
          <a:p>
            <a:pPr lvl="0"/>
            <a:r>
              <a:rPr lang="en-US" dirty="0"/>
              <a:t>Our Services</a:t>
            </a:r>
          </a:p>
        </p:txBody>
      </p:sp>
      <p:sp>
        <p:nvSpPr>
          <p:cNvPr id="8" name="Footer Placeholder 7">
            <a:extLst>
              <a:ext uri="{FF2B5EF4-FFF2-40B4-BE49-F238E27FC236}">
                <a16:creationId xmlns:a16="http://schemas.microsoft.com/office/drawing/2014/main" id="{0974C28B-7DCC-4055-FA84-DE72D5980A68}"/>
              </a:ext>
            </a:extLst>
          </p:cNvPr>
          <p:cNvSpPr>
            <a:spLocks noGrp="1"/>
          </p:cNvSpPr>
          <p:nvPr>
            <p:ph type="ftr" sz="quarter" idx="15"/>
          </p:nvPr>
        </p:nvSpPr>
        <p:spPr/>
        <p:txBody>
          <a:bodyPr/>
          <a:lstStyle/>
          <a:p>
            <a:endParaRPr lang="en-US" dirty="0"/>
          </a:p>
        </p:txBody>
      </p:sp>
      <p:sp>
        <p:nvSpPr>
          <p:cNvPr id="3" name="TextBox 2">
            <a:extLst>
              <a:ext uri="{FF2B5EF4-FFF2-40B4-BE49-F238E27FC236}">
                <a16:creationId xmlns:a16="http://schemas.microsoft.com/office/drawing/2014/main" id="{1EB3FC23-B9F3-7FB4-EBF6-A18773E16BDF}"/>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2"/>
                </a:solidFill>
                <a:effectLst/>
                <a:latin typeface="+mn-lt"/>
                <a:ea typeface="Calibri" panose="020F0502020204030204" pitchFamily="34" charset="0"/>
                <a:cs typeface="+mn-cs"/>
              </a:rPr>
              <a:t>Powers the Future</a:t>
            </a:r>
            <a:endParaRPr lang="en-US" sz="1200" b="1" kern="0" dirty="0">
              <a:solidFill>
                <a:schemeClr val="bg2"/>
              </a:solidFill>
              <a:effectLst/>
              <a:latin typeface="+mn-lt"/>
              <a:cs typeface="+mn-cs"/>
            </a:endParaRPr>
          </a:p>
        </p:txBody>
      </p:sp>
    </p:spTree>
    <p:extLst>
      <p:ext uri="{BB962C8B-B14F-4D97-AF65-F5344CB8AC3E}">
        <p14:creationId xmlns:p14="http://schemas.microsoft.com/office/powerpoint/2010/main" val="4153313029"/>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Sample Layout_15">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3843392591"/>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404;p20">
            <a:extLst>
              <a:ext uri="{FF2B5EF4-FFF2-40B4-BE49-F238E27FC236}">
                <a16:creationId xmlns:a16="http://schemas.microsoft.com/office/drawing/2014/main" id="{A903436A-302F-46F3-BFCF-D578741CA7DD}"/>
              </a:ext>
            </a:extLst>
          </p:cNvPr>
          <p:cNvSpPr/>
          <p:nvPr userDrawn="1"/>
        </p:nvSpPr>
        <p:spPr>
          <a:xfrm>
            <a:off x="638889" y="1"/>
            <a:ext cx="2846149" cy="2240212"/>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3" name="Google Shape;405;p20">
            <a:extLst>
              <a:ext uri="{FF2B5EF4-FFF2-40B4-BE49-F238E27FC236}">
                <a16:creationId xmlns:a16="http://schemas.microsoft.com/office/drawing/2014/main" id="{5A9BFB5F-F9EE-B8D3-9F6A-FAFCAB856740}"/>
              </a:ext>
            </a:extLst>
          </p:cNvPr>
          <p:cNvCxnSpPr/>
          <p:nvPr userDrawn="1"/>
        </p:nvCxnSpPr>
        <p:spPr>
          <a:xfrm>
            <a:off x="322253" y="5237525"/>
            <a:ext cx="0" cy="1620600"/>
          </a:xfrm>
          <a:prstGeom prst="straightConnector1">
            <a:avLst/>
          </a:prstGeom>
          <a:noFill/>
          <a:ln w="28575" cap="flat" cmpd="sng">
            <a:solidFill>
              <a:schemeClr val="accent4"/>
            </a:solidFill>
            <a:prstDash val="solid"/>
            <a:miter lim="800000"/>
            <a:headEnd type="none" w="sm" len="sm"/>
            <a:tailEnd type="none" w="sm" len="sm"/>
          </a:ln>
        </p:spPr>
      </p:cxnSp>
      <p:pic>
        <p:nvPicPr>
          <p:cNvPr id="10" name="Picture 9" descr="A logo with a black background&#10;&#10;Description automatically generated">
            <a:extLst>
              <a:ext uri="{FF2B5EF4-FFF2-40B4-BE49-F238E27FC236}">
                <a16:creationId xmlns:a16="http://schemas.microsoft.com/office/drawing/2014/main" id="{4DAD2312-EEF3-76B7-DD99-8ECFD0C6674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234500" y="1082725"/>
            <a:ext cx="2197848" cy="928955"/>
          </a:xfrm>
          <a:prstGeom prst="rect">
            <a:avLst/>
          </a:prstGeom>
        </p:spPr>
      </p:pic>
      <p:sp>
        <p:nvSpPr>
          <p:cNvPr id="16" name="Picture Placeholder 13">
            <a:extLst>
              <a:ext uri="{FF2B5EF4-FFF2-40B4-BE49-F238E27FC236}">
                <a16:creationId xmlns:a16="http://schemas.microsoft.com/office/drawing/2014/main" id="{5A0E377A-D735-BFDA-C1E3-A40F99039028}"/>
              </a:ext>
            </a:extLst>
          </p:cNvPr>
          <p:cNvSpPr>
            <a:spLocks noGrp="1"/>
          </p:cNvSpPr>
          <p:nvPr>
            <p:ph type="pic" sz="quarter" idx="10"/>
          </p:nvPr>
        </p:nvSpPr>
        <p:spPr>
          <a:xfrm>
            <a:off x="638602" y="2239962"/>
            <a:ext cx="2846388" cy="4618038"/>
          </a:xfrm>
          <a:solidFill>
            <a:schemeClr val="tx2"/>
          </a:solidFill>
        </p:spPr>
        <p:txBody>
          <a:bodyPr/>
          <a:lstStyle/>
          <a:p>
            <a:endParaRPr lang="en-US"/>
          </a:p>
        </p:txBody>
      </p:sp>
      <p:sp>
        <p:nvSpPr>
          <p:cNvPr id="19" name="Picture Placeholder 17">
            <a:extLst>
              <a:ext uri="{FF2B5EF4-FFF2-40B4-BE49-F238E27FC236}">
                <a16:creationId xmlns:a16="http://schemas.microsoft.com/office/drawing/2014/main" id="{B81123E3-3E3E-60CD-C689-34E53E7B0BEF}"/>
              </a:ext>
            </a:extLst>
          </p:cNvPr>
          <p:cNvSpPr>
            <a:spLocks noGrp="1"/>
          </p:cNvSpPr>
          <p:nvPr>
            <p:ph type="pic" sz="quarter" idx="11"/>
          </p:nvPr>
        </p:nvSpPr>
        <p:spPr>
          <a:xfrm>
            <a:off x="3649607" y="776287"/>
            <a:ext cx="3103563" cy="6081713"/>
          </a:xfrm>
          <a:solidFill>
            <a:schemeClr val="tx2"/>
          </a:solidFill>
        </p:spPr>
        <p:txBody>
          <a:bodyPr/>
          <a:lstStyle/>
          <a:p>
            <a:endParaRPr lang="en-US"/>
          </a:p>
        </p:txBody>
      </p:sp>
      <p:sp>
        <p:nvSpPr>
          <p:cNvPr id="20" name="Title 19">
            <a:extLst>
              <a:ext uri="{FF2B5EF4-FFF2-40B4-BE49-F238E27FC236}">
                <a16:creationId xmlns:a16="http://schemas.microsoft.com/office/drawing/2014/main" id="{78B4DF99-8B11-56F3-04B4-B82BD05FE2C8}"/>
              </a:ext>
            </a:extLst>
          </p:cNvPr>
          <p:cNvSpPr>
            <a:spLocks noGrp="1"/>
          </p:cNvSpPr>
          <p:nvPr>
            <p:ph type="title" hasCustomPrompt="1"/>
          </p:nvPr>
        </p:nvSpPr>
        <p:spPr>
          <a:xfrm>
            <a:off x="7429321" y="2565001"/>
            <a:ext cx="3863975" cy="1201738"/>
          </a:xfrm>
        </p:spPr>
        <p:txBody>
          <a:bodyPr vert="horz" anchor="t">
            <a:normAutofit/>
          </a:bodyPr>
          <a:lstStyle>
            <a:lvl1pPr>
              <a:defRPr sz="3200"/>
            </a:lvl1pPr>
          </a:lstStyle>
          <a:p>
            <a:r>
              <a:rPr lang="en-US" dirty="0"/>
              <a:t>SAMPLE HEADLINE HERE</a:t>
            </a:r>
          </a:p>
        </p:txBody>
      </p:sp>
      <p:sp>
        <p:nvSpPr>
          <p:cNvPr id="28" name="Text Placeholder 27">
            <a:extLst>
              <a:ext uri="{FF2B5EF4-FFF2-40B4-BE49-F238E27FC236}">
                <a16:creationId xmlns:a16="http://schemas.microsoft.com/office/drawing/2014/main" id="{CFF8E3D2-5330-602F-34B6-1F262A1C3645}"/>
              </a:ext>
            </a:extLst>
          </p:cNvPr>
          <p:cNvSpPr>
            <a:spLocks noGrp="1"/>
          </p:cNvSpPr>
          <p:nvPr>
            <p:ph type="body" sz="quarter" idx="12" hasCustomPrompt="1"/>
          </p:nvPr>
        </p:nvSpPr>
        <p:spPr>
          <a:xfrm>
            <a:off x="7429500" y="2259774"/>
            <a:ext cx="3863975" cy="306388"/>
          </a:xfrm>
        </p:spPr>
        <p:txBody>
          <a:bodyPr/>
          <a:lstStyle>
            <a:lvl1pPr marL="0" indent="0">
              <a:buNone/>
              <a:defRPr/>
            </a:lvl1pPr>
          </a:lstStyle>
          <a:p>
            <a:pPr lvl="0"/>
            <a:r>
              <a:rPr lang="en-US" dirty="0"/>
              <a:t>Our Services</a:t>
            </a:r>
          </a:p>
        </p:txBody>
      </p:sp>
      <p:sp>
        <p:nvSpPr>
          <p:cNvPr id="30" name="Text Placeholder 29">
            <a:extLst>
              <a:ext uri="{FF2B5EF4-FFF2-40B4-BE49-F238E27FC236}">
                <a16:creationId xmlns:a16="http://schemas.microsoft.com/office/drawing/2014/main" id="{1D39727A-17D2-383D-6E62-2AEE390C8E00}"/>
              </a:ext>
            </a:extLst>
          </p:cNvPr>
          <p:cNvSpPr>
            <a:spLocks noGrp="1"/>
          </p:cNvSpPr>
          <p:nvPr>
            <p:ph type="body" sz="quarter" idx="13"/>
          </p:nvPr>
        </p:nvSpPr>
        <p:spPr>
          <a:xfrm>
            <a:off x="7429600" y="4072788"/>
            <a:ext cx="3938588" cy="1201738"/>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48941455-40C7-6C6D-5841-0F8C0653E5FA}"/>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2"/>
                </a:solidFill>
                <a:effectLst/>
                <a:latin typeface="+mn-lt"/>
                <a:ea typeface="Calibri" panose="020F0502020204030204" pitchFamily="34" charset="0"/>
                <a:cs typeface="+mn-cs"/>
              </a:rPr>
              <a:t>Powers the Future</a:t>
            </a:r>
            <a:endParaRPr lang="en-US" sz="1200" b="1" kern="0" dirty="0">
              <a:solidFill>
                <a:schemeClr val="bg2"/>
              </a:solidFill>
              <a:effectLst/>
              <a:latin typeface="+mn-lt"/>
              <a:cs typeface="+mn-cs"/>
            </a:endParaRPr>
          </a:p>
        </p:txBody>
      </p:sp>
    </p:spTree>
    <p:extLst>
      <p:ext uri="{BB962C8B-B14F-4D97-AF65-F5344CB8AC3E}">
        <p14:creationId xmlns:p14="http://schemas.microsoft.com/office/powerpoint/2010/main" val="3713281627"/>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ample Layout_16">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1663851891"/>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416;p21">
            <a:extLst>
              <a:ext uri="{FF2B5EF4-FFF2-40B4-BE49-F238E27FC236}">
                <a16:creationId xmlns:a16="http://schemas.microsoft.com/office/drawing/2014/main" id="{7A17D382-2140-67F7-C263-0342BFC41746}"/>
              </a:ext>
            </a:extLst>
          </p:cNvPr>
          <p:cNvSpPr/>
          <p:nvPr userDrawn="1"/>
        </p:nvSpPr>
        <p:spPr>
          <a:xfrm>
            <a:off x="8530542" y="-1"/>
            <a:ext cx="3661458" cy="443310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8" name="Google Shape;422;p21">
            <a:extLst>
              <a:ext uri="{FF2B5EF4-FFF2-40B4-BE49-F238E27FC236}">
                <a16:creationId xmlns:a16="http://schemas.microsoft.com/office/drawing/2014/main" id="{01CA823C-933E-0F37-659E-30E7AB413D10}"/>
              </a:ext>
            </a:extLst>
          </p:cNvPr>
          <p:cNvCxnSpPr>
            <a:cxnSpLocks/>
          </p:cNvCxnSpPr>
          <p:nvPr userDrawn="1"/>
        </p:nvCxnSpPr>
        <p:spPr>
          <a:xfrm>
            <a:off x="926264" y="5048290"/>
            <a:ext cx="1176600" cy="0"/>
          </a:xfrm>
          <a:prstGeom prst="straightConnector1">
            <a:avLst/>
          </a:prstGeom>
          <a:noFill/>
          <a:ln w="28575" cap="flat" cmpd="sng">
            <a:solidFill>
              <a:schemeClr val="accent4"/>
            </a:solidFill>
            <a:prstDash val="solid"/>
            <a:miter lim="800000"/>
            <a:headEnd type="none" w="sm" len="sm"/>
            <a:tailEnd type="none" w="sm" len="sm"/>
          </a:ln>
        </p:spPr>
      </p:cxnSp>
      <p:pic>
        <p:nvPicPr>
          <p:cNvPr id="9" name="Picture 8" descr="A logo with a black background&#10;&#10;Description automatically generated">
            <a:extLst>
              <a:ext uri="{FF2B5EF4-FFF2-40B4-BE49-F238E27FC236}">
                <a16:creationId xmlns:a16="http://schemas.microsoft.com/office/drawing/2014/main" id="{E9DDDB8F-2529-E9DB-5971-76DC72F3D4B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36273" y="1482775"/>
            <a:ext cx="2197848" cy="928955"/>
          </a:xfrm>
          <a:prstGeom prst="rect">
            <a:avLst/>
          </a:prstGeom>
        </p:spPr>
      </p:pic>
      <p:sp>
        <p:nvSpPr>
          <p:cNvPr id="12" name="Picture Placeholder 10">
            <a:extLst>
              <a:ext uri="{FF2B5EF4-FFF2-40B4-BE49-F238E27FC236}">
                <a16:creationId xmlns:a16="http://schemas.microsoft.com/office/drawing/2014/main" id="{470EBD3C-DEC6-FB46-9817-0F96B24070F5}"/>
              </a:ext>
            </a:extLst>
          </p:cNvPr>
          <p:cNvSpPr>
            <a:spLocks noGrp="1"/>
          </p:cNvSpPr>
          <p:nvPr>
            <p:ph type="pic" sz="quarter" idx="10"/>
          </p:nvPr>
        </p:nvSpPr>
        <p:spPr>
          <a:xfrm>
            <a:off x="5966608" y="777393"/>
            <a:ext cx="5511017" cy="3656013"/>
          </a:xfrm>
          <a:solidFill>
            <a:schemeClr val="tx2"/>
          </a:solidFill>
        </p:spPr>
        <p:txBody>
          <a:bodyPr/>
          <a:lstStyle/>
          <a:p>
            <a:endParaRPr lang="en-US"/>
          </a:p>
        </p:txBody>
      </p:sp>
      <p:sp>
        <p:nvSpPr>
          <p:cNvPr id="15" name="Picture Placeholder 13">
            <a:extLst>
              <a:ext uri="{FF2B5EF4-FFF2-40B4-BE49-F238E27FC236}">
                <a16:creationId xmlns:a16="http://schemas.microsoft.com/office/drawing/2014/main" id="{B18889FD-C89B-624D-6615-669B8E3EBC00}"/>
              </a:ext>
            </a:extLst>
          </p:cNvPr>
          <p:cNvSpPr>
            <a:spLocks noGrp="1"/>
          </p:cNvSpPr>
          <p:nvPr>
            <p:ph type="pic" sz="quarter" idx="11"/>
          </p:nvPr>
        </p:nvSpPr>
        <p:spPr>
          <a:xfrm>
            <a:off x="5966608" y="4583111"/>
            <a:ext cx="5511017" cy="1684339"/>
          </a:xfrm>
          <a:solidFill>
            <a:schemeClr val="tx2"/>
          </a:solidFill>
        </p:spPr>
        <p:txBody>
          <a:bodyPr/>
          <a:lstStyle/>
          <a:p>
            <a:endParaRPr lang="en-US"/>
          </a:p>
        </p:txBody>
      </p:sp>
      <p:sp>
        <p:nvSpPr>
          <p:cNvPr id="16" name="Title 15">
            <a:extLst>
              <a:ext uri="{FF2B5EF4-FFF2-40B4-BE49-F238E27FC236}">
                <a16:creationId xmlns:a16="http://schemas.microsoft.com/office/drawing/2014/main" id="{E03ECCF3-FE40-A3AC-06A4-96FBB7564928}"/>
              </a:ext>
            </a:extLst>
          </p:cNvPr>
          <p:cNvSpPr>
            <a:spLocks noGrp="1"/>
          </p:cNvSpPr>
          <p:nvPr>
            <p:ph type="title" hasCustomPrompt="1"/>
          </p:nvPr>
        </p:nvSpPr>
        <p:spPr>
          <a:xfrm>
            <a:off x="925938" y="2989763"/>
            <a:ext cx="4386263" cy="1016000"/>
          </a:xfrm>
        </p:spPr>
        <p:txBody>
          <a:bodyPr vert="horz">
            <a:noAutofit/>
          </a:bodyPr>
          <a:lstStyle>
            <a:lvl1pPr>
              <a:defRPr sz="6000"/>
            </a:lvl1pPr>
          </a:lstStyle>
          <a:p>
            <a:r>
              <a:rPr lang="en-US" dirty="0"/>
              <a:t>HEADLINE</a:t>
            </a:r>
          </a:p>
        </p:txBody>
      </p:sp>
      <p:sp>
        <p:nvSpPr>
          <p:cNvPr id="19" name="Text Placeholder 18">
            <a:extLst>
              <a:ext uri="{FF2B5EF4-FFF2-40B4-BE49-F238E27FC236}">
                <a16:creationId xmlns:a16="http://schemas.microsoft.com/office/drawing/2014/main" id="{E4A27240-C85F-29C5-7DB9-B8A1BB219A2B}"/>
              </a:ext>
            </a:extLst>
          </p:cNvPr>
          <p:cNvSpPr>
            <a:spLocks noGrp="1"/>
          </p:cNvSpPr>
          <p:nvPr>
            <p:ph type="body" sz="quarter" idx="12" hasCustomPrompt="1"/>
          </p:nvPr>
        </p:nvSpPr>
        <p:spPr>
          <a:xfrm>
            <a:off x="926264" y="4004588"/>
            <a:ext cx="2078038" cy="339725"/>
          </a:xfrm>
        </p:spPr>
        <p:txBody>
          <a:bodyPr>
            <a:noAutofit/>
          </a:bodyPr>
          <a:lstStyle>
            <a:lvl1pPr marL="0" indent="0">
              <a:buNone/>
              <a:defRPr sz="1600"/>
            </a:lvl1pPr>
          </a:lstStyle>
          <a:p>
            <a:pPr lvl="0"/>
            <a:r>
              <a:rPr lang="en-US" dirty="0"/>
              <a:t>Sample headline</a:t>
            </a:r>
          </a:p>
        </p:txBody>
      </p:sp>
      <p:sp>
        <p:nvSpPr>
          <p:cNvPr id="6" name="Footer Placeholder 5">
            <a:extLst>
              <a:ext uri="{FF2B5EF4-FFF2-40B4-BE49-F238E27FC236}">
                <a16:creationId xmlns:a16="http://schemas.microsoft.com/office/drawing/2014/main" id="{8C7B4CA7-32B8-FA5B-23C6-BC0F5DAFD0E9}"/>
              </a:ext>
            </a:extLst>
          </p:cNvPr>
          <p:cNvSpPr>
            <a:spLocks noGrp="1"/>
          </p:cNvSpPr>
          <p:nvPr>
            <p:ph type="ftr" sz="quarter" idx="13"/>
          </p:nvPr>
        </p:nvSpPr>
        <p:spPr/>
        <p:txBody>
          <a:bodyPr/>
          <a:lstStyle/>
          <a:p>
            <a:endParaRPr lang="en-US" dirty="0"/>
          </a:p>
        </p:txBody>
      </p:sp>
      <p:sp>
        <p:nvSpPr>
          <p:cNvPr id="4" name="TextBox 3">
            <a:extLst>
              <a:ext uri="{FF2B5EF4-FFF2-40B4-BE49-F238E27FC236}">
                <a16:creationId xmlns:a16="http://schemas.microsoft.com/office/drawing/2014/main" id="{8764AE69-951C-0D6D-C8CB-7D1274FB1647}"/>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2"/>
                </a:solidFill>
                <a:effectLst/>
                <a:latin typeface="+mn-lt"/>
                <a:ea typeface="Calibri" panose="020F0502020204030204" pitchFamily="34" charset="0"/>
                <a:cs typeface="+mn-cs"/>
              </a:rPr>
              <a:t>Powers the Future</a:t>
            </a:r>
            <a:endParaRPr lang="en-US" sz="1200" b="1" kern="0" dirty="0">
              <a:solidFill>
                <a:schemeClr val="bg2"/>
              </a:solidFill>
              <a:effectLst/>
              <a:latin typeface="+mn-lt"/>
              <a:cs typeface="+mn-cs"/>
            </a:endParaRPr>
          </a:p>
        </p:txBody>
      </p:sp>
    </p:spTree>
    <p:extLst>
      <p:ext uri="{BB962C8B-B14F-4D97-AF65-F5344CB8AC3E}">
        <p14:creationId xmlns:p14="http://schemas.microsoft.com/office/powerpoint/2010/main" val="1640130572"/>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ample Layout_17">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2252448721"/>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427;p22">
            <a:extLst>
              <a:ext uri="{FF2B5EF4-FFF2-40B4-BE49-F238E27FC236}">
                <a16:creationId xmlns:a16="http://schemas.microsoft.com/office/drawing/2014/main" id="{C46B8D0A-9094-93C1-E594-A297E81479B4}"/>
              </a:ext>
            </a:extLst>
          </p:cNvPr>
          <p:cNvSpPr/>
          <p:nvPr userDrawn="1"/>
        </p:nvSpPr>
        <p:spPr>
          <a:xfrm>
            <a:off x="-1" y="0"/>
            <a:ext cx="5719821" cy="5877046"/>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 name="Google Shape;431;p22">
            <a:extLst>
              <a:ext uri="{FF2B5EF4-FFF2-40B4-BE49-F238E27FC236}">
                <a16:creationId xmlns:a16="http://schemas.microsoft.com/office/drawing/2014/main" id="{F2D2BF5D-44C3-3AE5-3394-C4611CE8790A}"/>
              </a:ext>
            </a:extLst>
          </p:cNvPr>
          <p:cNvSpPr/>
          <p:nvPr userDrawn="1"/>
        </p:nvSpPr>
        <p:spPr>
          <a:xfrm>
            <a:off x="765858" y="633713"/>
            <a:ext cx="3923818" cy="5243333"/>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 name="Picture Placeholder 10">
            <a:extLst>
              <a:ext uri="{FF2B5EF4-FFF2-40B4-BE49-F238E27FC236}">
                <a16:creationId xmlns:a16="http://schemas.microsoft.com/office/drawing/2014/main" id="{85A6760B-CCCC-7A95-6901-305FB133C159}"/>
              </a:ext>
            </a:extLst>
          </p:cNvPr>
          <p:cNvSpPr>
            <a:spLocks noGrp="1"/>
          </p:cNvSpPr>
          <p:nvPr>
            <p:ph type="pic" sz="quarter" idx="10"/>
          </p:nvPr>
        </p:nvSpPr>
        <p:spPr>
          <a:xfrm>
            <a:off x="1136835" y="980956"/>
            <a:ext cx="4583113" cy="5229344"/>
          </a:xfrm>
          <a:solidFill>
            <a:schemeClr val="tx2"/>
          </a:solidFill>
        </p:spPr>
        <p:txBody>
          <a:bodyPr/>
          <a:lstStyle/>
          <a:p>
            <a:endParaRPr lang="en-US"/>
          </a:p>
        </p:txBody>
      </p:sp>
      <p:sp>
        <p:nvSpPr>
          <p:cNvPr id="15" name="Picture Placeholder 13">
            <a:extLst>
              <a:ext uri="{FF2B5EF4-FFF2-40B4-BE49-F238E27FC236}">
                <a16:creationId xmlns:a16="http://schemas.microsoft.com/office/drawing/2014/main" id="{CB242ABC-94ED-6B6E-1D9A-63497EE60597}"/>
              </a:ext>
            </a:extLst>
          </p:cNvPr>
          <p:cNvSpPr>
            <a:spLocks noGrp="1"/>
          </p:cNvSpPr>
          <p:nvPr>
            <p:ph type="pic" sz="quarter" idx="11"/>
          </p:nvPr>
        </p:nvSpPr>
        <p:spPr>
          <a:xfrm>
            <a:off x="5977984" y="4016821"/>
            <a:ext cx="5180013" cy="2193479"/>
          </a:xfrm>
          <a:solidFill>
            <a:schemeClr val="tx2"/>
          </a:solidFill>
        </p:spPr>
        <p:txBody>
          <a:bodyPr/>
          <a:lstStyle/>
          <a:p>
            <a:endParaRPr lang="en-US"/>
          </a:p>
        </p:txBody>
      </p:sp>
      <p:sp>
        <p:nvSpPr>
          <p:cNvPr id="16" name="Title 15">
            <a:extLst>
              <a:ext uri="{FF2B5EF4-FFF2-40B4-BE49-F238E27FC236}">
                <a16:creationId xmlns:a16="http://schemas.microsoft.com/office/drawing/2014/main" id="{3E7D6210-CDC8-1749-FE7F-E7024C0A39F3}"/>
              </a:ext>
            </a:extLst>
          </p:cNvPr>
          <p:cNvSpPr>
            <a:spLocks noGrp="1"/>
          </p:cNvSpPr>
          <p:nvPr>
            <p:ph type="title" hasCustomPrompt="1"/>
          </p:nvPr>
        </p:nvSpPr>
        <p:spPr>
          <a:xfrm>
            <a:off x="6625038" y="1435940"/>
            <a:ext cx="4430713" cy="647700"/>
          </a:xfrm>
        </p:spPr>
        <p:txBody>
          <a:bodyPr vert="horz">
            <a:normAutofit/>
          </a:bodyPr>
          <a:lstStyle>
            <a:lvl1pPr>
              <a:defRPr sz="3200"/>
            </a:lvl1pPr>
          </a:lstStyle>
          <a:p>
            <a:r>
              <a:rPr lang="en-US" dirty="0"/>
              <a:t>SAMPLE HEADLINE</a:t>
            </a:r>
          </a:p>
        </p:txBody>
      </p:sp>
      <p:sp>
        <p:nvSpPr>
          <p:cNvPr id="25" name="Text Placeholder 24">
            <a:extLst>
              <a:ext uri="{FF2B5EF4-FFF2-40B4-BE49-F238E27FC236}">
                <a16:creationId xmlns:a16="http://schemas.microsoft.com/office/drawing/2014/main" id="{D59C067E-0046-B9A2-6F5D-BE91C2826269}"/>
              </a:ext>
            </a:extLst>
          </p:cNvPr>
          <p:cNvSpPr>
            <a:spLocks noGrp="1"/>
          </p:cNvSpPr>
          <p:nvPr>
            <p:ph type="body" sz="quarter" idx="12" hasCustomPrompt="1"/>
          </p:nvPr>
        </p:nvSpPr>
        <p:spPr>
          <a:xfrm>
            <a:off x="6624638" y="1129578"/>
            <a:ext cx="4430713" cy="368300"/>
          </a:xfrm>
        </p:spPr>
        <p:txBody>
          <a:bodyPr>
            <a:noAutofit/>
          </a:bodyPr>
          <a:lstStyle>
            <a:lvl1pPr marL="0" indent="0">
              <a:buNone/>
              <a:defRPr sz="1800"/>
            </a:lvl1pPr>
          </a:lstStyle>
          <a:p>
            <a:pPr lvl="0"/>
            <a:r>
              <a:rPr lang="en-US" dirty="0"/>
              <a:t>Sample headline</a:t>
            </a:r>
          </a:p>
        </p:txBody>
      </p:sp>
      <p:sp>
        <p:nvSpPr>
          <p:cNvPr id="28" name="Text Placeholder 27">
            <a:extLst>
              <a:ext uri="{FF2B5EF4-FFF2-40B4-BE49-F238E27FC236}">
                <a16:creationId xmlns:a16="http://schemas.microsoft.com/office/drawing/2014/main" id="{D6BEDA0D-BA3D-13DC-6B84-939A5976A8E2}"/>
              </a:ext>
            </a:extLst>
          </p:cNvPr>
          <p:cNvSpPr>
            <a:spLocks noGrp="1"/>
          </p:cNvSpPr>
          <p:nvPr>
            <p:ph type="body" sz="quarter" idx="13"/>
          </p:nvPr>
        </p:nvSpPr>
        <p:spPr>
          <a:xfrm>
            <a:off x="6624638" y="2390053"/>
            <a:ext cx="4430713" cy="647700"/>
          </a:xfrm>
        </p:spPr>
        <p:txBody>
          <a:bodyPr>
            <a:noAutofit/>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p:txBody>
      </p:sp>
      <p:sp>
        <p:nvSpPr>
          <p:cNvPr id="8" name="Footer Placeholder 7">
            <a:extLst>
              <a:ext uri="{FF2B5EF4-FFF2-40B4-BE49-F238E27FC236}">
                <a16:creationId xmlns:a16="http://schemas.microsoft.com/office/drawing/2014/main" id="{F8DB766E-DF1E-0BDB-6B1A-4F91BF9B8483}"/>
              </a:ext>
            </a:extLst>
          </p:cNvPr>
          <p:cNvSpPr>
            <a:spLocks noGrp="1"/>
          </p:cNvSpPr>
          <p:nvPr>
            <p:ph type="ftr" sz="quarter" idx="14"/>
          </p:nvPr>
        </p:nvSpPr>
        <p:spPr/>
        <p:txBody>
          <a:bodyPr/>
          <a:lstStyle/>
          <a:p>
            <a:endParaRPr lang="en-US" dirty="0"/>
          </a:p>
        </p:txBody>
      </p:sp>
      <p:sp>
        <p:nvSpPr>
          <p:cNvPr id="4" name="TextBox 3">
            <a:extLst>
              <a:ext uri="{FF2B5EF4-FFF2-40B4-BE49-F238E27FC236}">
                <a16:creationId xmlns:a16="http://schemas.microsoft.com/office/drawing/2014/main" id="{C9BAAB64-EE31-8F49-11D4-8ABFCC47E6C1}"/>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2"/>
                </a:solidFill>
                <a:effectLst/>
                <a:latin typeface="+mn-lt"/>
                <a:ea typeface="Calibri" panose="020F0502020204030204" pitchFamily="34" charset="0"/>
                <a:cs typeface="+mn-cs"/>
              </a:rPr>
              <a:t>Powers the Future</a:t>
            </a:r>
            <a:endParaRPr lang="en-US" sz="1200" b="1" kern="0" dirty="0">
              <a:solidFill>
                <a:schemeClr val="bg2"/>
              </a:solidFill>
              <a:effectLst/>
              <a:latin typeface="+mn-lt"/>
              <a:cs typeface="+mn-cs"/>
            </a:endParaRPr>
          </a:p>
        </p:txBody>
      </p:sp>
    </p:spTree>
    <p:extLst>
      <p:ext uri="{BB962C8B-B14F-4D97-AF65-F5344CB8AC3E}">
        <p14:creationId xmlns:p14="http://schemas.microsoft.com/office/powerpoint/2010/main" val="3998193380"/>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ample Layout_18">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3520282768"/>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9" name="Google Shape;444;p23">
            <a:extLst>
              <a:ext uri="{FF2B5EF4-FFF2-40B4-BE49-F238E27FC236}">
                <a16:creationId xmlns:a16="http://schemas.microsoft.com/office/drawing/2014/main" id="{D1FF0F45-8F25-0055-2983-72F6DBBC991D}"/>
              </a:ext>
            </a:extLst>
          </p:cNvPr>
          <p:cNvSpPr/>
          <p:nvPr userDrawn="1"/>
        </p:nvSpPr>
        <p:spPr>
          <a:xfrm>
            <a:off x="5490258" y="5079357"/>
            <a:ext cx="1778643" cy="1778643"/>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24" name="Picture Placeholder 23">
            <a:extLst>
              <a:ext uri="{FF2B5EF4-FFF2-40B4-BE49-F238E27FC236}">
                <a16:creationId xmlns:a16="http://schemas.microsoft.com/office/drawing/2014/main" id="{F57640D0-5ACB-E4FD-F662-8351529817BE}"/>
              </a:ext>
            </a:extLst>
          </p:cNvPr>
          <p:cNvSpPr>
            <a:spLocks noGrp="1"/>
          </p:cNvSpPr>
          <p:nvPr>
            <p:ph type="pic" sz="quarter" idx="12"/>
          </p:nvPr>
        </p:nvSpPr>
        <p:spPr>
          <a:xfrm>
            <a:off x="5489275" y="1400537"/>
            <a:ext cx="4468813" cy="4468813"/>
          </a:xfrm>
          <a:custGeom>
            <a:avLst/>
            <a:gdLst>
              <a:gd name="connsiteX0" fmla="*/ 0 w 4468813"/>
              <a:gd name="connsiteY0" fmla="*/ 0 h 4468813"/>
              <a:gd name="connsiteX1" fmla="*/ 4468813 w 4468813"/>
              <a:gd name="connsiteY1" fmla="*/ 0 h 4468813"/>
              <a:gd name="connsiteX2" fmla="*/ 4468813 w 4468813"/>
              <a:gd name="connsiteY2" fmla="*/ 4468813 h 4468813"/>
              <a:gd name="connsiteX3" fmla="*/ 1779626 w 4468813"/>
              <a:gd name="connsiteY3" fmla="*/ 4468813 h 4468813"/>
              <a:gd name="connsiteX4" fmla="*/ 1779626 w 4468813"/>
              <a:gd name="connsiteY4" fmla="*/ 3678820 h 4468813"/>
              <a:gd name="connsiteX5" fmla="*/ 983 w 4468813"/>
              <a:gd name="connsiteY5" fmla="*/ 3678820 h 4468813"/>
              <a:gd name="connsiteX6" fmla="*/ 983 w 4468813"/>
              <a:gd name="connsiteY6" fmla="*/ 4468813 h 4468813"/>
              <a:gd name="connsiteX7" fmla="*/ 0 w 4468813"/>
              <a:gd name="connsiteY7" fmla="*/ 4468813 h 4468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8813" h="4468813">
                <a:moveTo>
                  <a:pt x="0" y="0"/>
                </a:moveTo>
                <a:lnTo>
                  <a:pt x="4468813" y="0"/>
                </a:lnTo>
                <a:lnTo>
                  <a:pt x="4468813" y="4468813"/>
                </a:lnTo>
                <a:lnTo>
                  <a:pt x="1779626" y="4468813"/>
                </a:lnTo>
                <a:lnTo>
                  <a:pt x="1779626" y="3678820"/>
                </a:lnTo>
                <a:lnTo>
                  <a:pt x="983" y="3678820"/>
                </a:lnTo>
                <a:lnTo>
                  <a:pt x="983" y="4468813"/>
                </a:lnTo>
                <a:lnTo>
                  <a:pt x="0" y="4468813"/>
                </a:lnTo>
                <a:close/>
              </a:path>
            </a:pathLst>
          </a:custGeom>
          <a:solidFill>
            <a:schemeClr val="tx2"/>
          </a:solidFill>
        </p:spPr>
        <p:txBody>
          <a:bodyPr wrap="square">
            <a:noAutofit/>
          </a:bodyPr>
          <a:lstStyle/>
          <a:p>
            <a:endParaRPr lang="en-US"/>
          </a:p>
        </p:txBody>
      </p:sp>
      <p:sp>
        <p:nvSpPr>
          <p:cNvPr id="6" name="Google Shape;441;p23">
            <a:extLst>
              <a:ext uri="{FF2B5EF4-FFF2-40B4-BE49-F238E27FC236}">
                <a16:creationId xmlns:a16="http://schemas.microsoft.com/office/drawing/2014/main" id="{570A5DA5-CA20-3A8A-4E63-1CC55AE0D1BA}"/>
              </a:ext>
            </a:extLst>
          </p:cNvPr>
          <p:cNvSpPr/>
          <p:nvPr userDrawn="1"/>
        </p:nvSpPr>
        <p:spPr>
          <a:xfrm>
            <a:off x="9958086" y="1400537"/>
            <a:ext cx="2233914" cy="2233914"/>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 name="Google Shape;442;p23">
            <a:extLst>
              <a:ext uri="{FF2B5EF4-FFF2-40B4-BE49-F238E27FC236}">
                <a16:creationId xmlns:a16="http://schemas.microsoft.com/office/drawing/2014/main" id="{8E3103BD-B122-20CD-B59B-2C080CEBFA8A}"/>
              </a:ext>
            </a:extLst>
          </p:cNvPr>
          <p:cNvSpPr/>
          <p:nvPr userDrawn="1"/>
        </p:nvSpPr>
        <p:spPr>
          <a:xfrm>
            <a:off x="8553691" y="-3858"/>
            <a:ext cx="1404395" cy="140439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 name="Picture 9" descr="A logo with a black background&#10;&#10;Description automatically generated">
            <a:extLst>
              <a:ext uri="{FF2B5EF4-FFF2-40B4-BE49-F238E27FC236}">
                <a16:creationId xmlns:a16="http://schemas.microsoft.com/office/drawing/2014/main" id="{E0EFD357-6C13-A656-94D8-5C1E2B7062BA}"/>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2293" y="5597575"/>
            <a:ext cx="2197848" cy="928955"/>
          </a:xfrm>
          <a:prstGeom prst="rect">
            <a:avLst/>
          </a:prstGeom>
        </p:spPr>
      </p:pic>
      <p:sp>
        <p:nvSpPr>
          <p:cNvPr id="11" name="Title 10">
            <a:extLst>
              <a:ext uri="{FF2B5EF4-FFF2-40B4-BE49-F238E27FC236}">
                <a16:creationId xmlns:a16="http://schemas.microsoft.com/office/drawing/2014/main" id="{9788B035-AD06-5C5A-9C13-A0A32DD24074}"/>
              </a:ext>
            </a:extLst>
          </p:cNvPr>
          <p:cNvSpPr>
            <a:spLocks noGrp="1"/>
          </p:cNvSpPr>
          <p:nvPr>
            <p:ph type="title" hasCustomPrompt="1"/>
          </p:nvPr>
        </p:nvSpPr>
        <p:spPr>
          <a:xfrm>
            <a:off x="838200" y="1708740"/>
            <a:ext cx="3590925" cy="1200150"/>
          </a:xfrm>
        </p:spPr>
        <p:txBody>
          <a:bodyPr vert="horz">
            <a:normAutofit/>
          </a:bodyPr>
          <a:lstStyle>
            <a:lvl1pPr>
              <a:defRPr sz="3600"/>
            </a:lvl1pPr>
          </a:lstStyle>
          <a:p>
            <a:r>
              <a:rPr lang="en-US" dirty="0"/>
              <a:t>SAMPLE HEADLINE</a:t>
            </a:r>
          </a:p>
        </p:txBody>
      </p:sp>
      <p:sp>
        <p:nvSpPr>
          <p:cNvPr id="18" name="Text Placeholder 17">
            <a:extLst>
              <a:ext uri="{FF2B5EF4-FFF2-40B4-BE49-F238E27FC236}">
                <a16:creationId xmlns:a16="http://schemas.microsoft.com/office/drawing/2014/main" id="{769EE33E-6608-FEDD-E611-56A523FE8CAB}"/>
              </a:ext>
            </a:extLst>
          </p:cNvPr>
          <p:cNvSpPr>
            <a:spLocks noGrp="1"/>
          </p:cNvSpPr>
          <p:nvPr>
            <p:ph type="body" sz="quarter" idx="10" hasCustomPrompt="1"/>
          </p:nvPr>
        </p:nvSpPr>
        <p:spPr>
          <a:xfrm>
            <a:off x="838200" y="1400175"/>
            <a:ext cx="3590925" cy="307975"/>
          </a:xfrm>
        </p:spPr>
        <p:txBody>
          <a:bodyPr>
            <a:normAutofit/>
          </a:bodyPr>
          <a:lstStyle>
            <a:lvl1pPr marL="0" indent="0">
              <a:buNone/>
              <a:defRPr sz="1400"/>
            </a:lvl1pPr>
          </a:lstStyle>
          <a:p>
            <a:pPr lvl="0"/>
            <a:r>
              <a:rPr lang="en-US" dirty="0"/>
              <a:t>Your Text Here</a:t>
            </a:r>
          </a:p>
        </p:txBody>
      </p:sp>
      <p:sp>
        <p:nvSpPr>
          <p:cNvPr id="20" name="Text Placeholder 19">
            <a:extLst>
              <a:ext uri="{FF2B5EF4-FFF2-40B4-BE49-F238E27FC236}">
                <a16:creationId xmlns:a16="http://schemas.microsoft.com/office/drawing/2014/main" id="{01B2889B-6B7F-21E0-9589-75EABE0729BA}"/>
              </a:ext>
            </a:extLst>
          </p:cNvPr>
          <p:cNvSpPr>
            <a:spLocks noGrp="1"/>
          </p:cNvSpPr>
          <p:nvPr>
            <p:ph type="body" sz="quarter" idx="11"/>
          </p:nvPr>
        </p:nvSpPr>
        <p:spPr>
          <a:xfrm>
            <a:off x="837571" y="3215681"/>
            <a:ext cx="3590925" cy="2032000"/>
          </a:xfrm>
        </p:spPr>
        <p:txBody>
          <a:bodyPr>
            <a:noAutofit/>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a:extLst>
              <a:ext uri="{FF2B5EF4-FFF2-40B4-BE49-F238E27FC236}">
                <a16:creationId xmlns:a16="http://schemas.microsoft.com/office/drawing/2014/main" id="{ABF12D3D-E9B6-57ED-FAB9-3ADE97AB760C}"/>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2"/>
                </a:solidFill>
                <a:effectLst/>
                <a:latin typeface="+mn-lt"/>
                <a:ea typeface="Calibri" panose="020F0502020204030204" pitchFamily="34" charset="0"/>
                <a:cs typeface="+mn-cs"/>
              </a:rPr>
              <a:t>Powers the Future</a:t>
            </a:r>
            <a:endParaRPr lang="en-US" sz="1200" b="1" kern="0" dirty="0">
              <a:solidFill>
                <a:schemeClr val="bg2"/>
              </a:solidFill>
              <a:effectLst/>
              <a:latin typeface="+mn-lt"/>
              <a:cs typeface="+mn-cs"/>
            </a:endParaRPr>
          </a:p>
        </p:txBody>
      </p:sp>
    </p:spTree>
    <p:extLst>
      <p:ext uri="{BB962C8B-B14F-4D97-AF65-F5344CB8AC3E}">
        <p14:creationId xmlns:p14="http://schemas.microsoft.com/office/powerpoint/2010/main" val="2167930102"/>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ample Layout_19">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2725604535"/>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30" name="Picture Placeholder 29">
            <a:extLst>
              <a:ext uri="{FF2B5EF4-FFF2-40B4-BE49-F238E27FC236}">
                <a16:creationId xmlns:a16="http://schemas.microsoft.com/office/drawing/2014/main" id="{FADA193F-6EE2-9194-6879-29373EBA5F92}"/>
              </a:ext>
            </a:extLst>
          </p:cNvPr>
          <p:cNvSpPr>
            <a:spLocks noGrp="1"/>
          </p:cNvSpPr>
          <p:nvPr>
            <p:ph type="pic" sz="quarter" idx="18"/>
          </p:nvPr>
        </p:nvSpPr>
        <p:spPr>
          <a:xfrm>
            <a:off x="6713314" y="-1"/>
            <a:ext cx="5478685" cy="3429000"/>
          </a:xfrm>
          <a:solidFill>
            <a:schemeClr val="tx2"/>
          </a:solidFill>
        </p:spPr>
        <p:txBody>
          <a:bodyPr/>
          <a:lstStyle/>
          <a:p>
            <a:endParaRPr lang="en-US"/>
          </a:p>
        </p:txBody>
      </p:sp>
      <p:sp>
        <p:nvSpPr>
          <p:cNvPr id="32" name="Picture Placeholder 31">
            <a:extLst>
              <a:ext uri="{FF2B5EF4-FFF2-40B4-BE49-F238E27FC236}">
                <a16:creationId xmlns:a16="http://schemas.microsoft.com/office/drawing/2014/main" id="{C65C61EB-0F8F-55CE-9A31-97142EDE9071}"/>
              </a:ext>
            </a:extLst>
          </p:cNvPr>
          <p:cNvSpPr>
            <a:spLocks noGrp="1"/>
          </p:cNvSpPr>
          <p:nvPr>
            <p:ph type="pic" sz="quarter" idx="19"/>
          </p:nvPr>
        </p:nvSpPr>
        <p:spPr>
          <a:xfrm>
            <a:off x="6095995" y="3429000"/>
            <a:ext cx="2501904" cy="3429000"/>
          </a:xfrm>
          <a:solidFill>
            <a:schemeClr val="accent3"/>
          </a:solidFill>
        </p:spPr>
        <p:txBody>
          <a:bodyPr/>
          <a:lstStyle/>
          <a:p>
            <a:endParaRPr lang="en-US"/>
          </a:p>
        </p:txBody>
      </p:sp>
      <p:sp>
        <p:nvSpPr>
          <p:cNvPr id="34" name="Picture Placeholder 33">
            <a:extLst>
              <a:ext uri="{FF2B5EF4-FFF2-40B4-BE49-F238E27FC236}">
                <a16:creationId xmlns:a16="http://schemas.microsoft.com/office/drawing/2014/main" id="{A5A64369-CA00-0202-1F0E-E985284D09B0}"/>
              </a:ext>
            </a:extLst>
          </p:cNvPr>
          <p:cNvSpPr>
            <a:spLocks noGrp="1"/>
          </p:cNvSpPr>
          <p:nvPr>
            <p:ph type="pic" sz="quarter" idx="20"/>
          </p:nvPr>
        </p:nvSpPr>
        <p:spPr>
          <a:xfrm>
            <a:off x="8597899" y="3429000"/>
            <a:ext cx="3594101" cy="2870200"/>
          </a:xfrm>
          <a:solidFill>
            <a:schemeClr val="tx2">
              <a:lumMod val="75000"/>
            </a:schemeClr>
          </a:solidFill>
        </p:spPr>
        <p:txBody>
          <a:bodyPr/>
          <a:lstStyle/>
          <a:p>
            <a:endParaRPr lang="en-US"/>
          </a:p>
        </p:txBody>
      </p:sp>
      <p:sp>
        <p:nvSpPr>
          <p:cNvPr id="8" name="Google Shape;455;p24">
            <a:extLst>
              <a:ext uri="{FF2B5EF4-FFF2-40B4-BE49-F238E27FC236}">
                <a16:creationId xmlns:a16="http://schemas.microsoft.com/office/drawing/2014/main" id="{52CA24F2-6B82-B454-570E-D5365C13EA47}"/>
              </a:ext>
            </a:extLst>
          </p:cNvPr>
          <p:cNvSpPr/>
          <p:nvPr userDrawn="1"/>
        </p:nvSpPr>
        <p:spPr>
          <a:xfrm>
            <a:off x="0" y="0"/>
            <a:ext cx="6095995"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 name="Picture 13" descr="A logo with white text&#10;&#10;Description automatically generated">
            <a:extLst>
              <a:ext uri="{FF2B5EF4-FFF2-40B4-BE49-F238E27FC236}">
                <a16:creationId xmlns:a16="http://schemas.microsoft.com/office/drawing/2014/main" id="{6A5CBA10-D09E-7049-9952-59710EFE54F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2963" y="3459480"/>
            <a:ext cx="1714244" cy="522484"/>
          </a:xfrm>
          <a:prstGeom prst="rect">
            <a:avLst/>
          </a:prstGeom>
        </p:spPr>
      </p:pic>
      <p:sp>
        <p:nvSpPr>
          <p:cNvPr id="15" name="Title 14">
            <a:extLst>
              <a:ext uri="{FF2B5EF4-FFF2-40B4-BE49-F238E27FC236}">
                <a16:creationId xmlns:a16="http://schemas.microsoft.com/office/drawing/2014/main" id="{DC794E4A-4C38-A2F7-2C0C-D5051D234D13}"/>
              </a:ext>
            </a:extLst>
          </p:cNvPr>
          <p:cNvSpPr>
            <a:spLocks noGrp="1"/>
          </p:cNvSpPr>
          <p:nvPr>
            <p:ph type="title" hasCustomPrompt="1"/>
          </p:nvPr>
        </p:nvSpPr>
        <p:spPr>
          <a:xfrm>
            <a:off x="1072963" y="4572822"/>
            <a:ext cx="3055938" cy="1447800"/>
          </a:xfrm>
        </p:spPr>
        <p:txBody>
          <a:bodyPr vert="horz">
            <a:noAutofit/>
          </a:bodyPr>
          <a:lstStyle>
            <a:lvl1pPr>
              <a:defRPr sz="4400">
                <a:solidFill>
                  <a:schemeClr val="bg1"/>
                </a:solidFill>
              </a:defRPr>
            </a:lvl1pPr>
          </a:lstStyle>
          <a:p>
            <a:r>
              <a:rPr lang="en-US" dirty="0"/>
              <a:t>Click to edit title</a:t>
            </a:r>
          </a:p>
        </p:txBody>
      </p:sp>
      <p:sp>
        <p:nvSpPr>
          <p:cNvPr id="23" name="Text Placeholder 22">
            <a:extLst>
              <a:ext uri="{FF2B5EF4-FFF2-40B4-BE49-F238E27FC236}">
                <a16:creationId xmlns:a16="http://schemas.microsoft.com/office/drawing/2014/main" id="{BDA93116-EC46-7089-DDCE-BDF3BC4E6531}"/>
              </a:ext>
            </a:extLst>
          </p:cNvPr>
          <p:cNvSpPr>
            <a:spLocks noGrp="1"/>
          </p:cNvSpPr>
          <p:nvPr>
            <p:ph type="body" sz="quarter" idx="10" hasCustomPrompt="1"/>
          </p:nvPr>
        </p:nvSpPr>
        <p:spPr>
          <a:xfrm>
            <a:off x="1073149" y="4265728"/>
            <a:ext cx="3055938" cy="369888"/>
          </a:xfrm>
        </p:spPr>
        <p:txBody>
          <a:bodyPr>
            <a:noAutofit/>
          </a:bodyPr>
          <a:lstStyle>
            <a:lvl1pPr marL="0" indent="0">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Sample headline</a:t>
            </a:r>
          </a:p>
        </p:txBody>
      </p:sp>
      <p:sp>
        <p:nvSpPr>
          <p:cNvPr id="9" name="Google Shape;456;p24">
            <a:extLst>
              <a:ext uri="{FF2B5EF4-FFF2-40B4-BE49-F238E27FC236}">
                <a16:creationId xmlns:a16="http://schemas.microsoft.com/office/drawing/2014/main" id="{822FB033-E04E-696D-B784-4CA7BAA5F8FC}"/>
              </a:ext>
            </a:extLst>
          </p:cNvPr>
          <p:cNvSpPr/>
          <p:nvPr userDrawn="1"/>
        </p:nvSpPr>
        <p:spPr>
          <a:xfrm>
            <a:off x="3295650" y="0"/>
            <a:ext cx="3417665" cy="342872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 name="Text Placeholder 24">
            <a:extLst>
              <a:ext uri="{FF2B5EF4-FFF2-40B4-BE49-F238E27FC236}">
                <a16:creationId xmlns:a16="http://schemas.microsoft.com/office/drawing/2014/main" id="{30E5A98E-F9B6-8382-4F1E-CB920B137504}"/>
              </a:ext>
            </a:extLst>
          </p:cNvPr>
          <p:cNvSpPr>
            <a:spLocks noGrp="1"/>
          </p:cNvSpPr>
          <p:nvPr>
            <p:ph type="body" sz="quarter" idx="11" hasCustomPrompt="1"/>
          </p:nvPr>
        </p:nvSpPr>
        <p:spPr>
          <a:xfrm>
            <a:off x="3668469" y="783409"/>
            <a:ext cx="2713038" cy="461963"/>
          </a:xfrm>
        </p:spPr>
        <p:txBody>
          <a:bodyPr>
            <a:noAutofit/>
          </a:bodyPr>
          <a:lstStyle>
            <a:lvl1pPr marL="0" indent="0">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dirty="0"/>
              <a:t>Sample headline here</a:t>
            </a:r>
          </a:p>
        </p:txBody>
      </p:sp>
      <p:sp>
        <p:nvSpPr>
          <p:cNvPr id="28" name="Text Placeholder 32">
            <a:extLst>
              <a:ext uri="{FF2B5EF4-FFF2-40B4-BE49-F238E27FC236}">
                <a16:creationId xmlns:a16="http://schemas.microsoft.com/office/drawing/2014/main" id="{C34541B6-DC53-1CC4-2D65-FA04AAAD74C2}"/>
              </a:ext>
            </a:extLst>
          </p:cNvPr>
          <p:cNvSpPr>
            <a:spLocks noGrp="1"/>
          </p:cNvSpPr>
          <p:nvPr>
            <p:ph type="body" sz="quarter" idx="17"/>
          </p:nvPr>
        </p:nvSpPr>
        <p:spPr>
          <a:xfrm>
            <a:off x="3668469" y="1544684"/>
            <a:ext cx="2713038" cy="1200150"/>
          </a:xfrm>
        </p:spPr>
        <p:txBody>
          <a:bodyPr/>
          <a:lstStyle>
            <a:lvl1pPr>
              <a:lnSpc>
                <a:spcPct val="150000"/>
              </a:lnSpc>
              <a:buClr>
                <a:schemeClr val="bg1"/>
              </a:buClr>
              <a:defRPr>
                <a:solidFill>
                  <a:schemeClr val="bg1"/>
                </a:solidFill>
              </a:defRPr>
            </a:lvl1pPr>
            <a:lvl2pPr>
              <a:lnSpc>
                <a:spcPct val="150000"/>
              </a:lnSpc>
              <a:buClr>
                <a:schemeClr val="bg1"/>
              </a:buClr>
              <a:defRPr>
                <a:solidFill>
                  <a:schemeClr val="bg1"/>
                </a:solidFill>
              </a:defRPr>
            </a:lvl2pPr>
            <a:lvl3pPr>
              <a:lnSpc>
                <a:spcPct val="150000"/>
              </a:lnSpc>
              <a:buClr>
                <a:schemeClr val="bg1"/>
              </a:buClr>
              <a:defRPr>
                <a:solidFill>
                  <a:schemeClr val="bg1"/>
                </a:solidFill>
              </a:defRPr>
            </a:lvl3pPr>
            <a:lvl4pPr>
              <a:lnSpc>
                <a:spcPct val="150000"/>
              </a:lnSpc>
              <a:buClr>
                <a:schemeClr val="bg1"/>
              </a:buClr>
              <a:defRPr>
                <a:solidFill>
                  <a:schemeClr val="bg1"/>
                </a:solidFill>
              </a:defRPr>
            </a:lvl4pPr>
            <a:lvl5pPr>
              <a:lnSpc>
                <a:spcPct val="150000"/>
              </a:lnSpc>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5B2E5742-027B-9F17-48E5-597A23E075FC}"/>
              </a:ext>
            </a:extLst>
          </p:cNvPr>
          <p:cNvSpPr>
            <a:spLocks noGrp="1"/>
          </p:cNvSpPr>
          <p:nvPr>
            <p:ph type="ftr" sz="quarter" idx="21"/>
          </p:nvPr>
        </p:nvSpPr>
        <p:spPr/>
        <p:txBody>
          <a:bodyPr/>
          <a:lstStyle>
            <a:lvl1pPr>
              <a:defRPr>
                <a:solidFill>
                  <a:schemeClr val="bg1"/>
                </a:solidFill>
              </a:defRPr>
            </a:lvl1pPr>
          </a:lstStyle>
          <a:p>
            <a:endParaRPr lang="en-US" dirty="0"/>
          </a:p>
        </p:txBody>
      </p:sp>
      <p:sp>
        <p:nvSpPr>
          <p:cNvPr id="3" name="TextBox 2">
            <a:extLst>
              <a:ext uri="{FF2B5EF4-FFF2-40B4-BE49-F238E27FC236}">
                <a16:creationId xmlns:a16="http://schemas.microsoft.com/office/drawing/2014/main" id="{47103A55-7778-889E-B01C-352A7EA5CB47}"/>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2"/>
                </a:solidFill>
                <a:effectLst/>
                <a:latin typeface="+mn-lt"/>
                <a:ea typeface="Calibri" panose="020F0502020204030204" pitchFamily="34" charset="0"/>
                <a:cs typeface="+mn-cs"/>
              </a:rPr>
              <a:t>Powers the Future</a:t>
            </a:r>
            <a:endParaRPr lang="en-US" sz="1200" b="1" kern="0" dirty="0">
              <a:solidFill>
                <a:schemeClr val="bg2"/>
              </a:solidFill>
              <a:effectLst/>
              <a:latin typeface="+mn-lt"/>
              <a:cs typeface="+mn-cs"/>
            </a:endParaRPr>
          </a:p>
        </p:txBody>
      </p:sp>
    </p:spTree>
    <p:extLst>
      <p:ext uri="{BB962C8B-B14F-4D97-AF65-F5344CB8AC3E}">
        <p14:creationId xmlns:p14="http://schemas.microsoft.com/office/powerpoint/2010/main" val="3402221286"/>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ample Layout_20">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522871118"/>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466;p25">
            <a:extLst>
              <a:ext uri="{FF2B5EF4-FFF2-40B4-BE49-F238E27FC236}">
                <a16:creationId xmlns:a16="http://schemas.microsoft.com/office/drawing/2014/main" id="{DEE0E898-73A0-98F1-E7B6-6915C2EE7B92}"/>
              </a:ext>
            </a:extLst>
          </p:cNvPr>
          <p:cNvSpPr/>
          <p:nvPr userDrawn="1"/>
        </p:nvSpPr>
        <p:spPr>
          <a:xfrm>
            <a:off x="2438401" y="1066800"/>
            <a:ext cx="2438400" cy="24384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 name="Google Shape;467;p25">
            <a:extLst>
              <a:ext uri="{FF2B5EF4-FFF2-40B4-BE49-F238E27FC236}">
                <a16:creationId xmlns:a16="http://schemas.microsoft.com/office/drawing/2014/main" id="{6C785FAC-3100-FEF5-25C6-6A1BC7B6551D}"/>
              </a:ext>
            </a:extLst>
          </p:cNvPr>
          <p:cNvSpPr/>
          <p:nvPr userDrawn="1"/>
        </p:nvSpPr>
        <p:spPr>
          <a:xfrm>
            <a:off x="7315201" y="3505200"/>
            <a:ext cx="2438400" cy="24384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 name="Google Shape;473;p25">
            <a:extLst>
              <a:ext uri="{FF2B5EF4-FFF2-40B4-BE49-F238E27FC236}">
                <a16:creationId xmlns:a16="http://schemas.microsoft.com/office/drawing/2014/main" id="{63CA0843-4756-23BB-0CBC-FE07BCE8751D}"/>
              </a:ext>
            </a:extLst>
          </p:cNvPr>
          <p:cNvPicPr preferRelativeResize="0">
            <a:picLocks/>
          </p:cNvPicPr>
          <p:nvPr userDrawn="1"/>
        </p:nvPicPr>
        <p:blipFill rotWithShape="1">
          <a:blip r:embed="rId5" cstate="screen">
            <a:alphaModFix/>
            <a:extLst>
              <a:ext uri="{28A0092B-C50C-407E-A947-70E740481C1C}">
                <a14:useLocalDpi xmlns:a14="http://schemas.microsoft.com/office/drawing/2010/main"/>
              </a:ext>
            </a:extLst>
          </a:blip>
          <a:srcRect/>
          <a:stretch/>
        </p:blipFill>
        <p:spPr>
          <a:xfrm>
            <a:off x="1" y="3505200"/>
            <a:ext cx="2438400" cy="2438400"/>
          </a:xfrm>
          <a:prstGeom prst="rect">
            <a:avLst/>
          </a:prstGeom>
          <a:solidFill>
            <a:schemeClr val="lt1"/>
          </a:solidFill>
          <a:ln>
            <a:noFill/>
          </a:ln>
        </p:spPr>
      </p:pic>
      <p:cxnSp>
        <p:nvCxnSpPr>
          <p:cNvPr id="17" name="Google Shape;481;p25">
            <a:extLst>
              <a:ext uri="{FF2B5EF4-FFF2-40B4-BE49-F238E27FC236}">
                <a16:creationId xmlns:a16="http://schemas.microsoft.com/office/drawing/2014/main" id="{F76FC31D-0786-1BA0-910D-D8789A2CDB91}"/>
              </a:ext>
            </a:extLst>
          </p:cNvPr>
          <p:cNvCxnSpPr/>
          <p:nvPr userDrawn="1"/>
        </p:nvCxnSpPr>
        <p:spPr>
          <a:xfrm>
            <a:off x="-12" y="6171070"/>
            <a:ext cx="1990200" cy="0"/>
          </a:xfrm>
          <a:prstGeom prst="straightConnector1">
            <a:avLst/>
          </a:prstGeom>
          <a:noFill/>
          <a:ln w="28575" cap="flat" cmpd="sng">
            <a:solidFill>
              <a:schemeClr val="accent4"/>
            </a:solidFill>
            <a:prstDash val="solid"/>
            <a:miter lim="800000"/>
            <a:headEnd type="none" w="sm" len="sm"/>
            <a:tailEnd type="none" w="sm" len="sm"/>
          </a:ln>
        </p:spPr>
      </p:cxnSp>
      <p:cxnSp>
        <p:nvCxnSpPr>
          <p:cNvPr id="18" name="Google Shape;482;p25">
            <a:extLst>
              <a:ext uri="{FF2B5EF4-FFF2-40B4-BE49-F238E27FC236}">
                <a16:creationId xmlns:a16="http://schemas.microsoft.com/office/drawing/2014/main" id="{4401DAEF-3BBE-D402-BFEA-068AB8E54353}"/>
              </a:ext>
            </a:extLst>
          </p:cNvPr>
          <p:cNvCxnSpPr>
            <a:cxnSpLocks/>
          </p:cNvCxnSpPr>
          <p:nvPr userDrawn="1"/>
        </p:nvCxnSpPr>
        <p:spPr>
          <a:xfrm>
            <a:off x="0" y="509265"/>
            <a:ext cx="1990200" cy="0"/>
          </a:xfrm>
          <a:prstGeom prst="straightConnector1">
            <a:avLst/>
          </a:prstGeom>
          <a:noFill/>
          <a:ln w="28575" cap="flat" cmpd="sng">
            <a:solidFill>
              <a:schemeClr val="accent4"/>
            </a:solidFill>
            <a:prstDash val="solid"/>
            <a:miter lim="800000"/>
            <a:headEnd type="none" w="sm" len="sm"/>
            <a:tailEnd type="none" w="sm" len="sm"/>
          </a:ln>
        </p:spPr>
      </p:cxnSp>
      <p:pic>
        <p:nvPicPr>
          <p:cNvPr id="19" name="Picture 18" descr="A logo with a black background&#10;&#10;Description automatically generated">
            <a:extLst>
              <a:ext uri="{FF2B5EF4-FFF2-40B4-BE49-F238E27FC236}">
                <a16:creationId xmlns:a16="http://schemas.microsoft.com/office/drawing/2014/main" id="{EECC6725-E1E9-AB8B-32D9-53847E6BF5D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212222" y="276399"/>
            <a:ext cx="1631436" cy="689552"/>
          </a:xfrm>
          <a:prstGeom prst="rect">
            <a:avLst/>
          </a:prstGeom>
        </p:spPr>
      </p:pic>
      <p:sp>
        <p:nvSpPr>
          <p:cNvPr id="23" name="Text Placeholder 32">
            <a:extLst>
              <a:ext uri="{FF2B5EF4-FFF2-40B4-BE49-F238E27FC236}">
                <a16:creationId xmlns:a16="http://schemas.microsoft.com/office/drawing/2014/main" id="{B03D3279-1361-A8E7-8753-F8A8847DA999}"/>
              </a:ext>
            </a:extLst>
          </p:cNvPr>
          <p:cNvSpPr>
            <a:spLocks noGrp="1"/>
          </p:cNvSpPr>
          <p:nvPr>
            <p:ph type="body" sz="quarter" idx="14"/>
          </p:nvPr>
        </p:nvSpPr>
        <p:spPr>
          <a:xfrm>
            <a:off x="7649028" y="4202113"/>
            <a:ext cx="1844245" cy="1563688"/>
          </a:xfrm>
        </p:spPr>
        <p:txBody>
          <a:bodyPr/>
          <a:lstStyle>
            <a:lvl1pPr>
              <a:lnSpc>
                <a:spcPct val="150000"/>
              </a:lnSpc>
              <a:buClr>
                <a:schemeClr val="bg1"/>
              </a:buClr>
              <a:defRPr>
                <a:solidFill>
                  <a:schemeClr val="bg1"/>
                </a:solidFill>
              </a:defRPr>
            </a:lvl1pPr>
            <a:lvl2pPr>
              <a:lnSpc>
                <a:spcPct val="150000"/>
              </a:lnSpc>
              <a:buClr>
                <a:schemeClr val="bg1"/>
              </a:buClr>
              <a:defRPr>
                <a:solidFill>
                  <a:schemeClr val="bg1"/>
                </a:solidFill>
              </a:defRPr>
            </a:lvl2pPr>
            <a:lvl3pPr>
              <a:lnSpc>
                <a:spcPct val="150000"/>
              </a:lnSpc>
              <a:buClr>
                <a:schemeClr val="bg1"/>
              </a:buClr>
              <a:defRPr>
                <a:solidFill>
                  <a:schemeClr val="bg1"/>
                </a:solidFill>
              </a:defRPr>
            </a:lvl3pPr>
            <a:lvl4pPr>
              <a:lnSpc>
                <a:spcPct val="150000"/>
              </a:lnSpc>
              <a:buClr>
                <a:schemeClr val="bg1"/>
              </a:buClr>
              <a:defRPr>
                <a:solidFill>
                  <a:schemeClr val="bg1"/>
                </a:solidFill>
              </a:defRPr>
            </a:lvl4pPr>
            <a:lvl5pPr>
              <a:lnSpc>
                <a:spcPct val="150000"/>
              </a:lnSpc>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33">
            <a:extLst>
              <a:ext uri="{FF2B5EF4-FFF2-40B4-BE49-F238E27FC236}">
                <a16:creationId xmlns:a16="http://schemas.microsoft.com/office/drawing/2014/main" id="{97DBA986-D817-B25D-EA88-D04DABD696BC}"/>
              </a:ext>
            </a:extLst>
          </p:cNvPr>
          <p:cNvSpPr>
            <a:spLocks noGrp="1"/>
          </p:cNvSpPr>
          <p:nvPr>
            <p:ph type="body" sz="quarter" idx="16" hasCustomPrompt="1"/>
          </p:nvPr>
        </p:nvSpPr>
        <p:spPr>
          <a:xfrm>
            <a:off x="7648598" y="3790263"/>
            <a:ext cx="1844675" cy="338138"/>
          </a:xfrm>
        </p:spPr>
        <p:txBody>
          <a:bodyPr>
            <a:normAutofit/>
          </a:bodyPr>
          <a:lstStyle>
            <a:lvl1pPr marL="0" indent="0">
              <a:buNone/>
              <a:defRPr sz="1400">
                <a:solidFill>
                  <a:schemeClr val="bg1"/>
                </a:solidFill>
              </a:defRPr>
            </a:lvl1pPr>
          </a:lstStyle>
          <a:p>
            <a:pPr lvl="0"/>
            <a:r>
              <a:rPr lang="en-US" dirty="0"/>
              <a:t>Your text here</a:t>
            </a:r>
          </a:p>
        </p:txBody>
      </p:sp>
      <p:sp>
        <p:nvSpPr>
          <p:cNvPr id="37" name="Text Placeholder 32">
            <a:extLst>
              <a:ext uri="{FF2B5EF4-FFF2-40B4-BE49-F238E27FC236}">
                <a16:creationId xmlns:a16="http://schemas.microsoft.com/office/drawing/2014/main" id="{6441EE82-5437-017C-86B7-270000684AEB}"/>
              </a:ext>
            </a:extLst>
          </p:cNvPr>
          <p:cNvSpPr>
            <a:spLocks noGrp="1"/>
          </p:cNvSpPr>
          <p:nvPr>
            <p:ph type="body" sz="quarter" idx="17"/>
          </p:nvPr>
        </p:nvSpPr>
        <p:spPr>
          <a:xfrm>
            <a:off x="2772183" y="1763714"/>
            <a:ext cx="1844245" cy="1563688"/>
          </a:xfrm>
        </p:spPr>
        <p:txBody>
          <a:bodyPr/>
          <a:lstStyle>
            <a:lvl1pPr>
              <a:lnSpc>
                <a:spcPct val="150000"/>
              </a:lnSpc>
              <a:buClr>
                <a:schemeClr val="bg1"/>
              </a:buClr>
              <a:defRPr>
                <a:solidFill>
                  <a:schemeClr val="bg1"/>
                </a:solidFill>
              </a:defRPr>
            </a:lvl1pPr>
            <a:lvl2pPr>
              <a:lnSpc>
                <a:spcPct val="150000"/>
              </a:lnSpc>
              <a:buClr>
                <a:schemeClr val="bg1"/>
              </a:buClr>
              <a:defRPr>
                <a:solidFill>
                  <a:schemeClr val="bg1"/>
                </a:solidFill>
              </a:defRPr>
            </a:lvl2pPr>
            <a:lvl3pPr>
              <a:lnSpc>
                <a:spcPct val="150000"/>
              </a:lnSpc>
              <a:buClr>
                <a:schemeClr val="bg1"/>
              </a:buClr>
              <a:defRPr>
                <a:solidFill>
                  <a:schemeClr val="bg1"/>
                </a:solidFill>
              </a:defRPr>
            </a:lvl3pPr>
            <a:lvl4pPr>
              <a:lnSpc>
                <a:spcPct val="150000"/>
              </a:lnSpc>
              <a:buClr>
                <a:schemeClr val="bg1"/>
              </a:buClr>
              <a:defRPr>
                <a:solidFill>
                  <a:schemeClr val="bg1"/>
                </a:solidFill>
              </a:defRPr>
            </a:lvl4pPr>
            <a:lvl5pPr>
              <a:lnSpc>
                <a:spcPct val="150000"/>
              </a:lnSpc>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8" name="Text Placeholder 33">
            <a:extLst>
              <a:ext uri="{FF2B5EF4-FFF2-40B4-BE49-F238E27FC236}">
                <a16:creationId xmlns:a16="http://schemas.microsoft.com/office/drawing/2014/main" id="{4523F27B-43DD-A67A-CD74-B91F61600963}"/>
              </a:ext>
            </a:extLst>
          </p:cNvPr>
          <p:cNvSpPr>
            <a:spLocks noGrp="1"/>
          </p:cNvSpPr>
          <p:nvPr>
            <p:ph type="body" sz="quarter" idx="18" hasCustomPrompt="1"/>
          </p:nvPr>
        </p:nvSpPr>
        <p:spPr>
          <a:xfrm>
            <a:off x="2772183" y="1351864"/>
            <a:ext cx="1844675" cy="338138"/>
          </a:xfrm>
        </p:spPr>
        <p:txBody>
          <a:bodyPr>
            <a:normAutofit/>
          </a:bodyPr>
          <a:lstStyle>
            <a:lvl1pPr marL="0" indent="0">
              <a:buNone/>
              <a:defRPr sz="1400">
                <a:solidFill>
                  <a:schemeClr val="bg1"/>
                </a:solidFill>
              </a:defRPr>
            </a:lvl1pPr>
          </a:lstStyle>
          <a:p>
            <a:pPr lvl="0"/>
            <a:r>
              <a:rPr lang="en-US" dirty="0"/>
              <a:t>Your text here</a:t>
            </a:r>
          </a:p>
        </p:txBody>
      </p:sp>
      <p:sp>
        <p:nvSpPr>
          <p:cNvPr id="41" name="Picture Placeholder 39">
            <a:extLst>
              <a:ext uri="{FF2B5EF4-FFF2-40B4-BE49-F238E27FC236}">
                <a16:creationId xmlns:a16="http://schemas.microsoft.com/office/drawing/2014/main" id="{C235348B-9789-E26F-F661-42E58F026D63}"/>
              </a:ext>
            </a:extLst>
          </p:cNvPr>
          <p:cNvSpPr>
            <a:spLocks noGrp="1"/>
          </p:cNvSpPr>
          <p:nvPr>
            <p:ph type="pic" sz="quarter" idx="19"/>
          </p:nvPr>
        </p:nvSpPr>
        <p:spPr>
          <a:xfrm>
            <a:off x="1" y="1066800"/>
            <a:ext cx="2438400" cy="2438400"/>
          </a:xfrm>
          <a:solidFill>
            <a:schemeClr val="tx2"/>
          </a:solidFill>
        </p:spPr>
        <p:txBody>
          <a:bodyPr/>
          <a:lstStyle/>
          <a:p>
            <a:endParaRPr lang="en-US"/>
          </a:p>
        </p:txBody>
      </p:sp>
      <p:sp>
        <p:nvSpPr>
          <p:cNvPr id="44" name="Picture Placeholder 42">
            <a:extLst>
              <a:ext uri="{FF2B5EF4-FFF2-40B4-BE49-F238E27FC236}">
                <a16:creationId xmlns:a16="http://schemas.microsoft.com/office/drawing/2014/main" id="{53B07E51-F485-E5BC-6F08-02603D8C6885}"/>
              </a:ext>
            </a:extLst>
          </p:cNvPr>
          <p:cNvSpPr>
            <a:spLocks noGrp="1"/>
          </p:cNvSpPr>
          <p:nvPr>
            <p:ph type="pic" sz="quarter" idx="20"/>
          </p:nvPr>
        </p:nvSpPr>
        <p:spPr>
          <a:xfrm>
            <a:off x="2438401" y="3505200"/>
            <a:ext cx="2438400" cy="2438400"/>
          </a:xfrm>
          <a:solidFill>
            <a:schemeClr val="tx2"/>
          </a:solidFill>
        </p:spPr>
        <p:txBody>
          <a:bodyPr/>
          <a:lstStyle/>
          <a:p>
            <a:endParaRPr lang="en-US" dirty="0"/>
          </a:p>
        </p:txBody>
      </p:sp>
      <p:sp>
        <p:nvSpPr>
          <p:cNvPr id="47" name="Picture Placeholder 45">
            <a:extLst>
              <a:ext uri="{FF2B5EF4-FFF2-40B4-BE49-F238E27FC236}">
                <a16:creationId xmlns:a16="http://schemas.microsoft.com/office/drawing/2014/main" id="{04A3A635-FF2C-F11A-EBDE-C5FF57D0D3AC}"/>
              </a:ext>
            </a:extLst>
          </p:cNvPr>
          <p:cNvSpPr>
            <a:spLocks noGrp="1"/>
          </p:cNvSpPr>
          <p:nvPr>
            <p:ph type="pic" sz="quarter" idx="21"/>
          </p:nvPr>
        </p:nvSpPr>
        <p:spPr>
          <a:xfrm>
            <a:off x="-1" y="3505199"/>
            <a:ext cx="2438400" cy="2438400"/>
          </a:xfrm>
          <a:solidFill>
            <a:schemeClr val="accent3"/>
          </a:solidFill>
        </p:spPr>
        <p:txBody>
          <a:bodyPr/>
          <a:lstStyle/>
          <a:p>
            <a:endParaRPr lang="en-US"/>
          </a:p>
        </p:txBody>
      </p:sp>
      <p:sp>
        <p:nvSpPr>
          <p:cNvPr id="50" name="Picture Placeholder 48">
            <a:extLst>
              <a:ext uri="{FF2B5EF4-FFF2-40B4-BE49-F238E27FC236}">
                <a16:creationId xmlns:a16="http://schemas.microsoft.com/office/drawing/2014/main" id="{03D0A4D8-CDCB-7B0F-FEA9-B6A9BA17548D}"/>
              </a:ext>
            </a:extLst>
          </p:cNvPr>
          <p:cNvSpPr>
            <a:spLocks noGrp="1"/>
          </p:cNvSpPr>
          <p:nvPr>
            <p:ph type="pic" sz="quarter" idx="22"/>
          </p:nvPr>
        </p:nvSpPr>
        <p:spPr>
          <a:xfrm>
            <a:off x="4876801" y="3505200"/>
            <a:ext cx="2438400" cy="2438400"/>
          </a:xfrm>
          <a:solidFill>
            <a:schemeClr val="accent3"/>
          </a:solidFill>
        </p:spPr>
        <p:txBody>
          <a:bodyPr/>
          <a:lstStyle/>
          <a:p>
            <a:endParaRPr lang="en-US"/>
          </a:p>
        </p:txBody>
      </p:sp>
      <p:sp>
        <p:nvSpPr>
          <p:cNvPr id="53" name="Picture Placeholder 51">
            <a:extLst>
              <a:ext uri="{FF2B5EF4-FFF2-40B4-BE49-F238E27FC236}">
                <a16:creationId xmlns:a16="http://schemas.microsoft.com/office/drawing/2014/main" id="{AE4FE6A3-CAA0-3E4E-414A-17DAB8060054}"/>
              </a:ext>
            </a:extLst>
          </p:cNvPr>
          <p:cNvSpPr>
            <a:spLocks noGrp="1"/>
          </p:cNvSpPr>
          <p:nvPr>
            <p:ph type="pic" sz="quarter" idx="23"/>
          </p:nvPr>
        </p:nvSpPr>
        <p:spPr>
          <a:xfrm>
            <a:off x="4876801" y="1066800"/>
            <a:ext cx="2438400" cy="2438400"/>
          </a:xfrm>
          <a:solidFill>
            <a:schemeClr val="tx2"/>
          </a:solidFill>
        </p:spPr>
        <p:txBody>
          <a:bodyPr/>
          <a:lstStyle/>
          <a:p>
            <a:endParaRPr lang="en-US"/>
          </a:p>
        </p:txBody>
      </p:sp>
      <p:sp>
        <p:nvSpPr>
          <p:cNvPr id="56" name="Picture Placeholder 54">
            <a:extLst>
              <a:ext uri="{FF2B5EF4-FFF2-40B4-BE49-F238E27FC236}">
                <a16:creationId xmlns:a16="http://schemas.microsoft.com/office/drawing/2014/main" id="{925A3E16-69EA-94F1-1684-1493FA9993A0}"/>
              </a:ext>
            </a:extLst>
          </p:cNvPr>
          <p:cNvSpPr>
            <a:spLocks noGrp="1"/>
          </p:cNvSpPr>
          <p:nvPr>
            <p:ph type="pic" sz="quarter" idx="24"/>
          </p:nvPr>
        </p:nvSpPr>
        <p:spPr>
          <a:xfrm>
            <a:off x="7315201" y="1066800"/>
            <a:ext cx="2438400" cy="2438400"/>
          </a:xfrm>
          <a:solidFill>
            <a:schemeClr val="accent3"/>
          </a:solidFill>
        </p:spPr>
        <p:txBody>
          <a:bodyPr/>
          <a:lstStyle/>
          <a:p>
            <a:endParaRPr lang="en-US"/>
          </a:p>
        </p:txBody>
      </p:sp>
      <p:sp>
        <p:nvSpPr>
          <p:cNvPr id="60" name="Picture Placeholder 57">
            <a:extLst>
              <a:ext uri="{FF2B5EF4-FFF2-40B4-BE49-F238E27FC236}">
                <a16:creationId xmlns:a16="http://schemas.microsoft.com/office/drawing/2014/main" id="{FB44E4FE-E684-551D-E986-BCC24076204D}"/>
              </a:ext>
            </a:extLst>
          </p:cNvPr>
          <p:cNvSpPr>
            <a:spLocks noGrp="1"/>
          </p:cNvSpPr>
          <p:nvPr>
            <p:ph type="pic" sz="quarter" idx="25"/>
          </p:nvPr>
        </p:nvSpPr>
        <p:spPr>
          <a:xfrm>
            <a:off x="9753598" y="1066800"/>
            <a:ext cx="2438400" cy="2441575"/>
          </a:xfrm>
          <a:solidFill>
            <a:schemeClr val="tx2"/>
          </a:solidFill>
        </p:spPr>
        <p:txBody>
          <a:bodyPr/>
          <a:lstStyle/>
          <a:p>
            <a:endParaRPr lang="en-US"/>
          </a:p>
        </p:txBody>
      </p:sp>
      <p:sp>
        <p:nvSpPr>
          <p:cNvPr id="63" name="Picture Placeholder 61">
            <a:extLst>
              <a:ext uri="{FF2B5EF4-FFF2-40B4-BE49-F238E27FC236}">
                <a16:creationId xmlns:a16="http://schemas.microsoft.com/office/drawing/2014/main" id="{DC8227E1-9E30-6097-1E5A-FA5CBD62E324}"/>
              </a:ext>
            </a:extLst>
          </p:cNvPr>
          <p:cNvSpPr>
            <a:spLocks noGrp="1"/>
          </p:cNvSpPr>
          <p:nvPr>
            <p:ph type="pic" sz="quarter" idx="26"/>
          </p:nvPr>
        </p:nvSpPr>
        <p:spPr>
          <a:xfrm>
            <a:off x="9753601" y="3505198"/>
            <a:ext cx="2438400" cy="2438400"/>
          </a:xfrm>
          <a:solidFill>
            <a:schemeClr val="accent3"/>
          </a:solidFill>
        </p:spPr>
        <p:txBody>
          <a:bodyPr/>
          <a:lstStyle/>
          <a:p>
            <a:endParaRPr lang="en-US"/>
          </a:p>
        </p:txBody>
      </p:sp>
      <p:sp>
        <p:nvSpPr>
          <p:cNvPr id="9" name="Footer Placeholder 8">
            <a:extLst>
              <a:ext uri="{FF2B5EF4-FFF2-40B4-BE49-F238E27FC236}">
                <a16:creationId xmlns:a16="http://schemas.microsoft.com/office/drawing/2014/main" id="{56A1834A-18D0-CEC8-8A58-70B2F6F24D26}"/>
              </a:ext>
            </a:extLst>
          </p:cNvPr>
          <p:cNvSpPr>
            <a:spLocks noGrp="1"/>
          </p:cNvSpPr>
          <p:nvPr>
            <p:ph type="ftr" sz="quarter" idx="29"/>
          </p:nvPr>
        </p:nvSpPr>
        <p:spPr/>
        <p:txBody>
          <a:bodyPr/>
          <a:lstStyle/>
          <a:p>
            <a:endParaRPr lang="en-US" dirty="0"/>
          </a:p>
        </p:txBody>
      </p:sp>
      <p:sp>
        <p:nvSpPr>
          <p:cNvPr id="6" name="TextBox 5">
            <a:extLst>
              <a:ext uri="{FF2B5EF4-FFF2-40B4-BE49-F238E27FC236}">
                <a16:creationId xmlns:a16="http://schemas.microsoft.com/office/drawing/2014/main" id="{8140AD48-881E-6625-70E5-5C4A8F3CB768}"/>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2"/>
                </a:solidFill>
                <a:effectLst/>
                <a:latin typeface="+mn-lt"/>
                <a:ea typeface="Calibri" panose="020F0502020204030204" pitchFamily="34" charset="0"/>
                <a:cs typeface="+mn-cs"/>
              </a:rPr>
              <a:t>Powers the Future</a:t>
            </a:r>
            <a:endParaRPr lang="en-US" sz="1200" b="1" kern="0" dirty="0">
              <a:solidFill>
                <a:schemeClr val="bg2"/>
              </a:solidFill>
              <a:effectLst/>
              <a:latin typeface="+mn-lt"/>
              <a:cs typeface="+mn-cs"/>
            </a:endParaRPr>
          </a:p>
        </p:txBody>
      </p:sp>
    </p:spTree>
    <p:extLst>
      <p:ext uri="{BB962C8B-B14F-4D97-AF65-F5344CB8AC3E}">
        <p14:creationId xmlns:p14="http://schemas.microsoft.com/office/powerpoint/2010/main" val="3904346452"/>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ample Layout_21">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362650490"/>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7" name="Google Shape;491;p26">
            <a:extLst>
              <a:ext uri="{FF2B5EF4-FFF2-40B4-BE49-F238E27FC236}">
                <a16:creationId xmlns:a16="http://schemas.microsoft.com/office/drawing/2014/main" id="{CA7E24AA-2512-1804-8B39-3CF59A323295}"/>
              </a:ext>
            </a:extLst>
          </p:cNvPr>
          <p:cNvSpPr/>
          <p:nvPr userDrawn="1"/>
        </p:nvSpPr>
        <p:spPr>
          <a:xfrm>
            <a:off x="7963384" y="3436618"/>
            <a:ext cx="3645638" cy="2783032"/>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 name="Picture Placeholder 12">
            <a:extLst>
              <a:ext uri="{FF2B5EF4-FFF2-40B4-BE49-F238E27FC236}">
                <a16:creationId xmlns:a16="http://schemas.microsoft.com/office/drawing/2014/main" id="{B0B033EA-90EC-F70E-DC71-C8A493CD1A00}"/>
              </a:ext>
            </a:extLst>
          </p:cNvPr>
          <p:cNvSpPr>
            <a:spLocks noGrp="1"/>
          </p:cNvSpPr>
          <p:nvPr>
            <p:ph type="pic" sz="quarter" idx="10"/>
          </p:nvPr>
        </p:nvSpPr>
        <p:spPr>
          <a:xfrm>
            <a:off x="582868" y="630736"/>
            <a:ext cx="4394200" cy="5597525"/>
          </a:xfrm>
          <a:solidFill>
            <a:schemeClr val="tx2"/>
          </a:solidFill>
        </p:spPr>
        <p:txBody>
          <a:bodyPr/>
          <a:lstStyle/>
          <a:p>
            <a:endParaRPr lang="en-US"/>
          </a:p>
        </p:txBody>
      </p:sp>
      <p:sp>
        <p:nvSpPr>
          <p:cNvPr id="19" name="Picture Placeholder 15">
            <a:extLst>
              <a:ext uri="{FF2B5EF4-FFF2-40B4-BE49-F238E27FC236}">
                <a16:creationId xmlns:a16="http://schemas.microsoft.com/office/drawing/2014/main" id="{A794F2B4-6BC4-CC5F-9838-EB5399ADF722}"/>
              </a:ext>
            </a:extLst>
          </p:cNvPr>
          <p:cNvSpPr>
            <a:spLocks noGrp="1"/>
          </p:cNvSpPr>
          <p:nvPr>
            <p:ph type="pic" sz="quarter" idx="11"/>
          </p:nvPr>
        </p:nvSpPr>
        <p:spPr>
          <a:xfrm>
            <a:off x="4976813" y="629916"/>
            <a:ext cx="2986088" cy="2806700"/>
          </a:xfrm>
          <a:solidFill>
            <a:schemeClr val="accent3"/>
          </a:solidFill>
          <a:ln>
            <a:noFill/>
          </a:ln>
        </p:spPr>
        <p:txBody>
          <a:bodyPr/>
          <a:lstStyle/>
          <a:p>
            <a:endParaRPr lang="en-US"/>
          </a:p>
        </p:txBody>
      </p:sp>
      <p:sp>
        <p:nvSpPr>
          <p:cNvPr id="22" name="Picture Placeholder 21">
            <a:extLst>
              <a:ext uri="{FF2B5EF4-FFF2-40B4-BE49-F238E27FC236}">
                <a16:creationId xmlns:a16="http://schemas.microsoft.com/office/drawing/2014/main" id="{C30B590D-0C97-363B-F38D-1888FC0498D6}"/>
              </a:ext>
            </a:extLst>
          </p:cNvPr>
          <p:cNvSpPr>
            <a:spLocks noGrp="1"/>
          </p:cNvSpPr>
          <p:nvPr>
            <p:ph type="pic" sz="quarter" idx="12"/>
          </p:nvPr>
        </p:nvSpPr>
        <p:spPr>
          <a:xfrm>
            <a:off x="4977292" y="3436279"/>
            <a:ext cx="2986088" cy="2782888"/>
          </a:xfrm>
          <a:solidFill>
            <a:schemeClr val="accent2"/>
          </a:solidFill>
        </p:spPr>
        <p:txBody>
          <a:bodyPr/>
          <a:lstStyle/>
          <a:p>
            <a:endParaRPr lang="en-US"/>
          </a:p>
        </p:txBody>
      </p:sp>
      <p:sp>
        <p:nvSpPr>
          <p:cNvPr id="25" name="Picture Placeholder 23">
            <a:extLst>
              <a:ext uri="{FF2B5EF4-FFF2-40B4-BE49-F238E27FC236}">
                <a16:creationId xmlns:a16="http://schemas.microsoft.com/office/drawing/2014/main" id="{9AF8AC9D-EEE0-665A-32FE-52FB26A5E8D0}"/>
              </a:ext>
            </a:extLst>
          </p:cNvPr>
          <p:cNvSpPr>
            <a:spLocks noGrp="1"/>
          </p:cNvSpPr>
          <p:nvPr>
            <p:ph type="pic" sz="quarter" idx="13"/>
          </p:nvPr>
        </p:nvSpPr>
        <p:spPr>
          <a:xfrm>
            <a:off x="7963384" y="629916"/>
            <a:ext cx="3646488" cy="2806700"/>
          </a:xfrm>
          <a:solidFill>
            <a:schemeClr val="tx2"/>
          </a:solidFill>
        </p:spPr>
        <p:txBody>
          <a:bodyPr/>
          <a:lstStyle/>
          <a:p>
            <a:endParaRPr lang="en-US"/>
          </a:p>
        </p:txBody>
      </p:sp>
      <p:sp>
        <p:nvSpPr>
          <p:cNvPr id="26" name="Title 25">
            <a:extLst>
              <a:ext uri="{FF2B5EF4-FFF2-40B4-BE49-F238E27FC236}">
                <a16:creationId xmlns:a16="http://schemas.microsoft.com/office/drawing/2014/main" id="{0B9F1F97-8E23-998E-E05A-B53D053091CD}"/>
              </a:ext>
            </a:extLst>
          </p:cNvPr>
          <p:cNvSpPr>
            <a:spLocks noGrp="1"/>
          </p:cNvSpPr>
          <p:nvPr>
            <p:ph type="title" hasCustomPrompt="1"/>
          </p:nvPr>
        </p:nvSpPr>
        <p:spPr>
          <a:xfrm>
            <a:off x="8429624" y="4060645"/>
            <a:ext cx="2713038" cy="338138"/>
          </a:xfrm>
        </p:spPr>
        <p:txBody>
          <a:bodyPr vert="horz">
            <a:normAutofit/>
          </a:bodyPr>
          <a:lstStyle>
            <a:lvl1pPr>
              <a:defRPr sz="1600">
                <a:solidFill>
                  <a:schemeClr val="bg1"/>
                </a:solidFill>
              </a:defRPr>
            </a:lvl1pPr>
          </a:lstStyle>
          <a:p>
            <a:r>
              <a:rPr lang="en-US" dirty="0"/>
              <a:t>Your text here</a:t>
            </a:r>
          </a:p>
        </p:txBody>
      </p:sp>
      <p:sp>
        <p:nvSpPr>
          <p:cNvPr id="33" name="Text Placeholder 32">
            <a:extLst>
              <a:ext uri="{FF2B5EF4-FFF2-40B4-BE49-F238E27FC236}">
                <a16:creationId xmlns:a16="http://schemas.microsoft.com/office/drawing/2014/main" id="{2780D076-877F-3842-EF69-5CFCFA385967}"/>
              </a:ext>
            </a:extLst>
          </p:cNvPr>
          <p:cNvSpPr>
            <a:spLocks noGrp="1"/>
          </p:cNvSpPr>
          <p:nvPr>
            <p:ph type="body" sz="quarter" idx="14"/>
          </p:nvPr>
        </p:nvSpPr>
        <p:spPr>
          <a:xfrm>
            <a:off x="8429248" y="4472806"/>
            <a:ext cx="2713038" cy="1201738"/>
          </a:xfrm>
        </p:spPr>
        <p:txBody>
          <a:bodyPr/>
          <a:lstStyle>
            <a:lvl1pPr>
              <a:lnSpc>
                <a:spcPct val="150000"/>
              </a:lnSpc>
              <a:buClr>
                <a:schemeClr val="bg1"/>
              </a:buClr>
              <a:defRPr>
                <a:solidFill>
                  <a:schemeClr val="bg1"/>
                </a:solidFill>
              </a:defRPr>
            </a:lvl1pPr>
            <a:lvl2pPr>
              <a:lnSpc>
                <a:spcPct val="150000"/>
              </a:lnSpc>
              <a:buClr>
                <a:schemeClr val="bg1"/>
              </a:buClr>
              <a:defRPr>
                <a:solidFill>
                  <a:schemeClr val="bg1"/>
                </a:solidFill>
              </a:defRPr>
            </a:lvl2pPr>
            <a:lvl3pPr>
              <a:lnSpc>
                <a:spcPct val="150000"/>
              </a:lnSpc>
              <a:buClr>
                <a:schemeClr val="bg1"/>
              </a:buClr>
              <a:defRPr>
                <a:solidFill>
                  <a:schemeClr val="bg1"/>
                </a:solidFill>
              </a:defRPr>
            </a:lvl3pPr>
            <a:lvl4pPr>
              <a:lnSpc>
                <a:spcPct val="150000"/>
              </a:lnSpc>
              <a:buClr>
                <a:schemeClr val="bg1"/>
              </a:buClr>
              <a:defRPr>
                <a:solidFill>
                  <a:schemeClr val="bg1"/>
                </a:solidFill>
              </a:defRPr>
            </a:lvl4pPr>
            <a:lvl5pPr>
              <a:lnSpc>
                <a:spcPct val="150000"/>
              </a:lnSpc>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a:extLst>
              <a:ext uri="{FF2B5EF4-FFF2-40B4-BE49-F238E27FC236}">
                <a16:creationId xmlns:a16="http://schemas.microsoft.com/office/drawing/2014/main" id="{3FA3C930-7A19-AF95-84EA-896F7E78BF6E}"/>
              </a:ext>
            </a:extLst>
          </p:cNvPr>
          <p:cNvSpPr>
            <a:spLocks noGrp="1"/>
          </p:cNvSpPr>
          <p:nvPr>
            <p:ph type="ftr" sz="quarter" idx="17"/>
          </p:nvPr>
        </p:nvSpPr>
        <p:spPr/>
        <p:txBody>
          <a:bodyPr/>
          <a:lstStyle/>
          <a:p>
            <a:endParaRPr lang="en-US" dirty="0"/>
          </a:p>
        </p:txBody>
      </p:sp>
      <p:sp>
        <p:nvSpPr>
          <p:cNvPr id="3" name="TextBox 2">
            <a:extLst>
              <a:ext uri="{FF2B5EF4-FFF2-40B4-BE49-F238E27FC236}">
                <a16:creationId xmlns:a16="http://schemas.microsoft.com/office/drawing/2014/main" id="{AB75FCBF-3D57-8012-0CAA-05EDB6B66BAF}"/>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2"/>
                </a:solidFill>
                <a:effectLst/>
                <a:latin typeface="+mn-lt"/>
                <a:ea typeface="Calibri" panose="020F0502020204030204" pitchFamily="34" charset="0"/>
                <a:cs typeface="+mn-cs"/>
              </a:rPr>
              <a:t>Powers the Future</a:t>
            </a:r>
            <a:endParaRPr lang="en-US" sz="1200" b="1" kern="0" dirty="0">
              <a:solidFill>
                <a:schemeClr val="bg2"/>
              </a:solidFill>
              <a:effectLst/>
              <a:latin typeface="+mn-lt"/>
              <a:cs typeface="+mn-cs"/>
            </a:endParaRPr>
          </a:p>
        </p:txBody>
      </p:sp>
    </p:spTree>
    <p:extLst>
      <p:ext uri="{BB962C8B-B14F-4D97-AF65-F5344CB8AC3E}">
        <p14:creationId xmlns:p14="http://schemas.microsoft.com/office/powerpoint/2010/main" val="836784135"/>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Sample Layout_22">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3578147661"/>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4" name="Google Shape;502;p27">
            <a:extLst>
              <a:ext uri="{FF2B5EF4-FFF2-40B4-BE49-F238E27FC236}">
                <a16:creationId xmlns:a16="http://schemas.microsoft.com/office/drawing/2014/main" id="{20D16371-042A-15D9-60B1-97D7BA56CB00}"/>
              </a:ext>
            </a:extLst>
          </p:cNvPr>
          <p:cNvSpPr/>
          <p:nvPr userDrawn="1"/>
        </p:nvSpPr>
        <p:spPr>
          <a:xfrm>
            <a:off x="-25" y="0"/>
            <a:ext cx="6308100" cy="888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 name="Google Shape;506;p27">
            <a:extLst>
              <a:ext uri="{FF2B5EF4-FFF2-40B4-BE49-F238E27FC236}">
                <a16:creationId xmlns:a16="http://schemas.microsoft.com/office/drawing/2014/main" id="{19359807-2E3D-1AC3-BA72-B4155778D386}"/>
              </a:ext>
            </a:extLst>
          </p:cNvPr>
          <p:cNvSpPr/>
          <p:nvPr userDrawn="1"/>
        </p:nvSpPr>
        <p:spPr>
          <a:xfrm>
            <a:off x="-1" y="4294200"/>
            <a:ext cx="1377387" cy="25638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 name="Picture 8" descr="A logo with a black background&#10;&#10;Description automatically generated">
            <a:extLst>
              <a:ext uri="{FF2B5EF4-FFF2-40B4-BE49-F238E27FC236}">
                <a16:creationId xmlns:a16="http://schemas.microsoft.com/office/drawing/2014/main" id="{CAD33F60-2B06-1217-E043-0BAECE430C6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941875" y="2012890"/>
            <a:ext cx="2197848" cy="928955"/>
          </a:xfrm>
          <a:prstGeom prst="rect">
            <a:avLst/>
          </a:prstGeom>
        </p:spPr>
      </p:pic>
      <p:sp>
        <p:nvSpPr>
          <p:cNvPr id="11" name="Picture Placeholder 10">
            <a:extLst>
              <a:ext uri="{FF2B5EF4-FFF2-40B4-BE49-F238E27FC236}">
                <a16:creationId xmlns:a16="http://schemas.microsoft.com/office/drawing/2014/main" id="{104D33E2-1093-ADF7-82A4-7C864D0AAA80}"/>
              </a:ext>
            </a:extLst>
          </p:cNvPr>
          <p:cNvSpPr>
            <a:spLocks noGrp="1"/>
          </p:cNvSpPr>
          <p:nvPr>
            <p:ph type="pic" sz="quarter" idx="10"/>
          </p:nvPr>
        </p:nvSpPr>
        <p:spPr>
          <a:xfrm>
            <a:off x="-650" y="729206"/>
            <a:ext cx="6308725" cy="3414713"/>
          </a:xfrm>
          <a:solidFill>
            <a:schemeClr val="tx2"/>
          </a:solidFill>
        </p:spPr>
        <p:txBody>
          <a:bodyPr/>
          <a:lstStyle/>
          <a:p>
            <a:endParaRPr lang="en-US"/>
          </a:p>
        </p:txBody>
      </p:sp>
      <p:sp>
        <p:nvSpPr>
          <p:cNvPr id="13" name="Picture Placeholder 12">
            <a:extLst>
              <a:ext uri="{FF2B5EF4-FFF2-40B4-BE49-F238E27FC236}">
                <a16:creationId xmlns:a16="http://schemas.microsoft.com/office/drawing/2014/main" id="{BE8AD17E-AA64-451A-C59A-F364F93BD873}"/>
              </a:ext>
            </a:extLst>
          </p:cNvPr>
          <p:cNvSpPr>
            <a:spLocks noGrp="1"/>
          </p:cNvSpPr>
          <p:nvPr>
            <p:ph type="pic" sz="quarter" idx="11"/>
          </p:nvPr>
        </p:nvSpPr>
        <p:spPr>
          <a:xfrm>
            <a:off x="1377413" y="4294187"/>
            <a:ext cx="4930775" cy="2563813"/>
          </a:xfrm>
          <a:solidFill>
            <a:schemeClr val="tx2"/>
          </a:solidFill>
        </p:spPr>
        <p:txBody>
          <a:bodyPr/>
          <a:lstStyle/>
          <a:p>
            <a:endParaRPr lang="en-US"/>
          </a:p>
        </p:txBody>
      </p:sp>
      <p:sp>
        <p:nvSpPr>
          <p:cNvPr id="20" name="Text Placeholder 19">
            <a:extLst>
              <a:ext uri="{FF2B5EF4-FFF2-40B4-BE49-F238E27FC236}">
                <a16:creationId xmlns:a16="http://schemas.microsoft.com/office/drawing/2014/main" id="{38A2AE51-569E-5BEA-D08F-749A4EC6957A}"/>
              </a:ext>
            </a:extLst>
          </p:cNvPr>
          <p:cNvSpPr>
            <a:spLocks noGrp="1"/>
          </p:cNvSpPr>
          <p:nvPr>
            <p:ph type="body" sz="quarter" idx="12" hasCustomPrompt="1"/>
          </p:nvPr>
        </p:nvSpPr>
        <p:spPr>
          <a:xfrm>
            <a:off x="7132981" y="4353601"/>
            <a:ext cx="3922713" cy="338138"/>
          </a:xfrm>
        </p:spPr>
        <p:txBody>
          <a:bodyPr>
            <a:normAutofit/>
          </a:bodyPr>
          <a:lstStyle>
            <a:lvl1pPr marL="0" indent="0">
              <a:buNone/>
              <a:defRPr sz="1600"/>
            </a:lvl1pPr>
          </a:lstStyle>
          <a:p>
            <a:pPr lvl="0"/>
            <a:r>
              <a:rPr lang="en-US" dirty="0"/>
              <a:t>Your text here</a:t>
            </a:r>
          </a:p>
        </p:txBody>
      </p:sp>
      <p:sp>
        <p:nvSpPr>
          <p:cNvPr id="19" name="Title 18">
            <a:extLst>
              <a:ext uri="{FF2B5EF4-FFF2-40B4-BE49-F238E27FC236}">
                <a16:creationId xmlns:a16="http://schemas.microsoft.com/office/drawing/2014/main" id="{599A3E15-1789-A4CB-3CD0-EE5431286458}"/>
              </a:ext>
            </a:extLst>
          </p:cNvPr>
          <p:cNvSpPr>
            <a:spLocks noGrp="1"/>
          </p:cNvSpPr>
          <p:nvPr>
            <p:ph type="title" hasCustomPrompt="1"/>
          </p:nvPr>
        </p:nvSpPr>
        <p:spPr>
          <a:xfrm>
            <a:off x="7132981" y="2817585"/>
            <a:ext cx="3922713" cy="1016000"/>
          </a:xfrm>
        </p:spPr>
        <p:txBody>
          <a:bodyPr vert="horz" anchor="t">
            <a:normAutofit/>
          </a:bodyPr>
          <a:lstStyle>
            <a:lvl1pPr>
              <a:defRPr sz="6000"/>
            </a:lvl1pPr>
          </a:lstStyle>
          <a:p>
            <a:r>
              <a:rPr lang="en-US" dirty="0"/>
              <a:t>SAMPLE </a:t>
            </a:r>
            <a:br>
              <a:rPr lang="en-US" dirty="0"/>
            </a:br>
            <a:r>
              <a:rPr lang="en-US" dirty="0"/>
              <a:t>TITLE</a:t>
            </a:r>
          </a:p>
        </p:txBody>
      </p:sp>
      <p:sp>
        <p:nvSpPr>
          <p:cNvPr id="3" name="TextBox 2">
            <a:extLst>
              <a:ext uri="{FF2B5EF4-FFF2-40B4-BE49-F238E27FC236}">
                <a16:creationId xmlns:a16="http://schemas.microsoft.com/office/drawing/2014/main" id="{C4D72269-8AC4-DF0A-59BC-C3CD66AF03F6}"/>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2"/>
                </a:solidFill>
                <a:effectLst/>
                <a:latin typeface="+mn-lt"/>
                <a:ea typeface="Calibri" panose="020F0502020204030204" pitchFamily="34" charset="0"/>
                <a:cs typeface="+mn-cs"/>
              </a:rPr>
              <a:t>Powers the Future</a:t>
            </a:r>
            <a:endParaRPr lang="en-US" sz="1200" b="1" kern="0" dirty="0">
              <a:solidFill>
                <a:schemeClr val="bg2"/>
              </a:solidFill>
              <a:effectLst/>
              <a:latin typeface="+mn-lt"/>
              <a:cs typeface="+mn-cs"/>
            </a:endParaRPr>
          </a:p>
        </p:txBody>
      </p:sp>
    </p:spTree>
    <p:extLst>
      <p:ext uri="{BB962C8B-B14F-4D97-AF65-F5344CB8AC3E}">
        <p14:creationId xmlns:p14="http://schemas.microsoft.com/office/powerpoint/2010/main" val="195855806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bout Page_2">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3875965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153;p3">
            <a:extLst>
              <a:ext uri="{FF2B5EF4-FFF2-40B4-BE49-F238E27FC236}">
                <a16:creationId xmlns:a16="http://schemas.microsoft.com/office/drawing/2014/main" id="{FAC5365E-AB69-BB68-23D2-B2B5F66B7E80}"/>
              </a:ext>
            </a:extLst>
          </p:cNvPr>
          <p:cNvSpPr/>
          <p:nvPr userDrawn="1"/>
        </p:nvSpPr>
        <p:spPr>
          <a:xfrm>
            <a:off x="10026128" y="0"/>
            <a:ext cx="2166000" cy="6858000"/>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 name="Google Shape;158;p3">
            <a:extLst>
              <a:ext uri="{FF2B5EF4-FFF2-40B4-BE49-F238E27FC236}">
                <a16:creationId xmlns:a16="http://schemas.microsoft.com/office/drawing/2014/main" id="{1778B028-85F1-9ED2-CC96-E37C4743C4BA}"/>
              </a:ext>
            </a:extLst>
          </p:cNvPr>
          <p:cNvSpPr/>
          <p:nvPr userDrawn="1"/>
        </p:nvSpPr>
        <p:spPr>
          <a:xfrm>
            <a:off x="6605195" y="1097280"/>
            <a:ext cx="5340061" cy="5760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4" name="Google Shape;159;p3">
            <a:extLst>
              <a:ext uri="{FF2B5EF4-FFF2-40B4-BE49-F238E27FC236}">
                <a16:creationId xmlns:a16="http://schemas.microsoft.com/office/drawing/2014/main" id="{537F7F6E-8C4E-6740-B687-DF6416DFC21E}"/>
              </a:ext>
            </a:extLst>
          </p:cNvPr>
          <p:cNvCxnSpPr/>
          <p:nvPr userDrawn="1"/>
        </p:nvCxnSpPr>
        <p:spPr>
          <a:xfrm>
            <a:off x="6225091" y="5389581"/>
            <a:ext cx="0" cy="1468419"/>
          </a:xfrm>
          <a:prstGeom prst="straightConnector1">
            <a:avLst/>
          </a:prstGeom>
          <a:noFill/>
          <a:ln w="28575" cap="flat" cmpd="sng">
            <a:solidFill>
              <a:schemeClr val="accent4"/>
            </a:solidFill>
            <a:prstDash val="solid"/>
            <a:miter lim="800000"/>
            <a:headEnd type="none" w="sm" len="sm"/>
            <a:tailEnd type="none" w="sm" len="sm"/>
          </a:ln>
        </p:spPr>
      </p:cxnSp>
      <p:sp>
        <p:nvSpPr>
          <p:cNvPr id="21" name="Picture Placeholder 17">
            <a:extLst>
              <a:ext uri="{FF2B5EF4-FFF2-40B4-BE49-F238E27FC236}">
                <a16:creationId xmlns:a16="http://schemas.microsoft.com/office/drawing/2014/main" id="{595D44BE-C2A5-C844-E3AC-B1D7AA43C827}"/>
              </a:ext>
            </a:extLst>
          </p:cNvPr>
          <p:cNvSpPr>
            <a:spLocks noGrp="1"/>
          </p:cNvSpPr>
          <p:nvPr>
            <p:ph type="pic" sz="quarter" idx="10"/>
          </p:nvPr>
        </p:nvSpPr>
        <p:spPr>
          <a:xfrm>
            <a:off x="5842927" y="1096367"/>
            <a:ext cx="4183063" cy="3783013"/>
          </a:xfrm>
          <a:solidFill>
            <a:schemeClr val="tx2"/>
          </a:solidFill>
        </p:spPr>
        <p:txBody>
          <a:bodyPr/>
          <a:lstStyle/>
          <a:p>
            <a:endParaRPr lang="en-US"/>
          </a:p>
        </p:txBody>
      </p:sp>
      <p:sp>
        <p:nvSpPr>
          <p:cNvPr id="22" name="Title 21">
            <a:extLst>
              <a:ext uri="{FF2B5EF4-FFF2-40B4-BE49-F238E27FC236}">
                <a16:creationId xmlns:a16="http://schemas.microsoft.com/office/drawing/2014/main" id="{395A973D-E9C6-F89E-BDC6-678A408AECD8}"/>
              </a:ext>
            </a:extLst>
          </p:cNvPr>
          <p:cNvSpPr>
            <a:spLocks noGrp="1"/>
          </p:cNvSpPr>
          <p:nvPr>
            <p:ph type="title"/>
          </p:nvPr>
        </p:nvSpPr>
        <p:spPr>
          <a:xfrm>
            <a:off x="911487" y="1268501"/>
            <a:ext cx="4102963" cy="1200150"/>
          </a:xfrm>
        </p:spPr>
        <p:txBody>
          <a:bodyPr vert="horz">
            <a:normAutofit/>
          </a:bodyPr>
          <a:lstStyle>
            <a:lvl1pPr>
              <a:defRPr sz="3600"/>
            </a:lvl1pPr>
          </a:lstStyle>
          <a:p>
            <a:r>
              <a:rPr lang="en-US"/>
              <a:t>Click to edit Master title style</a:t>
            </a:r>
          </a:p>
        </p:txBody>
      </p:sp>
      <p:sp>
        <p:nvSpPr>
          <p:cNvPr id="30" name="Text Placeholder 29">
            <a:extLst>
              <a:ext uri="{FF2B5EF4-FFF2-40B4-BE49-F238E27FC236}">
                <a16:creationId xmlns:a16="http://schemas.microsoft.com/office/drawing/2014/main" id="{B0278314-B343-CFF7-E6F3-57FD7A1172E2}"/>
              </a:ext>
            </a:extLst>
          </p:cNvPr>
          <p:cNvSpPr>
            <a:spLocks noGrp="1"/>
          </p:cNvSpPr>
          <p:nvPr>
            <p:ph type="body" sz="quarter" idx="11" hasCustomPrompt="1"/>
          </p:nvPr>
        </p:nvSpPr>
        <p:spPr>
          <a:xfrm>
            <a:off x="911487" y="2664302"/>
            <a:ext cx="4102963" cy="368300"/>
          </a:xfrm>
        </p:spPr>
        <p:txBody>
          <a:bodyPr/>
          <a:lstStyle>
            <a:lvl1pPr marL="0" indent="0">
              <a:buNone/>
              <a:defRPr sz="1800"/>
            </a:lvl1pPr>
            <a:lvl2pPr>
              <a:defRPr sz="1800"/>
            </a:lvl2pPr>
            <a:lvl3pPr>
              <a:defRPr sz="1800"/>
            </a:lvl3pPr>
            <a:lvl4pPr>
              <a:defRPr sz="1800"/>
            </a:lvl4pPr>
            <a:lvl5pPr>
              <a:defRPr sz="1800"/>
            </a:lvl5pPr>
          </a:lstStyle>
          <a:p>
            <a:pPr lvl="0"/>
            <a:r>
              <a:rPr lang="en-US"/>
              <a:t>Sub Title</a:t>
            </a:r>
          </a:p>
        </p:txBody>
      </p:sp>
      <p:sp>
        <p:nvSpPr>
          <p:cNvPr id="34" name="Text Placeholder 33">
            <a:extLst>
              <a:ext uri="{FF2B5EF4-FFF2-40B4-BE49-F238E27FC236}">
                <a16:creationId xmlns:a16="http://schemas.microsoft.com/office/drawing/2014/main" id="{68A56FDE-078F-60FB-57DD-9EE968887FDD}"/>
              </a:ext>
            </a:extLst>
          </p:cNvPr>
          <p:cNvSpPr>
            <a:spLocks noGrp="1"/>
          </p:cNvSpPr>
          <p:nvPr>
            <p:ph type="body" sz="quarter" idx="12"/>
          </p:nvPr>
        </p:nvSpPr>
        <p:spPr>
          <a:xfrm>
            <a:off x="910762" y="3172780"/>
            <a:ext cx="4103688" cy="120015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35">
            <a:extLst>
              <a:ext uri="{FF2B5EF4-FFF2-40B4-BE49-F238E27FC236}">
                <a16:creationId xmlns:a16="http://schemas.microsoft.com/office/drawing/2014/main" id="{D69D556B-C614-2752-0C4E-42B8300A2C41}"/>
              </a:ext>
            </a:extLst>
          </p:cNvPr>
          <p:cNvSpPr>
            <a:spLocks noGrp="1"/>
          </p:cNvSpPr>
          <p:nvPr>
            <p:ph type="body" sz="quarter" idx="13" hasCustomPrompt="1"/>
          </p:nvPr>
        </p:nvSpPr>
        <p:spPr>
          <a:xfrm>
            <a:off x="911607" y="5080050"/>
            <a:ext cx="2462213" cy="509588"/>
          </a:xfrm>
          <a:solidFill>
            <a:schemeClr val="accent1"/>
          </a:solidFill>
        </p:spPr>
        <p:txBody>
          <a:bodyPr lIns="91440" anchor="ctr"/>
          <a:lstStyle>
            <a:lvl1pPr marL="0" indent="0" algn="ctr">
              <a:lnSpc>
                <a:spcPct val="100000"/>
              </a:lnSpc>
              <a:spcBef>
                <a:spcPts val="0"/>
              </a:spcBef>
              <a:buNone/>
              <a:defRPr sz="18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Text</a:t>
            </a:r>
          </a:p>
        </p:txBody>
      </p:sp>
      <p:sp>
        <p:nvSpPr>
          <p:cNvPr id="41" name="Footer Placeholder 40">
            <a:extLst>
              <a:ext uri="{FF2B5EF4-FFF2-40B4-BE49-F238E27FC236}">
                <a16:creationId xmlns:a16="http://schemas.microsoft.com/office/drawing/2014/main" id="{C860780A-3176-7ABB-DF06-3F5BF0C9515E}"/>
              </a:ext>
            </a:extLst>
          </p:cNvPr>
          <p:cNvSpPr>
            <a:spLocks noGrp="1"/>
          </p:cNvSpPr>
          <p:nvPr>
            <p:ph type="ftr" sz="quarter" idx="14"/>
          </p:nvPr>
        </p:nvSpPr>
        <p:spPr>
          <a:xfrm>
            <a:off x="419099" y="6398540"/>
            <a:ext cx="5423825" cy="153888"/>
          </a:xfrm>
        </p:spPr>
        <p:txBody>
          <a:bodyPr/>
          <a:lstStyle/>
          <a:p>
            <a:endParaRPr lang="en-US"/>
          </a:p>
        </p:txBody>
      </p:sp>
    </p:spTree>
    <p:extLst>
      <p:ext uri="{BB962C8B-B14F-4D97-AF65-F5344CB8AC3E}">
        <p14:creationId xmlns:p14="http://schemas.microsoft.com/office/powerpoint/2010/main" val="207839379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ample Layout_23">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3286012119"/>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cxnSp>
        <p:nvCxnSpPr>
          <p:cNvPr id="8" name="Google Shape;537;p29">
            <a:extLst>
              <a:ext uri="{FF2B5EF4-FFF2-40B4-BE49-F238E27FC236}">
                <a16:creationId xmlns:a16="http://schemas.microsoft.com/office/drawing/2014/main" id="{C7C61206-35B6-F109-EF10-E92E02FE362A}"/>
              </a:ext>
            </a:extLst>
          </p:cNvPr>
          <p:cNvCxnSpPr/>
          <p:nvPr userDrawn="1"/>
        </p:nvCxnSpPr>
        <p:spPr>
          <a:xfrm>
            <a:off x="11415656" y="0"/>
            <a:ext cx="0" cy="1377387"/>
          </a:xfrm>
          <a:prstGeom prst="straightConnector1">
            <a:avLst/>
          </a:prstGeom>
          <a:noFill/>
          <a:ln w="28575" cap="flat" cmpd="sng">
            <a:solidFill>
              <a:schemeClr val="accent4"/>
            </a:solidFill>
            <a:prstDash val="solid"/>
            <a:miter lim="800000"/>
            <a:headEnd type="none" w="sm" len="sm"/>
            <a:tailEnd type="none" w="sm" len="sm"/>
          </a:ln>
        </p:spPr>
      </p:cxnSp>
      <p:pic>
        <p:nvPicPr>
          <p:cNvPr id="9" name="Picture 8" descr="A logo with a black background&#10;&#10;Description automatically generated">
            <a:extLst>
              <a:ext uri="{FF2B5EF4-FFF2-40B4-BE49-F238E27FC236}">
                <a16:creationId xmlns:a16="http://schemas.microsoft.com/office/drawing/2014/main" id="{1ADFDCBE-7742-1824-AF14-CBC08CCB6B5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635132" y="4976807"/>
            <a:ext cx="2197848" cy="928955"/>
          </a:xfrm>
          <a:prstGeom prst="rect">
            <a:avLst/>
          </a:prstGeom>
        </p:spPr>
      </p:pic>
      <p:sp>
        <p:nvSpPr>
          <p:cNvPr id="11" name="Picture Placeholder 10">
            <a:extLst>
              <a:ext uri="{FF2B5EF4-FFF2-40B4-BE49-F238E27FC236}">
                <a16:creationId xmlns:a16="http://schemas.microsoft.com/office/drawing/2014/main" id="{B9E79CA2-8D0D-0C83-BF45-A06B2FDA9319}"/>
              </a:ext>
            </a:extLst>
          </p:cNvPr>
          <p:cNvSpPr>
            <a:spLocks noGrp="1"/>
          </p:cNvSpPr>
          <p:nvPr>
            <p:ph type="pic" sz="quarter" idx="10"/>
          </p:nvPr>
        </p:nvSpPr>
        <p:spPr>
          <a:xfrm>
            <a:off x="3167599" y="0"/>
            <a:ext cx="3724275" cy="6858000"/>
          </a:xfrm>
          <a:solidFill>
            <a:schemeClr val="tx2"/>
          </a:solidFill>
        </p:spPr>
        <p:txBody>
          <a:bodyPr/>
          <a:lstStyle/>
          <a:p>
            <a:endParaRPr lang="en-US"/>
          </a:p>
        </p:txBody>
      </p:sp>
      <p:sp>
        <p:nvSpPr>
          <p:cNvPr id="12" name="Title 11">
            <a:extLst>
              <a:ext uri="{FF2B5EF4-FFF2-40B4-BE49-F238E27FC236}">
                <a16:creationId xmlns:a16="http://schemas.microsoft.com/office/drawing/2014/main" id="{95C22E5B-047D-02CC-3457-3D1FCD3A2BA0}"/>
              </a:ext>
            </a:extLst>
          </p:cNvPr>
          <p:cNvSpPr>
            <a:spLocks noGrp="1"/>
          </p:cNvSpPr>
          <p:nvPr>
            <p:ph type="title" hasCustomPrompt="1"/>
          </p:nvPr>
        </p:nvSpPr>
        <p:spPr>
          <a:xfrm>
            <a:off x="7831137" y="1438571"/>
            <a:ext cx="3549650" cy="1200150"/>
          </a:xfrm>
        </p:spPr>
        <p:txBody>
          <a:bodyPr vert="horz">
            <a:normAutofit/>
          </a:bodyPr>
          <a:lstStyle>
            <a:lvl1pPr>
              <a:defRPr sz="3600"/>
            </a:lvl1pPr>
          </a:lstStyle>
          <a:p>
            <a:r>
              <a:rPr lang="en-US" dirty="0"/>
              <a:t>SAMPLE </a:t>
            </a:r>
            <a:br>
              <a:rPr lang="en-US" dirty="0"/>
            </a:br>
            <a:r>
              <a:rPr lang="en-US" dirty="0"/>
              <a:t>TITLE</a:t>
            </a:r>
          </a:p>
        </p:txBody>
      </p:sp>
      <p:sp>
        <p:nvSpPr>
          <p:cNvPr id="17" name="Text Placeholder 16">
            <a:extLst>
              <a:ext uri="{FF2B5EF4-FFF2-40B4-BE49-F238E27FC236}">
                <a16:creationId xmlns:a16="http://schemas.microsoft.com/office/drawing/2014/main" id="{40AB38FB-2495-C51D-344E-9398EB71C54C}"/>
              </a:ext>
            </a:extLst>
          </p:cNvPr>
          <p:cNvSpPr>
            <a:spLocks noGrp="1"/>
          </p:cNvSpPr>
          <p:nvPr>
            <p:ph type="body" sz="quarter" idx="11" hasCustomPrompt="1"/>
          </p:nvPr>
        </p:nvSpPr>
        <p:spPr>
          <a:xfrm>
            <a:off x="7831137" y="2637853"/>
            <a:ext cx="3549650" cy="369888"/>
          </a:xfrm>
        </p:spPr>
        <p:txBody>
          <a:bodyPr>
            <a:noAutofit/>
          </a:bodyPr>
          <a:lstStyle>
            <a:lvl1pPr>
              <a:defRPr sz="1800"/>
            </a:lvl1pPr>
            <a:lvl2pPr>
              <a:defRPr sz="1800"/>
            </a:lvl2pPr>
            <a:lvl3pPr>
              <a:defRPr sz="1800"/>
            </a:lvl3pPr>
            <a:lvl4pPr>
              <a:defRPr sz="1800"/>
            </a:lvl4pPr>
            <a:lvl5pPr>
              <a:defRPr sz="1800"/>
            </a:lvl5pPr>
          </a:lstStyle>
          <a:p>
            <a:pPr marL="0" marR="0" lvl="0" indent="0" algn="l" rtl="0">
              <a:spcBef>
                <a:spcPts val="0"/>
              </a:spcBef>
              <a:spcAft>
                <a:spcPts val="0"/>
              </a:spcAft>
              <a:buNone/>
            </a:pPr>
            <a:r>
              <a:rPr lang="en-US" dirty="0">
                <a:solidFill>
                  <a:schemeClr val="tx2"/>
                </a:solidFill>
                <a:latin typeface="+mj-lt"/>
                <a:ea typeface="Poppins Medium"/>
                <a:cs typeface="Poppins Medium"/>
                <a:sym typeface="Poppins Medium"/>
              </a:rPr>
              <a:t>Your text here</a:t>
            </a:r>
            <a:endParaRPr lang="en-US" dirty="0">
              <a:solidFill>
                <a:schemeClr val="tx2"/>
              </a:solidFill>
              <a:latin typeface="+mj-lt"/>
            </a:endParaRPr>
          </a:p>
        </p:txBody>
      </p:sp>
      <p:sp>
        <p:nvSpPr>
          <p:cNvPr id="20" name="Text Placeholder 19">
            <a:extLst>
              <a:ext uri="{FF2B5EF4-FFF2-40B4-BE49-F238E27FC236}">
                <a16:creationId xmlns:a16="http://schemas.microsoft.com/office/drawing/2014/main" id="{2EE55A67-6CD1-6A4A-59CA-83EA103A1157}"/>
              </a:ext>
            </a:extLst>
          </p:cNvPr>
          <p:cNvSpPr>
            <a:spLocks noGrp="1"/>
          </p:cNvSpPr>
          <p:nvPr>
            <p:ph type="body" sz="quarter" idx="12"/>
          </p:nvPr>
        </p:nvSpPr>
        <p:spPr>
          <a:xfrm>
            <a:off x="7831348" y="3245037"/>
            <a:ext cx="3549650" cy="120015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a:extLst>
              <a:ext uri="{FF2B5EF4-FFF2-40B4-BE49-F238E27FC236}">
                <a16:creationId xmlns:a16="http://schemas.microsoft.com/office/drawing/2014/main" id="{694E749A-B2DD-4670-8ECD-66116F600325}"/>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2"/>
                </a:solidFill>
                <a:effectLst/>
                <a:latin typeface="+mn-lt"/>
                <a:ea typeface="Calibri" panose="020F0502020204030204" pitchFamily="34" charset="0"/>
                <a:cs typeface="+mn-cs"/>
              </a:rPr>
              <a:t>Powers the Future</a:t>
            </a:r>
            <a:endParaRPr lang="en-US" sz="1200" b="1" kern="0" dirty="0">
              <a:solidFill>
                <a:schemeClr val="bg2"/>
              </a:solidFill>
              <a:effectLst/>
              <a:latin typeface="+mn-lt"/>
              <a:cs typeface="+mn-cs"/>
            </a:endParaRPr>
          </a:p>
        </p:txBody>
      </p:sp>
    </p:spTree>
    <p:extLst>
      <p:ext uri="{BB962C8B-B14F-4D97-AF65-F5344CB8AC3E}">
        <p14:creationId xmlns:p14="http://schemas.microsoft.com/office/powerpoint/2010/main" val="1086115538"/>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Sample Layout_24">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2254026622"/>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547;p30">
            <a:extLst>
              <a:ext uri="{FF2B5EF4-FFF2-40B4-BE49-F238E27FC236}">
                <a16:creationId xmlns:a16="http://schemas.microsoft.com/office/drawing/2014/main" id="{FC56F051-FBD8-CB74-3704-53706E078DE3}"/>
              </a:ext>
            </a:extLst>
          </p:cNvPr>
          <p:cNvSpPr/>
          <p:nvPr userDrawn="1"/>
        </p:nvSpPr>
        <p:spPr>
          <a:xfrm>
            <a:off x="-25" y="0"/>
            <a:ext cx="12192000" cy="2663400"/>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 name="Picture 7" descr="A logo with a black background&#10;&#10;Description automatically generated">
            <a:extLst>
              <a:ext uri="{FF2B5EF4-FFF2-40B4-BE49-F238E27FC236}">
                <a16:creationId xmlns:a16="http://schemas.microsoft.com/office/drawing/2014/main" id="{C6AF1706-8087-85E9-A099-E786496618E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62943" y="5876309"/>
            <a:ext cx="1808807" cy="764521"/>
          </a:xfrm>
          <a:prstGeom prst="rect">
            <a:avLst/>
          </a:prstGeom>
        </p:spPr>
      </p:pic>
      <p:sp>
        <p:nvSpPr>
          <p:cNvPr id="11" name="Picture Placeholder 9">
            <a:extLst>
              <a:ext uri="{FF2B5EF4-FFF2-40B4-BE49-F238E27FC236}">
                <a16:creationId xmlns:a16="http://schemas.microsoft.com/office/drawing/2014/main" id="{1E53467A-64F0-F715-6213-0F9ED5941961}"/>
              </a:ext>
            </a:extLst>
          </p:cNvPr>
          <p:cNvSpPr>
            <a:spLocks noGrp="1"/>
          </p:cNvSpPr>
          <p:nvPr>
            <p:ph type="pic" sz="quarter" idx="10"/>
          </p:nvPr>
        </p:nvSpPr>
        <p:spPr>
          <a:xfrm>
            <a:off x="970774" y="942619"/>
            <a:ext cx="10250488" cy="3219450"/>
          </a:xfrm>
          <a:solidFill>
            <a:schemeClr val="tx2"/>
          </a:solidFill>
        </p:spPr>
        <p:txBody>
          <a:bodyPr/>
          <a:lstStyle/>
          <a:p>
            <a:endParaRPr lang="en-US"/>
          </a:p>
        </p:txBody>
      </p:sp>
      <p:sp>
        <p:nvSpPr>
          <p:cNvPr id="12" name="Title 11">
            <a:extLst>
              <a:ext uri="{FF2B5EF4-FFF2-40B4-BE49-F238E27FC236}">
                <a16:creationId xmlns:a16="http://schemas.microsoft.com/office/drawing/2014/main" id="{26DF4BD2-F788-0C2B-8A7C-770FB0ACBD51}"/>
              </a:ext>
            </a:extLst>
          </p:cNvPr>
          <p:cNvSpPr>
            <a:spLocks noGrp="1"/>
          </p:cNvSpPr>
          <p:nvPr>
            <p:ph type="title" hasCustomPrompt="1"/>
          </p:nvPr>
        </p:nvSpPr>
        <p:spPr>
          <a:xfrm>
            <a:off x="938850" y="4612920"/>
            <a:ext cx="2558730" cy="523875"/>
          </a:xfrm>
        </p:spPr>
        <p:txBody>
          <a:bodyPr vert="horz">
            <a:noAutofit/>
          </a:bodyPr>
          <a:lstStyle>
            <a:lvl1pPr>
              <a:defRPr sz="2400"/>
            </a:lvl1pPr>
          </a:lstStyle>
          <a:p>
            <a:r>
              <a:rPr lang="en-US" dirty="0"/>
              <a:t>Click to edit title</a:t>
            </a:r>
          </a:p>
        </p:txBody>
      </p:sp>
      <p:sp>
        <p:nvSpPr>
          <p:cNvPr id="22" name="Text Placeholder 21">
            <a:extLst>
              <a:ext uri="{FF2B5EF4-FFF2-40B4-BE49-F238E27FC236}">
                <a16:creationId xmlns:a16="http://schemas.microsoft.com/office/drawing/2014/main" id="{AB26CEFC-B75D-D0B2-7D81-6E878680CC84}"/>
              </a:ext>
            </a:extLst>
          </p:cNvPr>
          <p:cNvSpPr>
            <a:spLocks noGrp="1"/>
          </p:cNvSpPr>
          <p:nvPr>
            <p:ph type="body" sz="quarter" idx="11" hasCustomPrompt="1"/>
          </p:nvPr>
        </p:nvSpPr>
        <p:spPr>
          <a:xfrm>
            <a:off x="938850" y="5277973"/>
            <a:ext cx="2558730" cy="369888"/>
          </a:xfrm>
        </p:spPr>
        <p:txBody>
          <a:bodyPr>
            <a:normAutofit/>
          </a:bodyPr>
          <a:lstStyle>
            <a:lvl1pPr marL="0" indent="0">
              <a:buNone/>
              <a:defRPr sz="1800"/>
            </a:lvl1pPr>
          </a:lstStyle>
          <a:p>
            <a:pPr lvl="0"/>
            <a:r>
              <a:rPr lang="en-US" dirty="0"/>
              <a:t>Your text here</a:t>
            </a:r>
          </a:p>
        </p:txBody>
      </p:sp>
      <p:sp>
        <p:nvSpPr>
          <p:cNvPr id="25" name="Text Placeholder 24">
            <a:extLst>
              <a:ext uri="{FF2B5EF4-FFF2-40B4-BE49-F238E27FC236}">
                <a16:creationId xmlns:a16="http://schemas.microsoft.com/office/drawing/2014/main" id="{D7E8AE94-0F32-6596-A086-3E3FDEC8DB4E}"/>
              </a:ext>
            </a:extLst>
          </p:cNvPr>
          <p:cNvSpPr>
            <a:spLocks noGrp="1"/>
          </p:cNvSpPr>
          <p:nvPr>
            <p:ph type="body" sz="quarter" idx="12"/>
          </p:nvPr>
        </p:nvSpPr>
        <p:spPr>
          <a:xfrm>
            <a:off x="3590925" y="4612979"/>
            <a:ext cx="2179638" cy="1034882"/>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EB522C4F-2CAD-1E27-5B57-3C7B8F6F4BBE}"/>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2"/>
                </a:solidFill>
                <a:effectLst/>
                <a:latin typeface="+mn-lt"/>
                <a:ea typeface="Calibri" panose="020F0502020204030204" pitchFamily="34" charset="0"/>
                <a:cs typeface="+mn-cs"/>
              </a:rPr>
              <a:t>Powers the Future</a:t>
            </a:r>
            <a:endParaRPr lang="en-US" sz="1200" b="1" kern="0" dirty="0">
              <a:solidFill>
                <a:schemeClr val="bg2"/>
              </a:solidFill>
              <a:effectLst/>
              <a:latin typeface="+mn-lt"/>
              <a:cs typeface="+mn-cs"/>
            </a:endParaRPr>
          </a:p>
        </p:txBody>
      </p:sp>
    </p:spTree>
    <p:extLst>
      <p:ext uri="{BB962C8B-B14F-4D97-AF65-F5344CB8AC3E}">
        <p14:creationId xmlns:p14="http://schemas.microsoft.com/office/powerpoint/2010/main" val="1036690608"/>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rvice pag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3278691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4454712-6715-BBA9-3D96-51AAE4BD2D52}"/>
              </a:ext>
            </a:extLst>
          </p:cNvPr>
          <p:cNvSpPr/>
          <p:nvPr userDrawn="1"/>
        </p:nvSpPr>
        <p:spPr>
          <a:xfrm>
            <a:off x="10160000" y="101600"/>
            <a:ext cx="1785257" cy="957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Google Shape;353;p16">
            <a:extLst>
              <a:ext uri="{FF2B5EF4-FFF2-40B4-BE49-F238E27FC236}">
                <a16:creationId xmlns:a16="http://schemas.microsoft.com/office/drawing/2014/main" id="{D8E9539F-1393-8BF6-D239-3150E52715CD}"/>
              </a:ext>
            </a:extLst>
          </p:cNvPr>
          <p:cNvSpPr/>
          <p:nvPr userDrawn="1"/>
        </p:nvSpPr>
        <p:spPr>
          <a:xfrm>
            <a:off x="4001774" y="4935834"/>
            <a:ext cx="3399419" cy="995116"/>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9" name="Google Shape;357;p16">
            <a:extLst>
              <a:ext uri="{FF2B5EF4-FFF2-40B4-BE49-F238E27FC236}">
                <a16:creationId xmlns:a16="http://schemas.microsoft.com/office/drawing/2014/main" id="{CD296835-2EAE-8A3E-A805-D586F27A07EC}"/>
              </a:ext>
            </a:extLst>
          </p:cNvPr>
          <p:cNvCxnSpPr/>
          <p:nvPr userDrawn="1"/>
        </p:nvCxnSpPr>
        <p:spPr>
          <a:xfrm>
            <a:off x="6245400" y="5465125"/>
            <a:ext cx="1155900" cy="2100"/>
          </a:xfrm>
          <a:prstGeom prst="straightConnector1">
            <a:avLst/>
          </a:prstGeom>
          <a:noFill/>
          <a:ln w="28575" cap="flat" cmpd="sng">
            <a:solidFill>
              <a:schemeClr val="accent2"/>
            </a:solidFill>
            <a:prstDash val="solid"/>
            <a:miter lim="800000"/>
            <a:headEnd type="none" w="sm" len="sm"/>
            <a:tailEnd type="none" w="sm" len="sm"/>
          </a:ln>
        </p:spPr>
      </p:cxnSp>
      <p:pic>
        <p:nvPicPr>
          <p:cNvPr id="10" name="Picture 9" descr="A logo with a black background&#10;&#10;Description automatically generated">
            <a:extLst>
              <a:ext uri="{FF2B5EF4-FFF2-40B4-BE49-F238E27FC236}">
                <a16:creationId xmlns:a16="http://schemas.microsoft.com/office/drawing/2014/main" id="{4C4DDD28-CE49-92B4-FC71-4401C7BC2B5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994651" y="1928545"/>
            <a:ext cx="2197848" cy="928955"/>
          </a:xfrm>
          <a:prstGeom prst="rect">
            <a:avLst/>
          </a:prstGeom>
        </p:spPr>
      </p:pic>
      <p:sp>
        <p:nvSpPr>
          <p:cNvPr id="15" name="Picture Placeholder 13">
            <a:extLst>
              <a:ext uri="{FF2B5EF4-FFF2-40B4-BE49-F238E27FC236}">
                <a16:creationId xmlns:a16="http://schemas.microsoft.com/office/drawing/2014/main" id="{50DCA42A-B41C-72AD-6A43-3307CD8E30D6}"/>
              </a:ext>
            </a:extLst>
          </p:cNvPr>
          <p:cNvSpPr>
            <a:spLocks noGrp="1"/>
          </p:cNvSpPr>
          <p:nvPr>
            <p:ph type="pic" sz="quarter" idx="10"/>
          </p:nvPr>
        </p:nvSpPr>
        <p:spPr>
          <a:xfrm>
            <a:off x="-388" y="0"/>
            <a:ext cx="4002088" cy="5930900"/>
          </a:xfrm>
          <a:solidFill>
            <a:schemeClr val="tx2"/>
          </a:solidFill>
        </p:spPr>
        <p:txBody>
          <a:bodyPr/>
          <a:lstStyle/>
          <a:p>
            <a:endParaRPr lang="en-US"/>
          </a:p>
        </p:txBody>
      </p:sp>
      <p:sp>
        <p:nvSpPr>
          <p:cNvPr id="18" name="Picture Placeholder 16">
            <a:extLst>
              <a:ext uri="{FF2B5EF4-FFF2-40B4-BE49-F238E27FC236}">
                <a16:creationId xmlns:a16="http://schemas.microsoft.com/office/drawing/2014/main" id="{FEBCDD86-3A48-66E1-4B10-7409E6EEA109}"/>
              </a:ext>
            </a:extLst>
          </p:cNvPr>
          <p:cNvSpPr>
            <a:spLocks noGrp="1"/>
          </p:cNvSpPr>
          <p:nvPr>
            <p:ph type="pic" sz="quarter" idx="11"/>
          </p:nvPr>
        </p:nvSpPr>
        <p:spPr>
          <a:xfrm>
            <a:off x="4002425" y="0"/>
            <a:ext cx="3398838" cy="4935538"/>
          </a:xfrm>
          <a:solidFill>
            <a:schemeClr val="accent3"/>
          </a:solidFill>
        </p:spPr>
        <p:txBody>
          <a:bodyPr/>
          <a:lstStyle/>
          <a:p>
            <a:endParaRPr lang="en-US"/>
          </a:p>
        </p:txBody>
      </p:sp>
      <p:sp>
        <p:nvSpPr>
          <p:cNvPr id="20" name="Text Placeholder 19">
            <a:extLst>
              <a:ext uri="{FF2B5EF4-FFF2-40B4-BE49-F238E27FC236}">
                <a16:creationId xmlns:a16="http://schemas.microsoft.com/office/drawing/2014/main" id="{529C20D8-A1E4-2336-82E0-6A268B8D8C6D}"/>
              </a:ext>
            </a:extLst>
          </p:cNvPr>
          <p:cNvSpPr>
            <a:spLocks noGrp="1"/>
          </p:cNvSpPr>
          <p:nvPr>
            <p:ph type="body" sz="quarter" idx="12" hasCustomPrompt="1"/>
          </p:nvPr>
        </p:nvSpPr>
        <p:spPr>
          <a:xfrm>
            <a:off x="4406587" y="5314712"/>
            <a:ext cx="1838813" cy="277813"/>
          </a:xfrm>
        </p:spPr>
        <p:txBody>
          <a:bodyPr/>
          <a:lstStyle>
            <a:lvl1pPr marL="0" indent="0">
              <a:buNone/>
              <a:defRPr/>
            </a:lvl1pPr>
            <a:lvl2pPr marL="182880" indent="0">
              <a:buNone/>
              <a:defRPr/>
            </a:lvl2pPr>
          </a:lstStyle>
          <a:p>
            <a:pPr lvl="0"/>
            <a:r>
              <a:rPr lang="en-US" dirty="0"/>
              <a:t>Click to edit Master </a:t>
            </a:r>
            <a:br>
              <a:rPr lang="en-US" dirty="0"/>
            </a:br>
            <a:r>
              <a:rPr lang="en-US" dirty="0"/>
              <a:t>text styles</a:t>
            </a:r>
          </a:p>
        </p:txBody>
      </p:sp>
      <p:sp>
        <p:nvSpPr>
          <p:cNvPr id="21" name="Title 20">
            <a:extLst>
              <a:ext uri="{FF2B5EF4-FFF2-40B4-BE49-F238E27FC236}">
                <a16:creationId xmlns:a16="http://schemas.microsoft.com/office/drawing/2014/main" id="{65473BBB-00E2-407C-6CC4-795B6D4657E3}"/>
              </a:ext>
            </a:extLst>
          </p:cNvPr>
          <p:cNvSpPr>
            <a:spLocks noGrp="1"/>
          </p:cNvSpPr>
          <p:nvPr>
            <p:ph type="title" hasCustomPrompt="1"/>
          </p:nvPr>
        </p:nvSpPr>
        <p:spPr>
          <a:xfrm>
            <a:off x="8129208" y="2929174"/>
            <a:ext cx="3108325" cy="830263"/>
          </a:xfrm>
        </p:spPr>
        <p:txBody>
          <a:bodyPr vert="horz">
            <a:noAutofit/>
          </a:bodyPr>
          <a:lstStyle>
            <a:lvl1pPr>
              <a:defRPr sz="4800"/>
            </a:lvl1pPr>
          </a:lstStyle>
          <a:p>
            <a:r>
              <a:rPr lang="en-US" dirty="0"/>
              <a:t>SERVICE</a:t>
            </a:r>
          </a:p>
        </p:txBody>
      </p:sp>
      <p:sp>
        <p:nvSpPr>
          <p:cNvPr id="24" name="Text Placeholder 23">
            <a:extLst>
              <a:ext uri="{FF2B5EF4-FFF2-40B4-BE49-F238E27FC236}">
                <a16:creationId xmlns:a16="http://schemas.microsoft.com/office/drawing/2014/main" id="{DDCD9AC8-3880-1F15-D307-9B31117A67DF}"/>
              </a:ext>
            </a:extLst>
          </p:cNvPr>
          <p:cNvSpPr>
            <a:spLocks noGrp="1"/>
          </p:cNvSpPr>
          <p:nvPr>
            <p:ph type="body" sz="quarter" idx="13" hasCustomPrompt="1"/>
          </p:nvPr>
        </p:nvSpPr>
        <p:spPr>
          <a:xfrm>
            <a:off x="8129208" y="4009684"/>
            <a:ext cx="3108325" cy="338138"/>
          </a:xfrm>
        </p:spPr>
        <p:txBody>
          <a:bodyPr>
            <a:normAutofit/>
          </a:bodyPr>
          <a:lstStyle>
            <a:lvl1pPr marL="0" indent="0">
              <a:buNone/>
              <a:defRPr sz="1600"/>
            </a:lvl1pPr>
          </a:lstStyle>
          <a:p>
            <a:pPr lvl="0"/>
            <a:r>
              <a:rPr lang="en-US" dirty="0"/>
              <a:t>Our Services</a:t>
            </a:r>
          </a:p>
        </p:txBody>
      </p:sp>
    </p:spTree>
    <p:extLst>
      <p:ext uri="{BB962C8B-B14F-4D97-AF65-F5344CB8AC3E}">
        <p14:creationId xmlns:p14="http://schemas.microsoft.com/office/powerpoint/2010/main" val="27339103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Prices-Comparison Slid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3722271822"/>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575;p32">
            <a:extLst>
              <a:ext uri="{FF2B5EF4-FFF2-40B4-BE49-F238E27FC236}">
                <a16:creationId xmlns:a16="http://schemas.microsoft.com/office/drawing/2014/main" id="{96A8B432-99D6-FDFD-C323-83AFD6C1EA7D}"/>
              </a:ext>
            </a:extLst>
          </p:cNvPr>
          <p:cNvSpPr/>
          <p:nvPr userDrawn="1"/>
        </p:nvSpPr>
        <p:spPr>
          <a:xfrm>
            <a:off x="0" y="0"/>
            <a:ext cx="12192000" cy="6858000"/>
          </a:xfrm>
          <a:prstGeom prst="rect">
            <a:avLst/>
          </a:prstGeom>
          <a:solidFill>
            <a:schemeClr val="accent4">
              <a:alpha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 name="Google Shape;579;p32">
            <a:extLst>
              <a:ext uri="{FF2B5EF4-FFF2-40B4-BE49-F238E27FC236}">
                <a16:creationId xmlns:a16="http://schemas.microsoft.com/office/drawing/2014/main" id="{0319B339-D5F4-1F99-FFD9-4846ABE914FF}"/>
              </a:ext>
            </a:extLst>
          </p:cNvPr>
          <p:cNvSpPr/>
          <p:nvPr userDrawn="1"/>
        </p:nvSpPr>
        <p:spPr>
          <a:xfrm>
            <a:off x="8087334" y="548506"/>
            <a:ext cx="3468414" cy="5236531"/>
          </a:xfrm>
          <a:prstGeom prst="roundRect">
            <a:avLst>
              <a:gd name="adj" fmla="val 0"/>
            </a:avLst>
          </a:prstGeom>
          <a:solidFill>
            <a:schemeClr val="accent1"/>
          </a:solidFill>
          <a:ln>
            <a:noFill/>
          </a:ln>
          <a:effectLst>
            <a:outerShdw blurRad="274864" dist="38100" dir="5400000" sx="100700" sy="100700" algn="t" rotWithShape="0">
              <a:srgbClr val="5036B2">
                <a:alpha val="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 name="Google Shape;580;p32">
            <a:extLst>
              <a:ext uri="{FF2B5EF4-FFF2-40B4-BE49-F238E27FC236}">
                <a16:creationId xmlns:a16="http://schemas.microsoft.com/office/drawing/2014/main" id="{E684476A-17BA-2356-E1F6-DB56380C2CA2}"/>
              </a:ext>
            </a:extLst>
          </p:cNvPr>
          <p:cNvSpPr/>
          <p:nvPr userDrawn="1"/>
        </p:nvSpPr>
        <p:spPr>
          <a:xfrm>
            <a:off x="8531838" y="729006"/>
            <a:ext cx="2579405" cy="80269"/>
          </a:xfrm>
          <a:prstGeom prst="roundRect">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 name="Google Shape;594;p32">
            <a:extLst>
              <a:ext uri="{FF2B5EF4-FFF2-40B4-BE49-F238E27FC236}">
                <a16:creationId xmlns:a16="http://schemas.microsoft.com/office/drawing/2014/main" id="{265D2A26-B156-AB89-6C0B-9BB9C0998B91}"/>
              </a:ext>
            </a:extLst>
          </p:cNvPr>
          <p:cNvSpPr/>
          <p:nvPr userDrawn="1"/>
        </p:nvSpPr>
        <p:spPr>
          <a:xfrm>
            <a:off x="4285378" y="1072964"/>
            <a:ext cx="3468414" cy="5236531"/>
          </a:xfrm>
          <a:prstGeom prst="roundRect">
            <a:avLst>
              <a:gd name="adj" fmla="val 0"/>
            </a:avLst>
          </a:prstGeom>
          <a:solidFill>
            <a:schemeClr val="lt1"/>
          </a:solidFill>
          <a:ln>
            <a:noFill/>
          </a:ln>
          <a:effectLst>
            <a:outerShdw blurRad="274864" dist="38100" dir="5400000" sx="100700" sy="100700" algn="t" rotWithShape="0">
              <a:srgbClr val="5036B2">
                <a:alpha val="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 name="Google Shape;595;p32">
            <a:extLst>
              <a:ext uri="{FF2B5EF4-FFF2-40B4-BE49-F238E27FC236}">
                <a16:creationId xmlns:a16="http://schemas.microsoft.com/office/drawing/2014/main" id="{7615806B-D2C4-74A5-1CD4-679AF9DB4C3E}"/>
              </a:ext>
            </a:extLst>
          </p:cNvPr>
          <p:cNvSpPr/>
          <p:nvPr userDrawn="1"/>
        </p:nvSpPr>
        <p:spPr>
          <a:xfrm>
            <a:off x="4729882" y="1253464"/>
            <a:ext cx="2579405" cy="80269"/>
          </a:xfrm>
          <a:prstGeom prst="roundRect">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 name="Picture 7" descr="A logo with a black background&#10;&#10;Description automatically generated">
            <a:extLst>
              <a:ext uri="{FF2B5EF4-FFF2-40B4-BE49-F238E27FC236}">
                <a16:creationId xmlns:a16="http://schemas.microsoft.com/office/drawing/2014/main" id="{79987D08-F053-DF53-706B-EE06069E729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98213" y="4984690"/>
            <a:ext cx="2197848" cy="928955"/>
          </a:xfrm>
          <a:prstGeom prst="rect">
            <a:avLst/>
          </a:prstGeom>
        </p:spPr>
      </p:pic>
      <p:sp>
        <p:nvSpPr>
          <p:cNvPr id="12" name="Title 11">
            <a:extLst>
              <a:ext uri="{FF2B5EF4-FFF2-40B4-BE49-F238E27FC236}">
                <a16:creationId xmlns:a16="http://schemas.microsoft.com/office/drawing/2014/main" id="{582B1642-D1E4-E9EE-7473-23FA14218C8D}"/>
              </a:ext>
            </a:extLst>
          </p:cNvPr>
          <p:cNvSpPr>
            <a:spLocks noGrp="1"/>
          </p:cNvSpPr>
          <p:nvPr>
            <p:ph type="title" hasCustomPrompt="1"/>
          </p:nvPr>
        </p:nvSpPr>
        <p:spPr>
          <a:xfrm>
            <a:off x="607399" y="1125550"/>
            <a:ext cx="3054350" cy="1200150"/>
          </a:xfrm>
        </p:spPr>
        <p:txBody>
          <a:bodyPr vert="horz" lIns="91440">
            <a:noAutofit/>
          </a:bodyPr>
          <a:lstStyle>
            <a:lvl1pPr>
              <a:defRPr sz="3600"/>
            </a:lvl1pPr>
          </a:lstStyle>
          <a:p>
            <a:r>
              <a:rPr lang="en-US" dirty="0"/>
              <a:t>Click to edit title style</a:t>
            </a:r>
          </a:p>
        </p:txBody>
      </p:sp>
      <p:sp>
        <p:nvSpPr>
          <p:cNvPr id="14" name="Text Placeholder 13">
            <a:extLst>
              <a:ext uri="{FF2B5EF4-FFF2-40B4-BE49-F238E27FC236}">
                <a16:creationId xmlns:a16="http://schemas.microsoft.com/office/drawing/2014/main" id="{E65E3528-B916-4246-9528-633AFDDD4529}"/>
              </a:ext>
            </a:extLst>
          </p:cNvPr>
          <p:cNvSpPr>
            <a:spLocks noGrp="1"/>
          </p:cNvSpPr>
          <p:nvPr>
            <p:ph type="body" sz="quarter" idx="10" hasCustomPrompt="1"/>
          </p:nvPr>
        </p:nvSpPr>
        <p:spPr>
          <a:xfrm>
            <a:off x="607399" y="2325242"/>
            <a:ext cx="3054350" cy="307975"/>
          </a:xfrm>
        </p:spPr>
        <p:txBody>
          <a:bodyPr lIns="91440">
            <a:normAutofit/>
          </a:bodyPr>
          <a:lstStyle>
            <a:lvl1pPr marL="0" indent="0">
              <a:buNone/>
              <a:defRPr sz="1400">
                <a:solidFill>
                  <a:schemeClr val="tx2"/>
                </a:solidFill>
                <a:latin typeface="Arial" panose="020B0604020202020204" pitchFamily="34" charset="0"/>
                <a:cs typeface="Arial" panose="020B0604020202020204" pitchFamily="34" charset="0"/>
              </a:defRPr>
            </a:lvl1pPr>
          </a:lstStyle>
          <a:p>
            <a:pPr lvl="0"/>
            <a:r>
              <a:rPr lang="en-US" dirty="0"/>
              <a:t>Sub Title</a:t>
            </a:r>
          </a:p>
        </p:txBody>
      </p:sp>
      <p:sp>
        <p:nvSpPr>
          <p:cNvPr id="26" name="Text Placeholder 25">
            <a:extLst>
              <a:ext uri="{FF2B5EF4-FFF2-40B4-BE49-F238E27FC236}">
                <a16:creationId xmlns:a16="http://schemas.microsoft.com/office/drawing/2014/main" id="{8CB116A0-06D6-ECCB-27C7-CA0F26C1DC25}"/>
              </a:ext>
            </a:extLst>
          </p:cNvPr>
          <p:cNvSpPr>
            <a:spLocks noGrp="1"/>
          </p:cNvSpPr>
          <p:nvPr>
            <p:ph type="body" sz="quarter" idx="12"/>
          </p:nvPr>
        </p:nvSpPr>
        <p:spPr>
          <a:xfrm>
            <a:off x="685799" y="2848470"/>
            <a:ext cx="2975949" cy="1754188"/>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493DE222-E29B-9647-2FCA-5726FB437B1C}"/>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2"/>
                </a:solidFill>
                <a:effectLst/>
                <a:latin typeface="+mn-lt"/>
                <a:ea typeface="Calibri" panose="020F0502020204030204" pitchFamily="34" charset="0"/>
                <a:cs typeface="+mn-cs"/>
              </a:rPr>
              <a:t>Powers the Future</a:t>
            </a:r>
            <a:endParaRPr lang="en-US" sz="1200" b="1" kern="0" dirty="0">
              <a:solidFill>
                <a:schemeClr val="bg2"/>
              </a:solidFill>
              <a:effectLst/>
              <a:latin typeface="+mn-lt"/>
              <a:cs typeface="+mn-cs"/>
            </a:endParaRPr>
          </a:p>
        </p:txBody>
      </p:sp>
    </p:spTree>
    <p:extLst>
      <p:ext uri="{BB962C8B-B14F-4D97-AF65-F5344CB8AC3E}">
        <p14:creationId xmlns:p14="http://schemas.microsoft.com/office/powerpoint/2010/main" val="333411871"/>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56EEA-56B8-0AD7-590E-E32597AA4712}"/>
              </a:ext>
            </a:extLst>
          </p:cNvPr>
          <p:cNvGraphicFramePr>
            <a:graphicFrameLocks noChangeAspect="1"/>
          </p:cNvGraphicFramePr>
          <p:nvPr userDrawn="1">
            <p:custDataLst>
              <p:tags r:id="rId1"/>
            </p:custDataLst>
            <p:extLst>
              <p:ext uri="{D42A27DB-BD31-4B8C-83A1-F6EECF244321}">
                <p14:modId xmlns:p14="http://schemas.microsoft.com/office/powerpoint/2010/main" val="4062480421"/>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5" name="Object 4" hidden="1">
                        <a:extLst>
                          <a:ext uri="{FF2B5EF4-FFF2-40B4-BE49-F238E27FC236}">
                            <a16:creationId xmlns:a16="http://schemas.microsoft.com/office/drawing/2014/main" id="{D0F56EEA-56B8-0AD7-590E-E32597AA4712}"/>
                          </a:ext>
                        </a:extLst>
                      </p:cNvPr>
                      <p:cNvPicPr/>
                      <p:nvPr/>
                    </p:nvPicPr>
                    <p:blipFill>
                      <a:blip r:embed="rId4"/>
                      <a:stretch>
                        <a:fillRect/>
                      </a:stretch>
                    </p:blipFill>
                    <p:spPr>
                      <a:xfrm>
                        <a:off x="1441" y="1440"/>
                        <a:ext cx="1441" cy="1441"/>
                      </a:xfrm>
                      <a:prstGeom prst="rect">
                        <a:avLst/>
                      </a:prstGeom>
                    </p:spPr>
                  </p:pic>
                </p:oleObj>
              </mc:Fallback>
            </mc:AlternateContent>
          </a:graphicData>
        </a:graphic>
      </p:graphicFrame>
      <p:sp>
        <p:nvSpPr>
          <p:cNvPr id="2" name="Google Shape;731;p39">
            <a:extLst>
              <a:ext uri="{FF2B5EF4-FFF2-40B4-BE49-F238E27FC236}">
                <a16:creationId xmlns:a16="http://schemas.microsoft.com/office/drawing/2014/main" id="{7D0292B5-57F4-B470-1E45-E6BAB7C92ABD}"/>
              </a:ext>
            </a:extLst>
          </p:cNvPr>
          <p:cNvSpPr/>
          <p:nvPr userDrawn="1"/>
        </p:nvSpPr>
        <p:spPr>
          <a:xfrm>
            <a:off x="8426370" y="0"/>
            <a:ext cx="3765630" cy="2858947"/>
          </a:xfrm>
          <a:prstGeom prst="rect">
            <a:avLst/>
          </a:prstGeom>
          <a:solidFill>
            <a:schemeClr val="accent2">
              <a:alpha val="381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 name="Google Shape;738;p39">
            <a:extLst>
              <a:ext uri="{FF2B5EF4-FFF2-40B4-BE49-F238E27FC236}">
                <a16:creationId xmlns:a16="http://schemas.microsoft.com/office/drawing/2014/main" id="{734EDC7F-584A-CA4E-BF9B-00077A9FBD89}"/>
              </a:ext>
            </a:extLst>
          </p:cNvPr>
          <p:cNvSpPr/>
          <p:nvPr userDrawn="1"/>
        </p:nvSpPr>
        <p:spPr>
          <a:xfrm>
            <a:off x="6373794" y="2858946"/>
            <a:ext cx="5818206" cy="3999054"/>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4" name="Google Shape;741;p39">
            <a:extLst>
              <a:ext uri="{FF2B5EF4-FFF2-40B4-BE49-F238E27FC236}">
                <a16:creationId xmlns:a16="http://schemas.microsoft.com/office/drawing/2014/main" id="{F54634F3-436D-2849-A73E-B9469F8C500B}"/>
              </a:ext>
            </a:extLst>
          </p:cNvPr>
          <p:cNvCxnSpPr/>
          <p:nvPr userDrawn="1"/>
        </p:nvCxnSpPr>
        <p:spPr>
          <a:xfrm>
            <a:off x="-16204" y="1144523"/>
            <a:ext cx="1025700" cy="0"/>
          </a:xfrm>
          <a:prstGeom prst="straightConnector1">
            <a:avLst/>
          </a:prstGeom>
          <a:noFill/>
          <a:ln w="28575" cap="flat" cmpd="sng">
            <a:solidFill>
              <a:schemeClr val="accent4"/>
            </a:solidFill>
            <a:prstDash val="solid"/>
            <a:miter lim="800000"/>
            <a:headEnd type="none" w="sm" len="sm"/>
            <a:tailEnd type="none" w="sm" len="sm"/>
          </a:ln>
        </p:spPr>
      </p:cxnSp>
      <p:pic>
        <p:nvPicPr>
          <p:cNvPr id="6" name="Picture 5" descr="A logo with a black background&#10;&#10;Description automatically generated">
            <a:extLst>
              <a:ext uri="{FF2B5EF4-FFF2-40B4-BE49-F238E27FC236}">
                <a16:creationId xmlns:a16="http://schemas.microsoft.com/office/drawing/2014/main" id="{093663D8-2905-C790-BA88-CBABC12A8B9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145567" y="717662"/>
            <a:ext cx="2035783" cy="860458"/>
          </a:xfrm>
          <a:prstGeom prst="rect">
            <a:avLst/>
          </a:prstGeom>
        </p:spPr>
      </p:pic>
      <p:sp>
        <p:nvSpPr>
          <p:cNvPr id="10" name="Picture Placeholder 8">
            <a:extLst>
              <a:ext uri="{FF2B5EF4-FFF2-40B4-BE49-F238E27FC236}">
                <a16:creationId xmlns:a16="http://schemas.microsoft.com/office/drawing/2014/main" id="{81EF6230-E484-A9E9-C326-7BC96C557CAD}"/>
              </a:ext>
            </a:extLst>
          </p:cNvPr>
          <p:cNvSpPr>
            <a:spLocks noGrp="1"/>
          </p:cNvSpPr>
          <p:nvPr>
            <p:ph type="pic" sz="quarter" idx="10"/>
          </p:nvPr>
        </p:nvSpPr>
        <p:spPr>
          <a:xfrm>
            <a:off x="6373192" y="1009935"/>
            <a:ext cx="4103688" cy="4838700"/>
          </a:xfrm>
          <a:solidFill>
            <a:schemeClr val="tx2"/>
          </a:solidFill>
        </p:spPr>
        <p:txBody>
          <a:bodyPr/>
          <a:lstStyle>
            <a:lvl1pPr algn="ctr">
              <a:defRPr>
                <a:solidFill>
                  <a:schemeClr val="bg1"/>
                </a:solidFill>
              </a:defRPr>
            </a:lvl1pPr>
          </a:lstStyle>
          <a:p>
            <a:endParaRPr lang="en-US" dirty="0"/>
          </a:p>
        </p:txBody>
      </p:sp>
      <p:sp>
        <p:nvSpPr>
          <p:cNvPr id="13" name="Title 12">
            <a:extLst>
              <a:ext uri="{FF2B5EF4-FFF2-40B4-BE49-F238E27FC236}">
                <a16:creationId xmlns:a16="http://schemas.microsoft.com/office/drawing/2014/main" id="{42EF35B8-8598-8547-F9D7-BF3E62A319C4}"/>
              </a:ext>
            </a:extLst>
          </p:cNvPr>
          <p:cNvSpPr>
            <a:spLocks noGrp="1"/>
          </p:cNvSpPr>
          <p:nvPr>
            <p:ph type="title" hasCustomPrompt="1"/>
          </p:nvPr>
        </p:nvSpPr>
        <p:spPr>
          <a:xfrm>
            <a:off x="1217376" y="2601792"/>
            <a:ext cx="3082925" cy="584200"/>
          </a:xfrm>
        </p:spPr>
        <p:txBody>
          <a:bodyPr vert="horz" lIns="91440">
            <a:normAutofit/>
          </a:bodyPr>
          <a:lstStyle>
            <a:lvl1pPr>
              <a:defRPr sz="3200"/>
            </a:lvl1pPr>
          </a:lstStyle>
          <a:p>
            <a:r>
              <a:rPr lang="en-US" dirty="0"/>
              <a:t>CONTACT US</a:t>
            </a:r>
          </a:p>
        </p:txBody>
      </p:sp>
      <p:sp>
        <p:nvSpPr>
          <p:cNvPr id="19" name="Text Placeholder 18">
            <a:extLst>
              <a:ext uri="{FF2B5EF4-FFF2-40B4-BE49-F238E27FC236}">
                <a16:creationId xmlns:a16="http://schemas.microsoft.com/office/drawing/2014/main" id="{832DDBE3-E90D-10FE-B461-D0F0D57AF40D}"/>
              </a:ext>
            </a:extLst>
          </p:cNvPr>
          <p:cNvSpPr>
            <a:spLocks noGrp="1"/>
          </p:cNvSpPr>
          <p:nvPr>
            <p:ph type="body" sz="quarter" idx="11"/>
          </p:nvPr>
        </p:nvSpPr>
        <p:spPr>
          <a:xfrm>
            <a:off x="1723480" y="3302154"/>
            <a:ext cx="3598863" cy="2308225"/>
          </a:xfrm>
        </p:spPr>
        <p:txBody>
          <a:bodyPr lIns="91440" tIns="0">
            <a:noAutofit/>
          </a:bodyPr>
          <a:lstStyle>
            <a:lvl1pPr>
              <a:lnSpc>
                <a:spcPct val="300000"/>
              </a:lnSpc>
              <a:defRPr sz="1200"/>
            </a:lvl1pPr>
            <a:lvl2pPr>
              <a:lnSpc>
                <a:spcPct val="300000"/>
              </a:lnSpc>
              <a:defRPr sz="1200"/>
            </a:lvl2pPr>
            <a:lvl3pPr>
              <a:lnSpc>
                <a:spcPct val="300000"/>
              </a:lnSpc>
              <a:defRPr sz="1200"/>
            </a:lvl3pPr>
            <a:lvl4pPr>
              <a:lnSpc>
                <a:spcPct val="300000"/>
              </a:lnSpc>
              <a:defRPr sz="1200"/>
            </a:lvl4pPr>
            <a:lvl5pPr>
              <a:lnSpc>
                <a:spcPct val="300000"/>
              </a:lnSpc>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149ED936-AE57-AD72-E101-CF29F245E6AD}"/>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1"/>
                </a:solidFill>
                <a:effectLst/>
                <a:latin typeface="+mn-lt"/>
                <a:ea typeface="Calibri" panose="020F0502020204030204" pitchFamily="34" charset="0"/>
                <a:cs typeface="+mn-cs"/>
              </a:rPr>
              <a:t>Powers the Future</a:t>
            </a:r>
            <a:endParaRPr lang="en-US" sz="1200" b="1" kern="0" dirty="0">
              <a:solidFill>
                <a:schemeClr val="bg1"/>
              </a:solidFill>
              <a:effectLst/>
              <a:latin typeface="+mn-lt"/>
              <a:cs typeface="+mn-cs"/>
            </a:endParaRPr>
          </a:p>
        </p:txBody>
      </p:sp>
    </p:spTree>
    <p:extLst>
      <p:ext uri="{BB962C8B-B14F-4D97-AF65-F5344CB8AC3E}">
        <p14:creationId xmlns:p14="http://schemas.microsoft.com/office/powerpoint/2010/main" val="2299966446"/>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617EBCF-E59C-0431-99AC-8127DDF7184E}"/>
              </a:ext>
            </a:extLst>
          </p:cNvPr>
          <p:cNvGraphicFramePr>
            <a:graphicFrameLocks noChangeAspect="1"/>
          </p:cNvGraphicFramePr>
          <p:nvPr userDrawn="1">
            <p:custDataLst>
              <p:tags r:id="rId1"/>
            </p:custDataLst>
            <p:extLst>
              <p:ext uri="{D42A27DB-BD31-4B8C-83A1-F6EECF244321}">
                <p14:modId xmlns:p14="http://schemas.microsoft.com/office/powerpoint/2010/main" val="1637724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5617EBCF-E59C-0431-99AC-8127DDF718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F44417F4-CED2-61E3-D93E-5E95F93383B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057627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9E9289B-C63C-7724-837B-3299F378E2C4}"/>
              </a:ext>
            </a:extLst>
          </p:cNvPr>
          <p:cNvGraphicFramePr>
            <a:graphicFrameLocks noChangeAspect="1"/>
          </p:cNvGraphicFramePr>
          <p:nvPr userDrawn="1">
            <p:custDataLst>
              <p:tags r:id="rId1"/>
            </p:custDataLst>
            <p:extLst>
              <p:ext uri="{D42A27DB-BD31-4B8C-83A1-F6EECF244321}">
                <p14:modId xmlns:p14="http://schemas.microsoft.com/office/powerpoint/2010/main" val="3304325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F9E9289B-C63C-7724-837B-3299F378E2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0" name="Picture 39" descr="A group of people wearing matching t-shirts&#10;&#10;Description automatically generated">
            <a:extLst>
              <a:ext uri="{FF2B5EF4-FFF2-40B4-BE49-F238E27FC236}">
                <a16:creationId xmlns:a16="http://schemas.microsoft.com/office/drawing/2014/main" id="{CCFF60DF-B24D-A774-7A40-4963304527DB}"/>
              </a:ext>
            </a:extLst>
          </p:cNvPr>
          <p:cNvPicPr>
            <a:picLocks noChangeAspect="1"/>
          </p:cNvPicPr>
          <p:nvPr userDrawn="1"/>
        </p:nvPicPr>
        <p:blipFill rotWithShape="1">
          <a:blip r:embed="rId5"/>
          <a:srcRect l="6945" r="3936"/>
          <a:stretch/>
        </p:blipFill>
        <p:spPr>
          <a:xfrm>
            <a:off x="0" y="1"/>
            <a:ext cx="12192000" cy="6858000"/>
          </a:xfrm>
          <a:prstGeom prst="rect">
            <a:avLst/>
          </a:prstGeom>
        </p:spPr>
      </p:pic>
      <p:sp>
        <p:nvSpPr>
          <p:cNvPr id="41" name="Google Shape;747;p40">
            <a:extLst>
              <a:ext uri="{FF2B5EF4-FFF2-40B4-BE49-F238E27FC236}">
                <a16:creationId xmlns:a16="http://schemas.microsoft.com/office/drawing/2014/main" id="{D91914A4-6392-4725-DE57-9E49E58CDC30}"/>
              </a:ext>
            </a:extLst>
          </p:cNvPr>
          <p:cNvSpPr/>
          <p:nvPr userDrawn="1"/>
        </p:nvSpPr>
        <p:spPr>
          <a:xfrm>
            <a:off x="0" y="-1"/>
            <a:ext cx="12191999" cy="6857999"/>
          </a:xfrm>
          <a:prstGeom prst="rect">
            <a:avLst/>
          </a:prstGeom>
          <a:solidFill>
            <a:schemeClr val="accent1">
              <a:lumMod val="50000"/>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 name="Google Shape;747;p40">
            <a:extLst>
              <a:ext uri="{FF2B5EF4-FFF2-40B4-BE49-F238E27FC236}">
                <a16:creationId xmlns:a16="http://schemas.microsoft.com/office/drawing/2014/main" id="{33116888-41FC-2BAF-A45A-AE1E67922F7A}"/>
              </a:ext>
            </a:extLst>
          </p:cNvPr>
          <p:cNvSpPr/>
          <p:nvPr userDrawn="1"/>
        </p:nvSpPr>
        <p:spPr>
          <a:xfrm>
            <a:off x="4120586" y="1446836"/>
            <a:ext cx="4363657" cy="541116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 name="Google Shape;748;p40">
            <a:extLst>
              <a:ext uri="{FF2B5EF4-FFF2-40B4-BE49-F238E27FC236}">
                <a16:creationId xmlns:a16="http://schemas.microsoft.com/office/drawing/2014/main" id="{DCC4F61D-211A-75CC-D1A5-6E9C3091A42A}"/>
              </a:ext>
            </a:extLst>
          </p:cNvPr>
          <p:cNvSpPr/>
          <p:nvPr userDrawn="1"/>
        </p:nvSpPr>
        <p:spPr>
          <a:xfrm>
            <a:off x="4687747" y="1932972"/>
            <a:ext cx="7504253" cy="4925028"/>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dirty="0">
                <a:solidFill>
                  <a:schemeClr val="lt1"/>
                </a:solidFill>
                <a:latin typeface="Calibri"/>
                <a:ea typeface="Calibri"/>
                <a:cs typeface="Calibri"/>
                <a:sym typeface="Calibri"/>
              </a:rPr>
              <a:t> </a:t>
            </a:r>
            <a:endParaRPr sz="1800" dirty="0">
              <a:solidFill>
                <a:schemeClr val="lt1"/>
              </a:solidFill>
              <a:latin typeface="Calibri"/>
              <a:ea typeface="Calibri"/>
              <a:cs typeface="Calibri"/>
              <a:sym typeface="Calibri"/>
            </a:endParaRPr>
          </a:p>
        </p:txBody>
      </p:sp>
      <p:pic>
        <p:nvPicPr>
          <p:cNvPr id="14" name="Picture 13" descr="A logo with white text&#10;&#10;Description automatically generated">
            <a:extLst>
              <a:ext uri="{FF2B5EF4-FFF2-40B4-BE49-F238E27FC236}">
                <a16:creationId xmlns:a16="http://schemas.microsoft.com/office/drawing/2014/main" id="{B2FDFC16-E712-CDF9-59E9-972299136C2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691362" y="2738072"/>
            <a:ext cx="2391909" cy="729028"/>
          </a:xfrm>
          <a:prstGeom prst="rect">
            <a:avLst/>
          </a:prstGeom>
        </p:spPr>
      </p:pic>
      <p:sp>
        <p:nvSpPr>
          <p:cNvPr id="15" name="Title 14">
            <a:extLst>
              <a:ext uri="{FF2B5EF4-FFF2-40B4-BE49-F238E27FC236}">
                <a16:creationId xmlns:a16="http://schemas.microsoft.com/office/drawing/2014/main" id="{E12979B3-5F57-B2E2-11BB-78C9773E3A81}"/>
              </a:ext>
            </a:extLst>
          </p:cNvPr>
          <p:cNvSpPr>
            <a:spLocks noGrp="1"/>
          </p:cNvSpPr>
          <p:nvPr>
            <p:ph type="title" hasCustomPrompt="1"/>
          </p:nvPr>
        </p:nvSpPr>
        <p:spPr>
          <a:xfrm>
            <a:off x="5691363" y="3779838"/>
            <a:ext cx="5856288" cy="1323975"/>
          </a:xfrm>
        </p:spPr>
        <p:txBody>
          <a:bodyPr vert="horz">
            <a:noAutofit/>
          </a:bodyPr>
          <a:lstStyle>
            <a:lvl1pPr>
              <a:defRPr lang="en-US" sz="7200" b="1" kern="1200" dirty="0">
                <a:solidFill>
                  <a:schemeClr val="lt1"/>
                </a:solidFill>
                <a:latin typeface="+mj-lt"/>
                <a:ea typeface="Poppins"/>
                <a:cs typeface="Poppins"/>
              </a:defRPr>
            </a:lvl1pPr>
          </a:lstStyle>
          <a:p>
            <a:pPr marL="0" marR="0" lvl="0" indent="0" algn="l" defTabSz="914400" rtl="0" eaLnBrk="1" latinLnBrk="0" hangingPunct="1">
              <a:spcBef>
                <a:spcPts val="0"/>
              </a:spcBef>
              <a:spcAft>
                <a:spcPts val="0"/>
              </a:spcAft>
              <a:buNone/>
            </a:pPr>
            <a:r>
              <a:rPr lang="en-US" dirty="0"/>
              <a:t>Thank you</a:t>
            </a:r>
          </a:p>
        </p:txBody>
      </p:sp>
      <p:sp>
        <p:nvSpPr>
          <p:cNvPr id="32" name="Text Placeholder 31">
            <a:extLst>
              <a:ext uri="{FF2B5EF4-FFF2-40B4-BE49-F238E27FC236}">
                <a16:creationId xmlns:a16="http://schemas.microsoft.com/office/drawing/2014/main" id="{0752D8F8-5131-79B0-3E08-2E58359A1FCD}"/>
              </a:ext>
            </a:extLst>
          </p:cNvPr>
          <p:cNvSpPr>
            <a:spLocks noGrp="1"/>
          </p:cNvSpPr>
          <p:nvPr>
            <p:ph type="body" sz="quarter" idx="10" hasCustomPrompt="1"/>
          </p:nvPr>
        </p:nvSpPr>
        <p:spPr>
          <a:xfrm>
            <a:off x="5691187" y="5194851"/>
            <a:ext cx="5856288" cy="368300"/>
          </a:xfrm>
        </p:spPr>
        <p:txBody>
          <a:bodyPr>
            <a:noAutofit/>
          </a:bodyPr>
          <a:lstStyle>
            <a:lvl1pPr>
              <a:defRPr lang="en-US" sz="1800" kern="1200" dirty="0">
                <a:solidFill>
                  <a:schemeClr val="lt1"/>
                </a:solidFill>
                <a:latin typeface="+mn-lt"/>
                <a:ea typeface="Poppins Medium"/>
                <a:cs typeface="Poppins Medium"/>
              </a:defRPr>
            </a:lvl1pPr>
            <a:lvl2pPr>
              <a:defRPr/>
            </a:lvl2pPr>
            <a:lvl3pPr>
              <a:defRPr/>
            </a:lvl3pPr>
            <a:lvl4pPr>
              <a:defRPr/>
            </a:lvl4pPr>
            <a:lvl5pPr>
              <a:defRPr/>
            </a:lvl5pPr>
          </a:lstStyle>
          <a:p>
            <a:pPr marL="0" marR="0" lvl="0" indent="0" algn="l" defTabSz="914400" rtl="0" eaLnBrk="1" latinLnBrk="0" hangingPunct="1">
              <a:spcBef>
                <a:spcPts val="0"/>
              </a:spcBef>
              <a:spcAft>
                <a:spcPts val="0"/>
              </a:spcAft>
              <a:buNone/>
            </a:pPr>
            <a:r>
              <a:rPr lang="en-US" dirty="0"/>
              <a:t>Sub title</a:t>
            </a:r>
          </a:p>
        </p:txBody>
      </p:sp>
      <p:sp>
        <p:nvSpPr>
          <p:cNvPr id="3" name="TextBox 2">
            <a:extLst>
              <a:ext uri="{FF2B5EF4-FFF2-40B4-BE49-F238E27FC236}">
                <a16:creationId xmlns:a16="http://schemas.microsoft.com/office/drawing/2014/main" id="{99DFCAC8-9E1C-43E8-D031-B1AAE2BC322F}"/>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1"/>
                </a:solidFill>
                <a:effectLst/>
                <a:latin typeface="+mn-lt"/>
                <a:ea typeface="Calibri" panose="020F0502020204030204" pitchFamily="34" charset="0"/>
                <a:cs typeface="+mn-cs"/>
              </a:rPr>
              <a:t>Powers the Future</a:t>
            </a:r>
            <a:endParaRPr lang="en-US" sz="1200" b="1" kern="0" dirty="0">
              <a:solidFill>
                <a:schemeClr val="bg1"/>
              </a:solidFill>
              <a:effectLst/>
              <a:latin typeface="+mn-lt"/>
              <a:cs typeface="+mn-cs"/>
            </a:endParaRPr>
          </a:p>
        </p:txBody>
      </p:sp>
    </p:spTree>
    <p:extLst>
      <p:ext uri="{BB962C8B-B14F-4D97-AF65-F5344CB8AC3E}">
        <p14:creationId xmlns:p14="http://schemas.microsoft.com/office/powerpoint/2010/main" val="162885808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End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9E9289B-C63C-7724-837B-3299F378E2C4}"/>
              </a:ext>
            </a:extLst>
          </p:cNvPr>
          <p:cNvGraphicFramePr>
            <a:graphicFrameLocks noChangeAspect="1"/>
          </p:cNvGraphicFramePr>
          <p:nvPr userDrawn="1">
            <p:custDataLst>
              <p:tags r:id="rId1"/>
            </p:custDataLst>
            <p:extLst>
              <p:ext uri="{D42A27DB-BD31-4B8C-83A1-F6EECF244321}">
                <p14:modId xmlns:p14="http://schemas.microsoft.com/office/powerpoint/2010/main" val="926974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F9E9289B-C63C-7724-837B-3299F378E2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Google Shape;747;p40">
            <a:extLst>
              <a:ext uri="{FF2B5EF4-FFF2-40B4-BE49-F238E27FC236}">
                <a16:creationId xmlns:a16="http://schemas.microsoft.com/office/drawing/2014/main" id="{33116888-41FC-2BAF-A45A-AE1E67922F7A}"/>
              </a:ext>
            </a:extLst>
          </p:cNvPr>
          <p:cNvSpPr/>
          <p:nvPr userDrawn="1"/>
        </p:nvSpPr>
        <p:spPr>
          <a:xfrm>
            <a:off x="4120586" y="1446836"/>
            <a:ext cx="4363657" cy="5411164"/>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 name="Google Shape;748;p40">
            <a:extLst>
              <a:ext uri="{FF2B5EF4-FFF2-40B4-BE49-F238E27FC236}">
                <a16:creationId xmlns:a16="http://schemas.microsoft.com/office/drawing/2014/main" id="{DCC4F61D-211A-75CC-D1A5-6E9C3091A42A}"/>
              </a:ext>
            </a:extLst>
          </p:cNvPr>
          <p:cNvSpPr/>
          <p:nvPr userDrawn="1"/>
        </p:nvSpPr>
        <p:spPr>
          <a:xfrm>
            <a:off x="4687747" y="1932972"/>
            <a:ext cx="7504253" cy="4925028"/>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 name="Picture 13" descr="A logo with white text&#10;&#10;Description automatically generated">
            <a:extLst>
              <a:ext uri="{FF2B5EF4-FFF2-40B4-BE49-F238E27FC236}">
                <a16:creationId xmlns:a16="http://schemas.microsoft.com/office/drawing/2014/main" id="{B2FDFC16-E712-CDF9-59E9-972299136C2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91362" y="2738072"/>
            <a:ext cx="2391909" cy="729028"/>
          </a:xfrm>
          <a:prstGeom prst="rect">
            <a:avLst/>
          </a:prstGeom>
        </p:spPr>
      </p:pic>
      <p:sp>
        <p:nvSpPr>
          <p:cNvPr id="15" name="Title 14">
            <a:extLst>
              <a:ext uri="{FF2B5EF4-FFF2-40B4-BE49-F238E27FC236}">
                <a16:creationId xmlns:a16="http://schemas.microsoft.com/office/drawing/2014/main" id="{E12979B3-5F57-B2E2-11BB-78C9773E3A81}"/>
              </a:ext>
            </a:extLst>
          </p:cNvPr>
          <p:cNvSpPr>
            <a:spLocks noGrp="1"/>
          </p:cNvSpPr>
          <p:nvPr>
            <p:ph type="title" hasCustomPrompt="1"/>
          </p:nvPr>
        </p:nvSpPr>
        <p:spPr>
          <a:xfrm>
            <a:off x="5691363" y="3779838"/>
            <a:ext cx="5856288" cy="1323975"/>
          </a:xfrm>
        </p:spPr>
        <p:txBody>
          <a:bodyPr vert="horz">
            <a:noAutofit/>
          </a:bodyPr>
          <a:lstStyle>
            <a:lvl1pPr>
              <a:defRPr lang="en-US" sz="7200" b="1" kern="1200" dirty="0">
                <a:solidFill>
                  <a:schemeClr val="lt1"/>
                </a:solidFill>
                <a:latin typeface="+mj-lt"/>
                <a:ea typeface="Poppins"/>
                <a:cs typeface="Poppins"/>
              </a:defRPr>
            </a:lvl1pPr>
          </a:lstStyle>
          <a:p>
            <a:pPr marL="0" marR="0" lvl="0" indent="0" algn="l" defTabSz="914400" rtl="0" eaLnBrk="1" latinLnBrk="0" hangingPunct="1">
              <a:spcBef>
                <a:spcPts val="0"/>
              </a:spcBef>
              <a:spcAft>
                <a:spcPts val="0"/>
              </a:spcAft>
              <a:buNone/>
            </a:pPr>
            <a:r>
              <a:rPr lang="en-US" dirty="0"/>
              <a:t>Thank you</a:t>
            </a:r>
          </a:p>
        </p:txBody>
      </p:sp>
      <p:sp>
        <p:nvSpPr>
          <p:cNvPr id="32" name="Text Placeholder 31">
            <a:extLst>
              <a:ext uri="{FF2B5EF4-FFF2-40B4-BE49-F238E27FC236}">
                <a16:creationId xmlns:a16="http://schemas.microsoft.com/office/drawing/2014/main" id="{0752D8F8-5131-79B0-3E08-2E58359A1FCD}"/>
              </a:ext>
            </a:extLst>
          </p:cNvPr>
          <p:cNvSpPr>
            <a:spLocks noGrp="1"/>
          </p:cNvSpPr>
          <p:nvPr>
            <p:ph type="body" sz="quarter" idx="10" hasCustomPrompt="1"/>
          </p:nvPr>
        </p:nvSpPr>
        <p:spPr>
          <a:xfrm>
            <a:off x="5691187" y="5194851"/>
            <a:ext cx="5856288" cy="368300"/>
          </a:xfrm>
        </p:spPr>
        <p:txBody>
          <a:bodyPr>
            <a:noAutofit/>
          </a:bodyPr>
          <a:lstStyle>
            <a:lvl1pPr>
              <a:defRPr lang="en-US" sz="1800" kern="1200" dirty="0">
                <a:solidFill>
                  <a:schemeClr val="lt1"/>
                </a:solidFill>
                <a:latin typeface="+mn-lt"/>
                <a:ea typeface="Poppins Medium"/>
                <a:cs typeface="Poppins Medium"/>
              </a:defRPr>
            </a:lvl1pPr>
            <a:lvl2pPr>
              <a:defRPr/>
            </a:lvl2pPr>
            <a:lvl3pPr>
              <a:defRPr/>
            </a:lvl3pPr>
            <a:lvl4pPr>
              <a:defRPr/>
            </a:lvl4pPr>
            <a:lvl5pPr>
              <a:defRPr/>
            </a:lvl5pPr>
          </a:lstStyle>
          <a:p>
            <a:pPr marL="0" marR="0" lvl="0" indent="0" algn="l" defTabSz="914400" rtl="0" eaLnBrk="1" latinLnBrk="0" hangingPunct="1">
              <a:spcBef>
                <a:spcPts val="0"/>
              </a:spcBef>
              <a:spcAft>
                <a:spcPts val="0"/>
              </a:spcAft>
              <a:buNone/>
            </a:pPr>
            <a:r>
              <a:rPr lang="en-US" dirty="0"/>
              <a:t>Sub title</a:t>
            </a:r>
          </a:p>
        </p:txBody>
      </p:sp>
      <p:sp>
        <p:nvSpPr>
          <p:cNvPr id="3" name="TextBox 2">
            <a:extLst>
              <a:ext uri="{FF2B5EF4-FFF2-40B4-BE49-F238E27FC236}">
                <a16:creationId xmlns:a16="http://schemas.microsoft.com/office/drawing/2014/main" id="{99DFCAC8-9E1C-43E8-D031-B1AAE2BC322F}"/>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1"/>
                </a:solidFill>
                <a:effectLst/>
                <a:latin typeface="+mn-lt"/>
                <a:ea typeface="Calibri" panose="020F0502020204030204" pitchFamily="34" charset="0"/>
                <a:cs typeface="+mn-cs"/>
              </a:rPr>
              <a:t>Powers the Future</a:t>
            </a:r>
            <a:endParaRPr lang="en-US" sz="1200" b="1" kern="0" dirty="0">
              <a:solidFill>
                <a:schemeClr val="bg1"/>
              </a:solidFill>
              <a:effectLst/>
              <a:latin typeface="+mn-lt"/>
              <a:cs typeface="+mn-cs"/>
            </a:endParaRPr>
          </a:p>
        </p:txBody>
      </p:sp>
      <p:sp>
        <p:nvSpPr>
          <p:cNvPr id="2" name="Rectangle 1">
            <a:extLst>
              <a:ext uri="{FF2B5EF4-FFF2-40B4-BE49-F238E27FC236}">
                <a16:creationId xmlns:a16="http://schemas.microsoft.com/office/drawing/2014/main" id="{F3652FDA-EDFE-0A4A-48E8-54C2373972C5}"/>
              </a:ext>
            </a:extLst>
          </p:cNvPr>
          <p:cNvSpPr/>
          <p:nvPr userDrawn="1"/>
        </p:nvSpPr>
        <p:spPr>
          <a:xfrm>
            <a:off x="10127673" y="277091"/>
            <a:ext cx="1759527" cy="6511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8904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ample Layout_1">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93269B-616C-F9F4-8663-88EB43AF4F10}"/>
              </a:ext>
            </a:extLst>
          </p:cNvPr>
          <p:cNvGraphicFramePr>
            <a:graphicFrameLocks noChangeAspect="1"/>
          </p:cNvGraphicFramePr>
          <p:nvPr userDrawn="1">
            <p:custDataLst>
              <p:tags r:id="rId1"/>
            </p:custDataLst>
            <p:extLst>
              <p:ext uri="{D42A27DB-BD31-4B8C-83A1-F6EECF244321}">
                <p14:modId xmlns:p14="http://schemas.microsoft.com/office/powerpoint/2010/main" val="199688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think-cell data - do not delete" hidden="1">
                        <a:extLst>
                          <a:ext uri="{FF2B5EF4-FFF2-40B4-BE49-F238E27FC236}">
                            <a16:creationId xmlns:a16="http://schemas.microsoft.com/office/drawing/2014/main" id="{3A93269B-616C-F9F4-8663-88EB43AF4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Picture Placeholder 19">
            <a:extLst>
              <a:ext uri="{FF2B5EF4-FFF2-40B4-BE49-F238E27FC236}">
                <a16:creationId xmlns:a16="http://schemas.microsoft.com/office/drawing/2014/main" id="{6C908E6F-4636-0911-81D0-9862E9757425}"/>
              </a:ext>
            </a:extLst>
          </p:cNvPr>
          <p:cNvSpPr>
            <a:spLocks noGrp="1"/>
          </p:cNvSpPr>
          <p:nvPr>
            <p:ph type="pic" sz="quarter" idx="10"/>
          </p:nvPr>
        </p:nvSpPr>
        <p:spPr>
          <a:xfrm>
            <a:off x="0" y="1"/>
            <a:ext cx="12192000"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10653396 w 12192000"/>
              <a:gd name="connsiteY3" fmla="*/ 3429000 h 3429000"/>
              <a:gd name="connsiteX4" fmla="*/ 10653396 w 12192000"/>
              <a:gd name="connsiteY4" fmla="*/ 2053770 h 3429000"/>
              <a:gd name="connsiteX5" fmla="*/ 1538604 w 12192000"/>
              <a:gd name="connsiteY5" fmla="*/ 2053770 h 3429000"/>
              <a:gd name="connsiteX6" fmla="*/ 1538604 w 12192000"/>
              <a:gd name="connsiteY6" fmla="*/ 3429000 h 3429000"/>
              <a:gd name="connsiteX7" fmla="*/ 0 w 12192000"/>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9000">
                <a:moveTo>
                  <a:pt x="0" y="0"/>
                </a:moveTo>
                <a:lnTo>
                  <a:pt x="12192000" y="0"/>
                </a:lnTo>
                <a:lnTo>
                  <a:pt x="12192000" y="3429000"/>
                </a:lnTo>
                <a:lnTo>
                  <a:pt x="10653396" y="3429000"/>
                </a:lnTo>
                <a:lnTo>
                  <a:pt x="10653396" y="2053770"/>
                </a:lnTo>
                <a:lnTo>
                  <a:pt x="1538604" y="2053770"/>
                </a:lnTo>
                <a:lnTo>
                  <a:pt x="1538604" y="3429000"/>
                </a:lnTo>
                <a:lnTo>
                  <a:pt x="0" y="3429000"/>
                </a:lnTo>
                <a:close/>
              </a:path>
            </a:pathLst>
          </a:custGeom>
          <a:solidFill>
            <a:schemeClr val="tx2"/>
          </a:solidFill>
        </p:spPr>
        <p:txBody>
          <a:bodyPr wrap="square">
            <a:noAutofit/>
          </a:bodyPr>
          <a:lstStyle/>
          <a:p>
            <a:endParaRPr lang="en-US"/>
          </a:p>
        </p:txBody>
      </p:sp>
      <p:sp>
        <p:nvSpPr>
          <p:cNvPr id="4" name="Google Shape;205;p7">
            <a:extLst>
              <a:ext uri="{FF2B5EF4-FFF2-40B4-BE49-F238E27FC236}">
                <a16:creationId xmlns:a16="http://schemas.microsoft.com/office/drawing/2014/main" id="{3C968FC7-5C78-97ED-899E-5E7F98737A29}"/>
              </a:ext>
            </a:extLst>
          </p:cNvPr>
          <p:cNvSpPr/>
          <p:nvPr userDrawn="1"/>
        </p:nvSpPr>
        <p:spPr>
          <a:xfrm>
            <a:off x="1538604" y="2053771"/>
            <a:ext cx="9114792" cy="3836227"/>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 name="Footer Placeholder 12">
            <a:extLst>
              <a:ext uri="{FF2B5EF4-FFF2-40B4-BE49-F238E27FC236}">
                <a16:creationId xmlns:a16="http://schemas.microsoft.com/office/drawing/2014/main" id="{66EAF1F3-BA80-29C2-6BA4-2DB976E38DD8}"/>
              </a:ext>
            </a:extLst>
          </p:cNvPr>
          <p:cNvSpPr>
            <a:spLocks noGrp="1"/>
          </p:cNvSpPr>
          <p:nvPr>
            <p:ph type="ftr" sz="quarter" idx="11"/>
          </p:nvPr>
        </p:nvSpPr>
        <p:spPr/>
        <p:txBody>
          <a:bodyPr/>
          <a:lstStyle/>
          <a:p>
            <a:endParaRPr lang="en-US"/>
          </a:p>
        </p:txBody>
      </p:sp>
      <p:pic>
        <p:nvPicPr>
          <p:cNvPr id="16" name="Picture 15" descr="A logo with white text&#10;&#10;Description automatically generated">
            <a:extLst>
              <a:ext uri="{FF2B5EF4-FFF2-40B4-BE49-F238E27FC236}">
                <a16:creationId xmlns:a16="http://schemas.microsoft.com/office/drawing/2014/main" id="{C9BC8A39-04D5-7E2B-8C51-0F04AB13978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369550" y="423452"/>
            <a:ext cx="1367631" cy="416840"/>
          </a:xfrm>
          <a:prstGeom prst="rect">
            <a:avLst/>
          </a:prstGeom>
        </p:spPr>
      </p:pic>
      <p:sp>
        <p:nvSpPr>
          <p:cNvPr id="18" name="Text Placeholder 17">
            <a:extLst>
              <a:ext uri="{FF2B5EF4-FFF2-40B4-BE49-F238E27FC236}">
                <a16:creationId xmlns:a16="http://schemas.microsoft.com/office/drawing/2014/main" id="{0DAE4DB7-F16F-6A0B-1994-DB7B35E7BB4D}"/>
              </a:ext>
            </a:extLst>
          </p:cNvPr>
          <p:cNvSpPr>
            <a:spLocks noGrp="1"/>
          </p:cNvSpPr>
          <p:nvPr>
            <p:ph type="body" sz="quarter" idx="13"/>
          </p:nvPr>
        </p:nvSpPr>
        <p:spPr>
          <a:xfrm>
            <a:off x="2085099" y="2680076"/>
            <a:ext cx="8023225" cy="2584450"/>
          </a:xfrm>
        </p:spPr>
        <p:txBody>
          <a:bodyPr/>
          <a:lstStyle>
            <a:lvl1pPr>
              <a:lnSpc>
                <a:spcPct val="150000"/>
              </a:lnSpc>
              <a:defRPr sz="1800">
                <a:solidFill>
                  <a:schemeClr val="bg1"/>
                </a:solidFill>
              </a:defRPr>
            </a:lvl1pPr>
            <a:lvl2pPr>
              <a:lnSpc>
                <a:spcPct val="150000"/>
              </a:lnSpc>
              <a:defRPr sz="1800">
                <a:solidFill>
                  <a:schemeClr val="bg1"/>
                </a:solidFill>
              </a:defRPr>
            </a:lvl2pPr>
            <a:lvl3pPr>
              <a:lnSpc>
                <a:spcPct val="150000"/>
              </a:lnSpc>
              <a:defRPr sz="1800">
                <a:solidFill>
                  <a:schemeClr val="bg1"/>
                </a:solidFill>
              </a:defRPr>
            </a:lvl3pPr>
            <a:lvl4pPr>
              <a:lnSpc>
                <a:spcPct val="150000"/>
              </a:lnSpc>
              <a:defRPr sz="1800">
                <a:solidFill>
                  <a:schemeClr val="bg1"/>
                </a:solidFill>
              </a:defRPr>
            </a:lvl4pPr>
            <a:lvl5pPr>
              <a:lnSpc>
                <a:spcPct val="150000"/>
              </a:lnSpc>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695186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9" Type="http://schemas.openxmlformats.org/officeDocument/2006/relationships/tags" Target="../tags/tag1.xml"/><Relationship Id="rId3" Type="http://schemas.openxmlformats.org/officeDocument/2006/relationships/slideLayout" Target="../slideLayouts/slideLayout5.xml"/><Relationship Id="rId21" Type="http://schemas.openxmlformats.org/officeDocument/2006/relationships/slideLayout" Target="../slideLayouts/slideLayout23.xml"/><Relationship Id="rId34" Type="http://schemas.openxmlformats.org/officeDocument/2006/relationships/slideLayout" Target="../slideLayouts/slideLayout36.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38" Type="http://schemas.openxmlformats.org/officeDocument/2006/relationships/theme" Target="../theme/theme2.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slideLayout" Target="../slideLayouts/slideLayout31.xml"/><Relationship Id="rId41" Type="http://schemas.openxmlformats.org/officeDocument/2006/relationships/image" Target="../media/image2.emf"/><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37" Type="http://schemas.openxmlformats.org/officeDocument/2006/relationships/slideLayout" Target="../slideLayouts/slideLayout39.xml"/><Relationship Id="rId40" Type="http://schemas.openxmlformats.org/officeDocument/2006/relationships/oleObject" Target="../embeddings/oleObject1.bin"/><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36" Type="http://schemas.openxmlformats.org/officeDocument/2006/relationships/slideLayout" Target="../slideLayouts/slideLayout38.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slideLayout" Target="../slideLayouts/slideLayout33.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3.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oleObject" Target="../embeddings/oleObject39.bin"/><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tags" Target="../tags/tag39.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41" Type="http://schemas.openxmlformats.org/officeDocument/2006/relationships/image" Target="../media/image18.pn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theme" Target="../theme/theme4.xml"/><Relationship Id="rId40" Type="http://schemas.openxmlformats.org/officeDocument/2006/relationships/image" Target="../media/image2.emf"/><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06400" y="274638"/>
            <a:ext cx="9347200" cy="868362"/>
          </a:xfrm>
          <a:prstGeom prst="rect">
            <a:avLst/>
          </a:prstGeom>
        </p:spPr>
        <p:txBody>
          <a:bodyPr vert="horz" lIns="91440" tIns="45720" rIns="91440" bIns="45720" rtlCol="0" anchor="ctr">
            <a:normAutofit/>
          </a:bodyPr>
          <a:lstStyle/>
          <a:p>
            <a:endParaRPr lang="en-US"/>
          </a:p>
        </p:txBody>
      </p:sp>
      <p:sp>
        <p:nvSpPr>
          <p:cNvPr id="10" name="Slide Number Placeholder 9"/>
          <p:cNvSpPr>
            <a:spLocks noGrp="1"/>
          </p:cNvSpPr>
          <p:nvPr>
            <p:ph type="sldNum" sz="quarter" idx="4"/>
          </p:nvPr>
        </p:nvSpPr>
        <p:spPr>
          <a:xfrm>
            <a:off x="11277600" y="6451833"/>
            <a:ext cx="812800" cy="365125"/>
          </a:xfrm>
          <a:prstGeom prst="rect">
            <a:avLst/>
          </a:prstGeom>
        </p:spPr>
        <p:txBody>
          <a:bodyPr vert="horz" lIns="91440" tIns="45720" rIns="91440" bIns="45720" rtlCol="0" anchor="ctr"/>
          <a:lstStyle>
            <a:lvl1pPr algn="ctr">
              <a:defRPr sz="1000" b="1" i="1">
                <a:solidFill>
                  <a:schemeClr val="tx1">
                    <a:tint val="75000"/>
                  </a:schemeClr>
                </a:solidFill>
              </a:defRPr>
            </a:lvl1pPr>
          </a:lstStyle>
          <a:p>
            <a:fld id="{77B53D6F-C4CB-420C-A086-675310C7E811}" type="slidenum">
              <a:rPr lang="en-US" smtClean="0"/>
              <a:pPr/>
              <a:t>‹#›</a:t>
            </a:fld>
            <a:endParaRPr lang="en-US" dirty="0"/>
          </a:p>
        </p:txBody>
      </p:sp>
      <p:grpSp>
        <p:nvGrpSpPr>
          <p:cNvPr id="11" name="Group 1058"/>
          <p:cNvGrpSpPr>
            <a:grpSpLocks/>
          </p:cNvGrpSpPr>
          <p:nvPr userDrawn="1"/>
        </p:nvGrpSpPr>
        <p:grpSpPr bwMode="auto">
          <a:xfrm>
            <a:off x="-3785" y="6361835"/>
            <a:ext cx="12192000" cy="191367"/>
            <a:chOff x="0" y="-1"/>
            <a:chExt cx="5760" cy="144"/>
          </a:xfrm>
        </p:grpSpPr>
        <p:sp>
          <p:nvSpPr>
            <p:cNvPr id="12" name="Rectangle 1046"/>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a:defRPr/>
              </a:pPr>
              <a:endParaRPr lang="en-US" sz="1800">
                <a:solidFill>
                  <a:prstClr val="black"/>
                </a:solidFill>
                <a:ea typeface="ＭＳ Ｐゴシック" pitchFamily="34" charset="-128"/>
              </a:endParaRPr>
            </a:p>
          </p:txBody>
        </p:sp>
        <p:pic>
          <p:nvPicPr>
            <p:cNvPr id="13" name="Picture 1042" descr="BD21318_"/>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8"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 name="Group 1058"/>
          <p:cNvGrpSpPr>
            <a:grpSpLocks/>
          </p:cNvGrpSpPr>
          <p:nvPr userDrawn="1"/>
        </p:nvGrpSpPr>
        <p:grpSpPr bwMode="auto">
          <a:xfrm>
            <a:off x="0" y="1"/>
            <a:ext cx="12192000" cy="191367"/>
            <a:chOff x="0" y="-1"/>
            <a:chExt cx="5760" cy="144"/>
          </a:xfrm>
        </p:grpSpPr>
        <p:sp>
          <p:nvSpPr>
            <p:cNvPr id="19" name="Rectangle 1046"/>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a:defRPr/>
              </a:pPr>
              <a:endParaRPr lang="en-US" sz="1800">
                <a:solidFill>
                  <a:prstClr val="black"/>
                </a:solidFill>
                <a:ea typeface="ＭＳ Ｐゴシック" pitchFamily="34" charset="-128"/>
              </a:endParaRPr>
            </a:p>
          </p:txBody>
        </p:sp>
        <p:pic>
          <p:nvPicPr>
            <p:cNvPr id="20" name="Picture 1042" descr="BD21318_"/>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284389399"/>
      </p:ext>
    </p:extLst>
  </p:cSld>
  <p:clrMap bg1="lt1" tx1="dk1" bg2="lt2" tx2="dk2" accent1="accent1" accent2="accent2" accent3="accent3" accent4="accent4" accent5="accent5" accent6="accent6" hlink="hlink" folHlink="folHlink"/>
  <p:sldLayoutIdLst>
    <p:sldLayoutId id="2147483650" r:id="rId1"/>
    <p:sldLayoutId id="2147483654" r:id="rId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4000" b="1" i="1" kern="1200">
          <a:solidFill>
            <a:srgbClr val="0070C0"/>
          </a:solidFill>
          <a:effectLst>
            <a:outerShdw blurRad="38100" dist="38100" dir="2700000" algn="tl">
              <a:srgbClr val="000000">
                <a:alpha val="43137"/>
              </a:srgbClr>
            </a:outerShdw>
          </a:effectLst>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000" b="1" kern="1200">
          <a:solidFill>
            <a:schemeClr val="tx1"/>
          </a:solidFill>
          <a:latin typeface="+mn-lt"/>
          <a:ea typeface="+mn-ea"/>
          <a:cs typeface="+mn-cs"/>
        </a:defRPr>
      </a:lvl1pPr>
      <a:lvl2pPr marL="742950" indent="-285750" algn="l" defTabSz="914400" rtl="0" eaLnBrk="1" latinLnBrk="0" hangingPunct="1">
        <a:spcBef>
          <a:spcPct val="20000"/>
        </a:spcBef>
        <a:buFont typeface="Wingdings" pitchFamily="2" charset="2"/>
        <a:buChar char="Ø"/>
        <a:defRPr sz="2600" b="1" kern="1200">
          <a:solidFill>
            <a:srgbClr val="C00000"/>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b="1" kern="1200">
          <a:solidFill>
            <a:srgbClr val="002060"/>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rgbClr val="002060"/>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rgbClr val="00206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9"/>
            </p:custDataLst>
            <p:extLst>
              <p:ext uri="{D42A27DB-BD31-4B8C-83A1-F6EECF244321}">
                <p14:modId xmlns:p14="http://schemas.microsoft.com/office/powerpoint/2010/main" val="2524117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44" imgH="344" progId="TCLayout.ActiveDocument.1">
                  <p:embed/>
                </p:oleObj>
              </mc:Choice>
              <mc:Fallback>
                <p:oleObj name="think-cell Slide" r:id="rId40" imgW="344" imgH="344" progId="TCLayout.ActiveDocument.1">
                  <p:embed/>
                  <p:pic>
                    <p:nvPicPr>
                      <p:cNvPr id="2" name="Object 1" hidden="1"/>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14" name="Footer Placeholder 13">
            <a:extLst>
              <a:ext uri="{FF2B5EF4-FFF2-40B4-BE49-F238E27FC236}">
                <a16:creationId xmlns:a16="http://schemas.microsoft.com/office/drawing/2014/main" id="{B787F754-4591-8560-9572-F2835E2D058D}"/>
              </a:ext>
            </a:extLst>
          </p:cNvPr>
          <p:cNvSpPr>
            <a:spLocks noGrp="1"/>
          </p:cNvSpPr>
          <p:nvPr>
            <p:ph type="ftr" sz="quarter" idx="3"/>
          </p:nvPr>
        </p:nvSpPr>
        <p:spPr>
          <a:xfrm>
            <a:off x="419101" y="6398540"/>
            <a:ext cx="8178800" cy="153888"/>
          </a:xfrm>
          <a:prstGeom prst="rect">
            <a:avLst/>
          </a:prstGeom>
        </p:spPr>
        <p:txBody>
          <a:bodyPr vert="horz" lIns="0" tIns="0" rIns="91440" bIns="0" rtlCol="0" anchor="b">
            <a:noAutofit/>
          </a:bodyPr>
          <a:lstStyle>
            <a:lvl1pPr algn="l">
              <a:defRPr sz="1000" b="0" spc="0">
                <a:solidFill>
                  <a:schemeClr val="bg1">
                    <a:lumMod val="50000"/>
                  </a:schemeClr>
                </a:solidFill>
                <a:latin typeface="+mn-lt"/>
              </a:defRPr>
            </a:lvl1pPr>
          </a:lstStyle>
          <a:p>
            <a:endParaRPr lang="en-US"/>
          </a:p>
        </p:txBody>
      </p:sp>
      <p:sp>
        <p:nvSpPr>
          <p:cNvPr id="3" name="Title Placeholder 2">
            <a:extLst>
              <a:ext uri="{FF2B5EF4-FFF2-40B4-BE49-F238E27FC236}">
                <a16:creationId xmlns:a16="http://schemas.microsoft.com/office/drawing/2014/main" id="{A0BB2E9E-9375-28B4-FC7A-4B76F8CB0359}"/>
              </a:ext>
            </a:extLst>
          </p:cNvPr>
          <p:cNvSpPr>
            <a:spLocks noGrp="1"/>
          </p:cNvSpPr>
          <p:nvPr>
            <p:ph type="title"/>
          </p:nvPr>
        </p:nvSpPr>
        <p:spPr>
          <a:xfrm>
            <a:off x="419103" y="294209"/>
            <a:ext cx="9582148" cy="669925"/>
          </a:xfrm>
          <a:prstGeom prst="rect">
            <a:avLst/>
          </a:prstGeom>
        </p:spPr>
        <p:txBody>
          <a:bodyPr vert="horz" lIns="0" tIns="45720" rIns="91440" bIns="45720" rtlCol="0" anchor="ctr">
            <a:normAutofit/>
          </a:bodyPr>
          <a:lstStyle/>
          <a:p>
            <a:r>
              <a:rPr lang="en-US"/>
              <a:t>CLICK TO EDIT MASTER TITLE STYLE</a:t>
            </a:r>
          </a:p>
        </p:txBody>
      </p:sp>
      <p:sp>
        <p:nvSpPr>
          <p:cNvPr id="34" name="Text Placeholder 33">
            <a:extLst>
              <a:ext uri="{FF2B5EF4-FFF2-40B4-BE49-F238E27FC236}">
                <a16:creationId xmlns:a16="http://schemas.microsoft.com/office/drawing/2014/main" id="{A375F33B-C9AA-978B-7726-E764A8C78848}"/>
              </a:ext>
            </a:extLst>
          </p:cNvPr>
          <p:cNvSpPr>
            <a:spLocks noGrp="1"/>
          </p:cNvSpPr>
          <p:nvPr>
            <p:ph type="body" idx="1"/>
          </p:nvPr>
        </p:nvSpPr>
        <p:spPr>
          <a:xfrm>
            <a:off x="419100" y="1542288"/>
            <a:ext cx="11353800" cy="4634675"/>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9141278"/>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2" r:id="rId7"/>
    <p:sldLayoutId id="2147483663" r:id="rId8"/>
    <p:sldLayoutId id="2147483664" r:id="rId9"/>
    <p:sldLayoutId id="2147483665" r:id="rId10"/>
    <p:sldLayoutId id="2147483666" r:id="rId11"/>
    <p:sldLayoutId id="2147483667" r:id="rId12"/>
    <p:sldLayoutId id="2147483668" r:id="rId13"/>
    <p:sldLayoutId id="2147483669" r:id="rId14"/>
    <p:sldLayoutId id="2147483670" r:id="rId15"/>
    <p:sldLayoutId id="2147483671" r:id="rId16"/>
    <p:sldLayoutId id="2147483672" r:id="rId17"/>
    <p:sldLayoutId id="2147483673" r:id="rId18"/>
    <p:sldLayoutId id="2147483674" r:id="rId19"/>
    <p:sldLayoutId id="2147483675" r:id="rId20"/>
    <p:sldLayoutId id="2147483676" r:id="rId21"/>
    <p:sldLayoutId id="2147483677" r:id="rId22"/>
    <p:sldLayoutId id="2147483678" r:id="rId23"/>
    <p:sldLayoutId id="2147483679" r:id="rId24"/>
    <p:sldLayoutId id="2147483680" r:id="rId25"/>
    <p:sldLayoutId id="2147483681" r:id="rId26"/>
    <p:sldLayoutId id="2147483682" r:id="rId27"/>
    <p:sldLayoutId id="2147483683" r:id="rId28"/>
    <p:sldLayoutId id="2147483684" r:id="rId29"/>
    <p:sldLayoutId id="2147483685" r:id="rId30"/>
    <p:sldLayoutId id="2147483686" r:id="rId31"/>
    <p:sldLayoutId id="2147483687" r:id="rId32"/>
    <p:sldLayoutId id="2147483688" r:id="rId33"/>
    <p:sldLayoutId id="2147483689" r:id="rId34"/>
    <p:sldLayoutId id="2147483690" r:id="rId35"/>
    <p:sldLayoutId id="2147483691" r:id="rId36"/>
    <p:sldLayoutId id="2147483767" r:id="rId37"/>
  </p:sldLayoutIdLst>
  <p:hf hdr="0" ftr="0" dt="0"/>
  <p:txStyles>
    <p:titleStyle>
      <a:lvl1pPr marL="0" algn="l" defTabSz="914400" rtl="0" eaLnBrk="1" latinLnBrk="0" hangingPunct="1">
        <a:lnSpc>
          <a:spcPct val="90000"/>
        </a:lnSpc>
        <a:spcBef>
          <a:spcPts val="1000"/>
        </a:spcBef>
        <a:buNone/>
        <a:defRPr lang="en-US" sz="2400" b="1" kern="1200" spc="0" dirty="0">
          <a:solidFill>
            <a:schemeClr val="accent1"/>
          </a:solidFill>
          <a:latin typeface="+mj-lt"/>
          <a:ea typeface="Cambria" panose="02040503050406030204" pitchFamily="18" charset="0"/>
          <a:cs typeface="+mn-cs"/>
        </a:defRPr>
      </a:lvl1pPr>
    </p:titleStyle>
    <p:bodyStyle>
      <a:lvl1pPr marL="182880" indent="-182880" algn="l" defTabSz="914400" rtl="0" eaLnBrk="1" latinLnBrk="0" hangingPunct="1">
        <a:lnSpc>
          <a:spcPct val="90000"/>
        </a:lnSpc>
        <a:spcBef>
          <a:spcPts val="1000"/>
        </a:spcBef>
        <a:buClr>
          <a:schemeClr val="accent1"/>
        </a:buClr>
        <a:buFont typeface="Wingdings" panose="05000000000000000000" pitchFamily="2" charset="2"/>
        <a:buChar char="§"/>
        <a:defRPr lang="en-US" sz="1200" b="0" kern="1200" spc="0" dirty="0" smtClean="0">
          <a:solidFill>
            <a:schemeClr val="tx2"/>
          </a:solidFill>
          <a:latin typeface="+mn-lt"/>
          <a:ea typeface="+mn-ea"/>
          <a:cs typeface="+mn-cs"/>
        </a:defRPr>
      </a:lvl1pPr>
      <a:lvl2pPr marL="365760" indent="-182880" algn="l" defTabSz="914400" rtl="0" eaLnBrk="1" latinLnBrk="0" hangingPunct="1">
        <a:lnSpc>
          <a:spcPct val="90000"/>
        </a:lnSpc>
        <a:spcBef>
          <a:spcPts val="500"/>
        </a:spcBef>
        <a:buClr>
          <a:schemeClr val="accent1"/>
        </a:buClr>
        <a:buFont typeface="Playfair Display" pitchFamily="2" charset="0"/>
        <a:buChar char="–"/>
        <a:defRPr lang="en-US" sz="1200" b="0" kern="1200" spc="0" dirty="0" smtClean="0">
          <a:solidFill>
            <a:schemeClr val="tx2"/>
          </a:solidFill>
          <a:latin typeface="+mn-lt"/>
          <a:ea typeface="+mn-ea"/>
          <a:cs typeface="+mn-cs"/>
        </a:defRPr>
      </a:lvl2pPr>
      <a:lvl3pPr marL="548640" indent="-182880" algn="l" defTabSz="914400" rtl="0" eaLnBrk="1" latinLnBrk="0" hangingPunct="1">
        <a:lnSpc>
          <a:spcPct val="90000"/>
        </a:lnSpc>
        <a:spcBef>
          <a:spcPts val="500"/>
        </a:spcBef>
        <a:buClr>
          <a:schemeClr val="accent1"/>
        </a:buClr>
        <a:buFont typeface="Arial" panose="020B0604020202020204" pitchFamily="34" charset="0"/>
        <a:buChar char="•"/>
        <a:defRPr lang="en-US" sz="1200" b="0" kern="1200" spc="0" dirty="0" smtClean="0">
          <a:solidFill>
            <a:schemeClr val="tx2"/>
          </a:solidFill>
          <a:latin typeface="+mn-lt"/>
          <a:ea typeface="+mn-ea"/>
          <a:cs typeface="+mn-cs"/>
        </a:defRPr>
      </a:lvl3pPr>
      <a:lvl4pPr marL="731520" indent="-182880" algn="l" defTabSz="914400" rtl="0" eaLnBrk="1" latinLnBrk="0" hangingPunct="1">
        <a:lnSpc>
          <a:spcPct val="90000"/>
        </a:lnSpc>
        <a:spcBef>
          <a:spcPts val="500"/>
        </a:spcBef>
        <a:buClr>
          <a:schemeClr val="accent1"/>
        </a:buClr>
        <a:buFont typeface="Courier New" panose="02070309020205020404" pitchFamily="49" charset="0"/>
        <a:buChar char="o"/>
        <a:defRPr lang="en-US" sz="1200" b="0" kern="1200" spc="0" dirty="0" smtClean="0">
          <a:solidFill>
            <a:schemeClr val="tx2"/>
          </a:solidFill>
          <a:latin typeface="+mn-lt"/>
          <a:ea typeface="+mn-ea"/>
          <a:cs typeface="+mn-cs"/>
        </a:defRPr>
      </a:lvl4pPr>
      <a:lvl5pPr marL="914400" indent="-182880" algn="l" defTabSz="914400" rtl="0" eaLnBrk="1" latinLnBrk="0" hangingPunct="1">
        <a:lnSpc>
          <a:spcPct val="90000"/>
        </a:lnSpc>
        <a:spcBef>
          <a:spcPts val="500"/>
        </a:spcBef>
        <a:buClr>
          <a:schemeClr val="accent1"/>
        </a:buClr>
        <a:buFont typeface="DM Sans" pitchFamily="2" charset="0"/>
        <a:buChar char="◊"/>
        <a:defRPr lang="en-US" sz="1200" b="0" kern="1200" spc="0" dirty="0" smtClean="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4">
          <p15:clr>
            <a:srgbClr val="F26B43"/>
          </p15:clr>
        </p15:guide>
        <p15:guide id="2" pos="264">
          <p15:clr>
            <a:srgbClr val="F26B43"/>
          </p15:clr>
        </p15:guide>
        <p15:guide id="3" pos="7416">
          <p15:clr>
            <a:srgbClr val="F26B43"/>
          </p15:clr>
        </p15:guide>
        <p15:guide id="4" orient="horz" pos="192">
          <p15:clr>
            <a:srgbClr val="F26B43"/>
          </p15:clr>
        </p15:guide>
        <p15:guide id="5" orient="horz" pos="412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6270AE8-E517-4F93-9071-900714F8DD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216EE04-36D1-4B75-AD3D-8438FAF567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52DF73-8BEF-4914-A993-CD313ABA7C3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534FE1-6959-4277-BAC0-F34399D72004}" type="datetimeFigureOut">
              <a:rPr lang="en-US" smtClean="0"/>
              <a:t>12/1/2025</a:t>
            </a:fld>
            <a:endParaRPr lang="en-US"/>
          </a:p>
        </p:txBody>
      </p:sp>
      <p:sp>
        <p:nvSpPr>
          <p:cNvPr id="5" name="Footer Placeholder 4">
            <a:extLst>
              <a:ext uri="{FF2B5EF4-FFF2-40B4-BE49-F238E27FC236}">
                <a16:creationId xmlns:a16="http://schemas.microsoft.com/office/drawing/2014/main" id="{C364D3D7-C7E0-4675-ACF4-6337410B50B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CFA06D1-CD67-4B32-AA9F-7EFBA4F03B2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CA792A-B336-4C37-B349-246D13530FFD}" type="slidenum">
              <a:rPr lang="en-US" smtClean="0"/>
              <a:t>‹#›</a:t>
            </a:fld>
            <a:endParaRPr lang="en-US"/>
          </a:p>
        </p:txBody>
      </p:sp>
    </p:spTree>
    <p:extLst>
      <p:ext uri="{BB962C8B-B14F-4D97-AF65-F5344CB8AC3E}">
        <p14:creationId xmlns:p14="http://schemas.microsoft.com/office/powerpoint/2010/main" val="4253264999"/>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8"/>
            </p:custDataLst>
            <p:extLst>
              <p:ext uri="{D42A27DB-BD31-4B8C-83A1-F6EECF244321}">
                <p14:modId xmlns:p14="http://schemas.microsoft.com/office/powerpoint/2010/main" val="1874147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44" imgH="344" progId="TCLayout.ActiveDocument.1">
                  <p:embed/>
                </p:oleObj>
              </mc:Choice>
              <mc:Fallback>
                <p:oleObj name="think-cell Slide" r:id="rId39" imgW="344" imgH="344" progId="TCLayout.ActiveDocument.1">
                  <p:embed/>
                  <p:pic>
                    <p:nvPicPr>
                      <p:cNvPr id="2" name="Object 1" hidden="1"/>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14" name="Footer Placeholder 13">
            <a:extLst>
              <a:ext uri="{FF2B5EF4-FFF2-40B4-BE49-F238E27FC236}">
                <a16:creationId xmlns:a16="http://schemas.microsoft.com/office/drawing/2014/main" id="{B787F754-4591-8560-9572-F2835E2D058D}"/>
              </a:ext>
            </a:extLst>
          </p:cNvPr>
          <p:cNvSpPr>
            <a:spLocks noGrp="1"/>
          </p:cNvSpPr>
          <p:nvPr>
            <p:ph type="ftr" sz="quarter" idx="3"/>
          </p:nvPr>
        </p:nvSpPr>
        <p:spPr>
          <a:xfrm>
            <a:off x="419101" y="6398540"/>
            <a:ext cx="8178800" cy="153888"/>
          </a:xfrm>
          <a:prstGeom prst="rect">
            <a:avLst/>
          </a:prstGeom>
        </p:spPr>
        <p:txBody>
          <a:bodyPr vert="horz" lIns="0" tIns="0" rIns="91440" bIns="0" rtlCol="0" anchor="b">
            <a:noAutofit/>
          </a:bodyPr>
          <a:lstStyle>
            <a:lvl1pPr algn="l">
              <a:defRPr sz="1000" b="0" spc="0">
                <a:solidFill>
                  <a:schemeClr val="bg1">
                    <a:lumMod val="50000"/>
                  </a:schemeClr>
                </a:solidFill>
                <a:latin typeface="+mn-lt"/>
              </a:defRPr>
            </a:lvl1pPr>
          </a:lstStyle>
          <a:p>
            <a:endParaRPr lang="en-US" dirty="0"/>
          </a:p>
        </p:txBody>
      </p:sp>
      <p:sp>
        <p:nvSpPr>
          <p:cNvPr id="3" name="Title Placeholder 2">
            <a:extLst>
              <a:ext uri="{FF2B5EF4-FFF2-40B4-BE49-F238E27FC236}">
                <a16:creationId xmlns:a16="http://schemas.microsoft.com/office/drawing/2014/main" id="{A0BB2E9E-9375-28B4-FC7A-4B76F8CB0359}"/>
              </a:ext>
            </a:extLst>
          </p:cNvPr>
          <p:cNvSpPr>
            <a:spLocks noGrp="1"/>
          </p:cNvSpPr>
          <p:nvPr>
            <p:ph type="title"/>
          </p:nvPr>
        </p:nvSpPr>
        <p:spPr>
          <a:xfrm>
            <a:off x="419103" y="294209"/>
            <a:ext cx="9582148" cy="669925"/>
          </a:xfrm>
          <a:prstGeom prst="rect">
            <a:avLst/>
          </a:prstGeom>
        </p:spPr>
        <p:txBody>
          <a:bodyPr vert="horz" lIns="0" tIns="45720" rIns="91440" bIns="45720" rtlCol="0" anchor="ctr">
            <a:normAutofit/>
          </a:bodyPr>
          <a:lstStyle/>
          <a:p>
            <a:r>
              <a:rPr lang="en-US" dirty="0"/>
              <a:t>CLICK TO EDIT MASTER TITLE STYLE</a:t>
            </a:r>
          </a:p>
        </p:txBody>
      </p:sp>
      <p:sp>
        <p:nvSpPr>
          <p:cNvPr id="34" name="Text Placeholder 33">
            <a:extLst>
              <a:ext uri="{FF2B5EF4-FFF2-40B4-BE49-F238E27FC236}">
                <a16:creationId xmlns:a16="http://schemas.microsoft.com/office/drawing/2014/main" id="{A375F33B-C9AA-978B-7726-E764A8C78848}"/>
              </a:ext>
            </a:extLst>
          </p:cNvPr>
          <p:cNvSpPr>
            <a:spLocks noGrp="1"/>
          </p:cNvSpPr>
          <p:nvPr>
            <p:ph type="body" idx="1"/>
          </p:nvPr>
        </p:nvSpPr>
        <p:spPr>
          <a:xfrm>
            <a:off x="419100" y="1542288"/>
            <a:ext cx="11353800" cy="4634675"/>
          </a:xfrm>
          <a:prstGeom prst="rect">
            <a:avLst/>
          </a:prstGeom>
        </p:spPr>
        <p:txBody>
          <a:bodyPr vert="horz" lIns="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descr="A logo with a black background&#10;&#10;Description automatically generated">
            <a:extLst>
              <a:ext uri="{FF2B5EF4-FFF2-40B4-BE49-F238E27FC236}">
                <a16:creationId xmlns:a16="http://schemas.microsoft.com/office/drawing/2014/main" id="{E2B996FB-6808-8C91-2391-91E37C96F2CB}"/>
              </a:ext>
            </a:extLst>
          </p:cNvPr>
          <p:cNvPicPr>
            <a:picLocks noChangeAspect="1"/>
          </p:cNvPicPr>
          <p:nvPr userDrawn="1"/>
        </p:nvPicPr>
        <p:blipFill>
          <a:blip r:embed="rId41" cstate="print">
            <a:extLst>
              <a:ext uri="{28A0092B-C50C-407E-A947-70E740481C1C}">
                <a14:useLocalDpi xmlns:a14="http://schemas.microsoft.com/office/drawing/2010/main"/>
              </a:ext>
            </a:extLst>
          </a:blip>
          <a:stretch>
            <a:fillRect/>
          </a:stretch>
        </p:blipFill>
        <p:spPr>
          <a:xfrm>
            <a:off x="10212222" y="276399"/>
            <a:ext cx="1631436" cy="689552"/>
          </a:xfrm>
          <a:prstGeom prst="rect">
            <a:avLst/>
          </a:prstGeom>
        </p:spPr>
      </p:pic>
      <p:sp>
        <p:nvSpPr>
          <p:cNvPr id="5" name="TextBox 4">
            <a:extLst>
              <a:ext uri="{FF2B5EF4-FFF2-40B4-BE49-F238E27FC236}">
                <a16:creationId xmlns:a16="http://schemas.microsoft.com/office/drawing/2014/main" id="{250C23C5-816B-1CD1-D5A2-3A45F79C2EBA}"/>
              </a:ext>
            </a:extLst>
          </p:cNvPr>
          <p:cNvSpPr txBox="1"/>
          <p:nvPr userDrawn="1"/>
        </p:nvSpPr>
        <p:spPr>
          <a:xfrm>
            <a:off x="8597900" y="6400800"/>
            <a:ext cx="3175000" cy="153988"/>
          </a:xfrm>
          <a:prstGeom prst="rect">
            <a:avLst/>
          </a:prstGeom>
          <a:noFill/>
        </p:spPr>
        <p:txBody>
          <a:bodyPr wrap="square" rIns="0" anchor="ctr">
            <a:noAutofit/>
          </a:bodyPr>
          <a:lstStyle/>
          <a:p>
            <a:pPr marL="0" algn="r" defTabSz="914400" rtl="0" eaLnBrk="1" latinLnBrk="0" hangingPunct="1"/>
            <a:r>
              <a:rPr lang="en-US" sz="1200" b="1" kern="0" dirty="0">
                <a:solidFill>
                  <a:schemeClr val="bg2"/>
                </a:solidFill>
                <a:effectLst/>
                <a:latin typeface="+mn-lt"/>
                <a:ea typeface="Calibri" panose="020F0502020204030204" pitchFamily="34" charset="0"/>
                <a:cs typeface="+mn-cs"/>
              </a:rPr>
              <a:t>Powers the Future</a:t>
            </a:r>
            <a:endParaRPr lang="en-US" sz="1200" b="1" kern="0" dirty="0">
              <a:solidFill>
                <a:schemeClr val="bg2"/>
              </a:solidFill>
              <a:effectLst/>
              <a:latin typeface="+mn-lt"/>
              <a:cs typeface="+mn-cs"/>
            </a:endParaRPr>
          </a:p>
        </p:txBody>
      </p:sp>
    </p:spTree>
    <p:extLst>
      <p:ext uri="{BB962C8B-B14F-4D97-AF65-F5344CB8AC3E}">
        <p14:creationId xmlns:p14="http://schemas.microsoft.com/office/powerpoint/2010/main" val="83689421"/>
      </p:ext>
    </p:extLst>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 id="2147484059" r:id="rId10"/>
    <p:sldLayoutId id="2147484060" r:id="rId11"/>
    <p:sldLayoutId id="2147484061" r:id="rId12"/>
    <p:sldLayoutId id="2147484062" r:id="rId13"/>
    <p:sldLayoutId id="2147484063" r:id="rId14"/>
    <p:sldLayoutId id="2147484064" r:id="rId15"/>
    <p:sldLayoutId id="2147484065" r:id="rId16"/>
    <p:sldLayoutId id="2147484066" r:id="rId17"/>
    <p:sldLayoutId id="2147484067" r:id="rId18"/>
    <p:sldLayoutId id="2147484068" r:id="rId19"/>
    <p:sldLayoutId id="2147484069" r:id="rId20"/>
    <p:sldLayoutId id="2147484070" r:id="rId21"/>
    <p:sldLayoutId id="2147484071" r:id="rId22"/>
    <p:sldLayoutId id="2147484072" r:id="rId23"/>
    <p:sldLayoutId id="2147484073" r:id="rId24"/>
    <p:sldLayoutId id="2147484074" r:id="rId25"/>
    <p:sldLayoutId id="2147484075" r:id="rId26"/>
    <p:sldLayoutId id="2147484076" r:id="rId27"/>
    <p:sldLayoutId id="2147484077" r:id="rId28"/>
    <p:sldLayoutId id="2147484078" r:id="rId29"/>
    <p:sldLayoutId id="2147484079" r:id="rId30"/>
    <p:sldLayoutId id="2147484080" r:id="rId31"/>
    <p:sldLayoutId id="2147484081" r:id="rId32"/>
    <p:sldLayoutId id="2147484082" r:id="rId33"/>
    <p:sldLayoutId id="2147484083" r:id="rId34"/>
    <p:sldLayoutId id="2147484084" r:id="rId35"/>
    <p:sldLayoutId id="2147484085" r:id="rId36"/>
  </p:sldLayoutIdLst>
  <p:hf sldNum="0" hdr="0" ftr="0" dt="0"/>
  <p:txStyles>
    <p:titleStyle>
      <a:lvl1pPr marL="0" algn="l" defTabSz="914400" rtl="0" eaLnBrk="1" latinLnBrk="0" hangingPunct="1">
        <a:lnSpc>
          <a:spcPct val="90000"/>
        </a:lnSpc>
        <a:spcBef>
          <a:spcPts val="1000"/>
        </a:spcBef>
        <a:buNone/>
        <a:defRPr lang="en-US" sz="2400" b="1" kern="1200" spc="0" dirty="0">
          <a:solidFill>
            <a:schemeClr val="accent1"/>
          </a:solidFill>
          <a:latin typeface="+mj-lt"/>
          <a:ea typeface="Cambria" panose="02040503050406030204" pitchFamily="18" charset="0"/>
          <a:cs typeface="+mn-cs"/>
        </a:defRPr>
      </a:lvl1pPr>
    </p:titleStyle>
    <p:bodyStyle>
      <a:lvl1pPr marL="182880" indent="-182880" algn="l" defTabSz="914400" rtl="0" eaLnBrk="1" latinLnBrk="0" hangingPunct="1">
        <a:lnSpc>
          <a:spcPct val="90000"/>
        </a:lnSpc>
        <a:spcBef>
          <a:spcPts val="1000"/>
        </a:spcBef>
        <a:buClr>
          <a:schemeClr val="accent1"/>
        </a:buClr>
        <a:buFont typeface="Wingdings" panose="05000000000000000000" pitchFamily="2" charset="2"/>
        <a:buChar char="§"/>
        <a:defRPr lang="en-US" sz="1200" b="0" kern="1200" spc="0" dirty="0" smtClean="0">
          <a:solidFill>
            <a:schemeClr val="tx2"/>
          </a:solidFill>
          <a:latin typeface="+mn-lt"/>
          <a:ea typeface="+mn-ea"/>
          <a:cs typeface="+mn-cs"/>
        </a:defRPr>
      </a:lvl1pPr>
      <a:lvl2pPr marL="365760" indent="-182880" algn="l" defTabSz="914400" rtl="0" eaLnBrk="1" latinLnBrk="0" hangingPunct="1">
        <a:lnSpc>
          <a:spcPct val="90000"/>
        </a:lnSpc>
        <a:spcBef>
          <a:spcPts val="500"/>
        </a:spcBef>
        <a:buClr>
          <a:schemeClr val="accent1"/>
        </a:buClr>
        <a:buFont typeface="Playfair Display" pitchFamily="2" charset="0"/>
        <a:buChar char="–"/>
        <a:defRPr lang="en-US" sz="1200" b="0" kern="1200" spc="0" dirty="0" smtClean="0">
          <a:solidFill>
            <a:schemeClr val="tx2"/>
          </a:solidFill>
          <a:latin typeface="+mn-lt"/>
          <a:ea typeface="+mn-ea"/>
          <a:cs typeface="+mn-cs"/>
        </a:defRPr>
      </a:lvl2pPr>
      <a:lvl3pPr marL="548640" indent="-182880" algn="l" defTabSz="914400" rtl="0" eaLnBrk="1" latinLnBrk="0" hangingPunct="1">
        <a:lnSpc>
          <a:spcPct val="90000"/>
        </a:lnSpc>
        <a:spcBef>
          <a:spcPts val="500"/>
        </a:spcBef>
        <a:buClr>
          <a:schemeClr val="accent1"/>
        </a:buClr>
        <a:buFont typeface="Arial" panose="020B0604020202020204" pitchFamily="34" charset="0"/>
        <a:buChar char="•"/>
        <a:defRPr lang="en-US" sz="1200" b="0" kern="1200" spc="0" dirty="0" smtClean="0">
          <a:solidFill>
            <a:schemeClr val="tx2"/>
          </a:solidFill>
          <a:latin typeface="+mn-lt"/>
          <a:ea typeface="+mn-ea"/>
          <a:cs typeface="+mn-cs"/>
        </a:defRPr>
      </a:lvl3pPr>
      <a:lvl4pPr marL="731520" indent="-182880" algn="l" defTabSz="914400" rtl="0" eaLnBrk="1" latinLnBrk="0" hangingPunct="1">
        <a:lnSpc>
          <a:spcPct val="90000"/>
        </a:lnSpc>
        <a:spcBef>
          <a:spcPts val="500"/>
        </a:spcBef>
        <a:buClr>
          <a:schemeClr val="accent1"/>
        </a:buClr>
        <a:buFont typeface="Courier New" panose="02070309020205020404" pitchFamily="49" charset="0"/>
        <a:buChar char="o"/>
        <a:defRPr lang="en-US" sz="1200" b="0" kern="1200" spc="0" dirty="0" smtClean="0">
          <a:solidFill>
            <a:schemeClr val="tx2"/>
          </a:solidFill>
          <a:latin typeface="+mn-lt"/>
          <a:ea typeface="+mn-ea"/>
          <a:cs typeface="+mn-cs"/>
        </a:defRPr>
      </a:lvl4pPr>
      <a:lvl5pPr marL="914400" indent="-182880" algn="l" defTabSz="914400" rtl="0" eaLnBrk="1" latinLnBrk="0" hangingPunct="1">
        <a:lnSpc>
          <a:spcPct val="90000"/>
        </a:lnSpc>
        <a:spcBef>
          <a:spcPts val="500"/>
        </a:spcBef>
        <a:buClr>
          <a:schemeClr val="accent1"/>
        </a:buClr>
        <a:buFont typeface="DM Sans" pitchFamily="2" charset="0"/>
        <a:buChar char="◊"/>
        <a:defRPr lang="en-US" sz="1200" b="0" kern="1200" spc="0" dirty="0" smtClean="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4">
          <p15:clr>
            <a:srgbClr val="F26B43"/>
          </p15:clr>
        </p15:guide>
        <p15:guide id="2" pos="264">
          <p15:clr>
            <a:srgbClr val="F26B43"/>
          </p15:clr>
        </p15:guide>
        <p15:guide id="3" pos="7416">
          <p15:clr>
            <a:srgbClr val="F26B43"/>
          </p15:clr>
        </p15:guide>
        <p15:guide id="4" orient="horz" pos="192">
          <p15:clr>
            <a:srgbClr val="F26B43"/>
          </p15:clr>
        </p15:guide>
        <p15:guide id="5" orient="horz" pos="412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7.png"/><Relationship Id="rId2" Type="http://schemas.openxmlformats.org/officeDocument/2006/relationships/slideLayout" Target="../slideLayouts/slideLayout8.xml"/><Relationship Id="rId1" Type="http://schemas.openxmlformats.org/officeDocument/2006/relationships/tags" Target="../tags/tag76.xml"/><Relationship Id="rId6" Type="http://schemas.openxmlformats.org/officeDocument/2006/relationships/image" Target="../media/image26.jpeg"/><Relationship Id="rId5" Type="http://schemas.openxmlformats.org/officeDocument/2006/relationships/image" Target="../media/image6.emf"/><Relationship Id="rId4" Type="http://schemas.openxmlformats.org/officeDocument/2006/relationships/oleObject" Target="../embeddings/oleObject47.bin"/></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41.xml"/><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49.png"/><Relationship Id="rId2" Type="http://schemas.openxmlformats.org/officeDocument/2006/relationships/slideLayout" Target="../slideLayouts/slideLayout4.xml"/><Relationship Id="rId1" Type="http://schemas.openxmlformats.org/officeDocument/2006/relationships/tags" Target="../tags/tag79.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50.bin"/></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39.xml"/><Relationship Id="rId4" Type="http://schemas.openxmlformats.org/officeDocument/2006/relationships/image" Target="../media/image1.png"/></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39.xml"/><Relationship Id="rId4" Type="http://schemas.openxmlformats.org/officeDocument/2006/relationships/image" Target="../media/image1.png"/></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39.xml"/><Relationship Id="rId4" Type="http://schemas.openxmlformats.org/officeDocument/2006/relationships/image" Target="../media/image1.png"/></Relationships>
</file>

<file path=ppt/slides/_rels/slide16.xml.rels><?xml version="1.0" encoding="UTF-8" standalone="yes"?>
<Relationships xmlns="http://schemas.openxmlformats.org/package/2006/relationships"><Relationship Id="rId3" Type="http://schemas.openxmlformats.org/officeDocument/2006/relationships/hyperlink" Target="https://www.southernstatesllc.com/products/mobile-substations/mobile-substations" TargetMode="External"/><Relationship Id="rId2" Type="http://schemas.openxmlformats.org/officeDocument/2006/relationships/notesSlide" Target="../notesSlides/notesSlide16.xml"/><Relationship Id="rId1" Type="http://schemas.openxmlformats.org/officeDocument/2006/relationships/slideLayout" Target="../slideLayouts/slideLayout39.xml"/><Relationship Id="rId5" Type="http://schemas.openxmlformats.org/officeDocument/2006/relationships/image" Target="../media/image1.png"/><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hyperlink" Target="https://www.southernstatesllc.com/products/grid-security-products/airspace-security" TargetMode="External"/><Relationship Id="rId2" Type="http://schemas.openxmlformats.org/officeDocument/2006/relationships/notesSlide" Target="../notesSlides/notesSlide17.xml"/><Relationship Id="rId1" Type="http://schemas.openxmlformats.org/officeDocument/2006/relationships/slideLayout" Target="../slideLayouts/slideLayout39.xml"/><Relationship Id="rId5" Type="http://schemas.openxmlformats.org/officeDocument/2006/relationships/image" Target="../media/image1.png"/><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39.xml"/><Relationship Id="rId4" Type="http://schemas.openxmlformats.org/officeDocument/2006/relationships/image" Target="../media/image1.png"/></Relationships>
</file>

<file path=ppt/slides/_rels/slide19.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53.jpeg"/><Relationship Id="rId3" Type="http://schemas.openxmlformats.org/officeDocument/2006/relationships/notesSlide" Target="../notesSlides/notesSlide19.xml"/><Relationship Id="rId7" Type="http://schemas.openxmlformats.org/officeDocument/2006/relationships/image" Target="../media/image50.png"/><Relationship Id="rId12" Type="http://schemas.microsoft.com/office/2007/relationships/hdphoto" Target="../media/hdphoto4.wdp"/><Relationship Id="rId2" Type="http://schemas.openxmlformats.org/officeDocument/2006/relationships/slideLayout" Target="../slideLayouts/slideLayout4.xml"/><Relationship Id="rId1" Type="http://schemas.openxmlformats.org/officeDocument/2006/relationships/tags" Target="../tags/tag80.xml"/><Relationship Id="rId6" Type="http://schemas.openxmlformats.org/officeDocument/2006/relationships/image" Target="../media/image12.png"/><Relationship Id="rId11" Type="http://schemas.openxmlformats.org/officeDocument/2006/relationships/image" Target="../media/image52.png"/><Relationship Id="rId5" Type="http://schemas.openxmlformats.org/officeDocument/2006/relationships/image" Target="../media/image6.emf"/><Relationship Id="rId10" Type="http://schemas.microsoft.com/office/2007/relationships/hdphoto" Target="../media/hdphoto3.wdp"/><Relationship Id="rId4" Type="http://schemas.openxmlformats.org/officeDocument/2006/relationships/oleObject" Target="../embeddings/oleObject51.bin"/><Relationship Id="rId9" Type="http://schemas.openxmlformats.org/officeDocument/2006/relationships/image" Target="../media/image51.png"/></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2.xml"/><Relationship Id="rId7" Type="http://schemas.openxmlformats.org/officeDocument/2006/relationships/image" Target="../media/image29.png"/><Relationship Id="rId2" Type="http://schemas.openxmlformats.org/officeDocument/2006/relationships/slideLayout" Target="../slideLayouts/slideLayout57.xml"/><Relationship Id="rId1" Type="http://schemas.openxmlformats.org/officeDocument/2006/relationships/tags" Target="../tags/tag77.xml"/><Relationship Id="rId6" Type="http://schemas.openxmlformats.org/officeDocument/2006/relationships/image" Target="../media/image20.png"/><Relationship Id="rId5" Type="http://schemas.openxmlformats.org/officeDocument/2006/relationships/image" Target="../media/image28.emf"/><Relationship Id="rId4" Type="http://schemas.openxmlformats.org/officeDocument/2006/relationships/oleObject" Target="../embeddings/oleObject48.bin"/></Relationships>
</file>

<file path=ppt/slides/_rels/slide2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12.png"/><Relationship Id="rId7" Type="http://schemas.openxmlformats.org/officeDocument/2006/relationships/image" Target="../media/image55.jpeg"/><Relationship Id="rId2" Type="http://schemas.openxmlformats.org/officeDocument/2006/relationships/notesSlide" Target="../notesSlides/notesSlide20.xml"/><Relationship Id="rId1" Type="http://schemas.openxmlformats.org/officeDocument/2006/relationships/slideLayout" Target="../slideLayouts/slideLayout39.xml"/><Relationship Id="rId6" Type="http://schemas.microsoft.com/office/2007/relationships/hdphoto" Target="../media/hdphoto5.wdp"/><Relationship Id="rId5" Type="http://schemas.openxmlformats.org/officeDocument/2006/relationships/image" Target="../media/image54.png"/><Relationship Id="rId4" Type="http://schemas.openxmlformats.org/officeDocument/2006/relationships/image" Target="../media/image1.png"/><Relationship Id="rId9" Type="http://schemas.openxmlformats.org/officeDocument/2006/relationships/image" Target="../media/image57.jpeg"/></Relationships>
</file>

<file path=ppt/slides/_rels/slide21.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12.png"/><Relationship Id="rId7" Type="http://schemas.openxmlformats.org/officeDocument/2006/relationships/image" Target="../media/image60.png"/><Relationship Id="rId2" Type="http://schemas.openxmlformats.org/officeDocument/2006/relationships/notesSlide" Target="../notesSlides/notesSlide21.xml"/><Relationship Id="rId1" Type="http://schemas.openxmlformats.org/officeDocument/2006/relationships/slideLayout" Target="../slideLayouts/slideLayout39.xml"/><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63.jpeg"/><Relationship Id="rId4" Type="http://schemas.openxmlformats.org/officeDocument/2006/relationships/image" Target="../media/image1.png"/><Relationship Id="rId9" Type="http://schemas.openxmlformats.org/officeDocument/2006/relationships/image" Target="../media/image62.jpeg"/></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66.png"/><Relationship Id="rId2" Type="http://schemas.openxmlformats.org/officeDocument/2006/relationships/notesSlide" Target="../notesSlides/notesSlide22.xml"/><Relationship Id="rId1" Type="http://schemas.openxmlformats.org/officeDocument/2006/relationships/slideLayout" Target="../slideLayouts/slideLayout39.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1.png"/></Relationships>
</file>

<file path=ppt/slides/_rels/slide23.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2.png"/><Relationship Id="rId7" Type="http://schemas.openxmlformats.org/officeDocument/2006/relationships/diagramQuickStyle" Target="../diagrams/quickStyle2.xml"/><Relationship Id="rId2" Type="http://schemas.openxmlformats.org/officeDocument/2006/relationships/notesSlide" Target="../notesSlides/notesSlide23.xml"/><Relationship Id="rId1" Type="http://schemas.openxmlformats.org/officeDocument/2006/relationships/slideLayout" Target="../slideLayouts/slideLayout39.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1.png"/><Relationship Id="rId9" Type="http://schemas.microsoft.com/office/2007/relationships/diagramDrawing" Target="../diagrams/drawing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74.png"/><Relationship Id="rId2" Type="http://schemas.openxmlformats.org/officeDocument/2006/relationships/slideLayout" Target="../slideLayouts/slideLayout4.xml"/><Relationship Id="rId1" Type="http://schemas.openxmlformats.org/officeDocument/2006/relationships/tags" Target="../tags/tag8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52.bin"/></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5.xml"/><Relationship Id="rId1" Type="http://schemas.openxmlformats.org/officeDocument/2006/relationships/slideLayout" Target="../slideLayouts/slideLayout39.xml"/><Relationship Id="rId4" Type="http://schemas.openxmlformats.org/officeDocument/2006/relationships/image" Target="../media/image1.png"/></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7.xml"/><Relationship Id="rId1" Type="http://schemas.openxmlformats.org/officeDocument/2006/relationships/slideLayout" Target="../slideLayouts/slideLayout39.xml"/><Relationship Id="rId4" Type="http://schemas.openxmlformats.org/officeDocument/2006/relationships/image" Target="../media/image1.png"/></Relationships>
</file>

<file path=ppt/slides/_rels/slide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8.xml"/><Relationship Id="rId1" Type="http://schemas.openxmlformats.org/officeDocument/2006/relationships/slideLayout" Target="../slideLayouts/slideLayout39.xml"/><Relationship Id="rId4" Type="http://schemas.openxmlformats.org/officeDocument/2006/relationships/image" Target="../media/image1.png"/></Relationships>
</file>

<file path=ppt/slides/_rels/slide29.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76.png"/><Relationship Id="rId2" Type="http://schemas.openxmlformats.org/officeDocument/2006/relationships/notesSlide" Target="../notesSlides/notesSlide29.xml"/><Relationship Id="rId1" Type="http://schemas.openxmlformats.org/officeDocument/2006/relationships/slideLayout" Target="../slideLayouts/slideLayout39.xml"/><Relationship Id="rId6" Type="http://schemas.openxmlformats.org/officeDocument/2006/relationships/image" Target="../media/image75.png"/><Relationship Id="rId5" Type="http://schemas.openxmlformats.org/officeDocument/2006/relationships/chart" Target="../charts/chart1.xml"/><Relationship Id="rId4" Type="http://schemas.openxmlformats.org/officeDocument/2006/relationships/image" Target="../media/image1.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39.xml"/><Relationship Id="rId4" Type="http://schemas.openxmlformats.org/officeDocument/2006/relationships/image" Target="../media/image1.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77.jpeg"/><Relationship Id="rId2" Type="http://schemas.openxmlformats.org/officeDocument/2006/relationships/slideLayout" Target="../slideLayouts/slideLayout4.xml"/><Relationship Id="rId1" Type="http://schemas.openxmlformats.org/officeDocument/2006/relationships/tags" Target="../tags/tag82.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49.bin"/></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1.xml"/><Relationship Id="rId1" Type="http://schemas.openxmlformats.org/officeDocument/2006/relationships/slideLayout" Target="../slideLayouts/slideLayout39.xml"/><Relationship Id="rId4" Type="http://schemas.openxmlformats.org/officeDocument/2006/relationships/image" Target="../media/image1.png"/></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3.xml"/><Relationship Id="rId1" Type="http://schemas.openxmlformats.org/officeDocument/2006/relationships/slideLayout" Target="../slideLayouts/slideLayout39.xml"/><Relationship Id="rId4" Type="http://schemas.openxmlformats.org/officeDocument/2006/relationships/image" Target="../media/image1.png"/></Relationships>
</file>

<file path=ppt/slides/_rels/slide34.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12.png"/><Relationship Id="rId7" Type="http://schemas.openxmlformats.org/officeDocument/2006/relationships/image" Target="../media/image81.svg"/><Relationship Id="rId2" Type="http://schemas.openxmlformats.org/officeDocument/2006/relationships/notesSlide" Target="../notesSlides/notesSlide34.xml"/><Relationship Id="rId1" Type="http://schemas.openxmlformats.org/officeDocument/2006/relationships/slideLayout" Target="../slideLayouts/slideLayout39.xml"/><Relationship Id="rId6" Type="http://schemas.openxmlformats.org/officeDocument/2006/relationships/image" Target="../media/image80.png"/><Relationship Id="rId5" Type="http://schemas.openxmlformats.org/officeDocument/2006/relationships/image" Target="../media/image79.svg"/><Relationship Id="rId10" Type="http://schemas.openxmlformats.org/officeDocument/2006/relationships/image" Target="../media/image1.png"/><Relationship Id="rId4" Type="http://schemas.openxmlformats.org/officeDocument/2006/relationships/image" Target="../media/image78.png"/><Relationship Id="rId9" Type="http://schemas.openxmlformats.org/officeDocument/2006/relationships/image" Target="../media/image83.svg"/></Relationships>
</file>

<file path=ppt/slides/_rels/slide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5.xml"/><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6.xml"/><Relationship Id="rId1" Type="http://schemas.openxmlformats.org/officeDocument/2006/relationships/slideLayout" Target="../slideLayouts/slideLayout39.xml"/><Relationship Id="rId4" Type="http://schemas.openxmlformats.org/officeDocument/2006/relationships/image" Target="../media/image1.png"/></Relationships>
</file>

<file path=ppt/slides/_rels/slide37.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notesSlide" Target="../notesSlides/notesSlide37.xml"/><Relationship Id="rId7" Type="http://schemas.openxmlformats.org/officeDocument/2006/relationships/image" Target="../media/image84.jpeg"/><Relationship Id="rId2" Type="http://schemas.openxmlformats.org/officeDocument/2006/relationships/slideLayout" Target="../slideLayouts/slideLayout4.xml"/><Relationship Id="rId1" Type="http://schemas.openxmlformats.org/officeDocument/2006/relationships/tags" Target="../tags/tag83.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53.bin"/></Relationships>
</file>

<file path=ppt/slides/_rels/slide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8.xml"/><Relationship Id="rId1" Type="http://schemas.openxmlformats.org/officeDocument/2006/relationships/slideLayout" Target="../slideLayouts/slideLayout39.xml"/><Relationship Id="rId4" Type="http://schemas.openxmlformats.org/officeDocument/2006/relationships/image" Target="../media/image1.png"/></Relationships>
</file>

<file path=ppt/slides/_rels/slide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33.jpeg"/><Relationship Id="rId13" Type="http://schemas.openxmlformats.org/officeDocument/2006/relationships/image" Target="../media/image38.JPG"/><Relationship Id="rId3" Type="http://schemas.openxmlformats.org/officeDocument/2006/relationships/image" Target="../media/image30.jpg"/><Relationship Id="rId7" Type="http://schemas.openxmlformats.org/officeDocument/2006/relationships/image" Target="../media/image32.JPG"/><Relationship Id="rId12" Type="http://schemas.openxmlformats.org/officeDocument/2006/relationships/image" Target="../media/image37.jpeg"/><Relationship Id="rId17" Type="http://schemas.openxmlformats.org/officeDocument/2006/relationships/image" Target="../media/image42.png"/><Relationship Id="rId2" Type="http://schemas.openxmlformats.org/officeDocument/2006/relationships/notesSlide" Target="../notesSlides/notesSlide4.xml"/><Relationship Id="rId16" Type="http://schemas.openxmlformats.org/officeDocument/2006/relationships/image" Target="../media/image41.JPG"/><Relationship Id="rId1" Type="http://schemas.openxmlformats.org/officeDocument/2006/relationships/slideLayout" Target="../slideLayouts/slideLayout39.xml"/><Relationship Id="rId6" Type="http://schemas.openxmlformats.org/officeDocument/2006/relationships/image" Target="../media/image1.png"/><Relationship Id="rId11" Type="http://schemas.openxmlformats.org/officeDocument/2006/relationships/image" Target="../media/image36.JPG"/><Relationship Id="rId5" Type="http://schemas.openxmlformats.org/officeDocument/2006/relationships/image" Target="../media/image12.png"/><Relationship Id="rId15" Type="http://schemas.openxmlformats.org/officeDocument/2006/relationships/image" Target="../media/image40.jpeg"/><Relationship Id="rId10" Type="http://schemas.openxmlformats.org/officeDocument/2006/relationships/image" Target="../media/image35.JPG"/><Relationship Id="rId4" Type="http://schemas.openxmlformats.org/officeDocument/2006/relationships/image" Target="../media/image31.jpeg"/><Relationship Id="rId9" Type="http://schemas.openxmlformats.org/officeDocument/2006/relationships/image" Target="../media/image34.JPG"/><Relationship Id="rId14" Type="http://schemas.openxmlformats.org/officeDocument/2006/relationships/image" Target="../media/image39.jpg"/></Relationships>
</file>

<file path=ppt/slides/_rels/slide40.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88.png"/><Relationship Id="rId2" Type="http://schemas.openxmlformats.org/officeDocument/2006/relationships/notesSlide" Target="../notesSlides/notesSlide40.xml"/><Relationship Id="rId1" Type="http://schemas.openxmlformats.org/officeDocument/2006/relationships/slideLayout" Target="../slideLayouts/slideLayout39.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1.png"/></Relationships>
</file>

<file path=ppt/slides/_rels/slide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1.xml"/><Relationship Id="rId1" Type="http://schemas.openxmlformats.org/officeDocument/2006/relationships/slideLayout" Target="../slideLayouts/slideLayout39.xml"/><Relationship Id="rId5" Type="http://schemas.openxmlformats.org/officeDocument/2006/relationships/image" Target="../media/image89.jpeg"/><Relationship Id="rId4" Type="http://schemas.openxmlformats.org/officeDocument/2006/relationships/image" Target="../media/image1.png"/></Relationships>
</file>

<file path=ppt/slides/_rels/slide42.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12.png"/><Relationship Id="rId7" Type="http://schemas.openxmlformats.org/officeDocument/2006/relationships/image" Target="../media/image92.png"/><Relationship Id="rId2" Type="http://schemas.openxmlformats.org/officeDocument/2006/relationships/notesSlide" Target="../notesSlides/notesSlide42.xml"/><Relationship Id="rId1" Type="http://schemas.openxmlformats.org/officeDocument/2006/relationships/slideLayout" Target="../slideLayouts/slideLayout39.xml"/><Relationship Id="rId6" Type="http://schemas.openxmlformats.org/officeDocument/2006/relationships/image" Target="../media/image91.png"/><Relationship Id="rId5" Type="http://schemas.openxmlformats.org/officeDocument/2006/relationships/image" Target="../media/image90.JPG"/><Relationship Id="rId4" Type="http://schemas.openxmlformats.org/officeDocument/2006/relationships/image" Target="../media/image1.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3.jpg"/><Relationship Id="rId2" Type="http://schemas.openxmlformats.org/officeDocument/2006/relationships/slideLayout" Target="../slideLayouts/slideLayout4.xml"/><Relationship Id="rId1" Type="http://schemas.openxmlformats.org/officeDocument/2006/relationships/tags" Target="../tags/tag78.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49.bin"/></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41.xml"/><Relationship Id="rId4" Type="http://schemas.openxmlformats.org/officeDocument/2006/relationships/image" Target="../media/image1.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2.png"/><Relationship Id="rId7" Type="http://schemas.openxmlformats.org/officeDocument/2006/relationships/diagramQuickStyle" Target="../diagrams/quickStyle1.xml"/><Relationship Id="rId2" Type="http://schemas.openxmlformats.org/officeDocument/2006/relationships/notesSlide" Target="../notesSlides/notesSlide8.xml"/><Relationship Id="rId1" Type="http://schemas.openxmlformats.org/officeDocument/2006/relationships/slideLayout" Target="../slideLayouts/slideLayout41.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png"/><Relationship Id="rId9" Type="http://schemas.microsoft.com/office/2007/relationships/diagramDrawing" Target="../diagrams/drawing1.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41.xml"/><Relationship Id="rId4"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42C46B4-DDF8-C8DE-7554-B79817598A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8" name="think-cell data - do not delete" hidden="1">
                        <a:extLst>
                          <a:ext uri="{FF2B5EF4-FFF2-40B4-BE49-F238E27FC236}">
                            <a16:creationId xmlns:a16="http://schemas.microsoft.com/office/drawing/2014/main" id="{442C46B4-DDF8-C8DE-7554-B79817598A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8" name="Picture 37">
            <a:extLst>
              <a:ext uri="{FF2B5EF4-FFF2-40B4-BE49-F238E27FC236}">
                <a16:creationId xmlns:a16="http://schemas.microsoft.com/office/drawing/2014/main" id="{49FA050F-3321-6512-CA09-2500169C49CE}"/>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0"/>
            <a:ext cx="10025990" cy="6858000"/>
          </a:xfrm>
          <a:prstGeom prst="rect">
            <a:avLst/>
          </a:prstGeom>
        </p:spPr>
      </p:pic>
      <p:sp>
        <p:nvSpPr>
          <p:cNvPr id="43" name="Rectangle 42">
            <a:extLst>
              <a:ext uri="{FF2B5EF4-FFF2-40B4-BE49-F238E27FC236}">
                <a16:creationId xmlns:a16="http://schemas.microsoft.com/office/drawing/2014/main" id="{ED1898D7-B64C-C5FA-7660-FD1B62F07C3E}"/>
              </a:ext>
            </a:extLst>
          </p:cNvPr>
          <p:cNvSpPr/>
          <p:nvPr/>
        </p:nvSpPr>
        <p:spPr>
          <a:xfrm>
            <a:off x="-75448" y="114300"/>
            <a:ext cx="10026650" cy="6858000"/>
          </a:xfrm>
          <a:prstGeom prst="rect">
            <a:avLst/>
          </a:prstGeom>
          <a:gradFill>
            <a:gsLst>
              <a:gs pos="0">
                <a:schemeClr val="accent1"/>
              </a:gs>
              <a:gs pos="100000">
                <a:schemeClr val="accent1">
                  <a:alpha val="3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35" name="Picture 34" descr="A logo with white text&#10;&#10;Description automatically generated">
            <a:extLst>
              <a:ext uri="{FF2B5EF4-FFF2-40B4-BE49-F238E27FC236}">
                <a16:creationId xmlns:a16="http://schemas.microsoft.com/office/drawing/2014/main" id="{1A966F17-AF29-88C8-978D-AC2DD941E08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3604" y="1039400"/>
            <a:ext cx="3260817" cy="993863"/>
          </a:xfrm>
          <a:prstGeom prst="rect">
            <a:avLst/>
          </a:prstGeom>
        </p:spPr>
      </p:pic>
      <p:sp>
        <p:nvSpPr>
          <p:cNvPr id="5" name="Freeform: Shape 4">
            <a:extLst>
              <a:ext uri="{FF2B5EF4-FFF2-40B4-BE49-F238E27FC236}">
                <a16:creationId xmlns:a16="http://schemas.microsoft.com/office/drawing/2014/main" id="{73F399CB-8E19-33A3-8117-ACD5659B4363}"/>
              </a:ext>
            </a:extLst>
          </p:cNvPr>
          <p:cNvSpPr/>
          <p:nvPr/>
        </p:nvSpPr>
        <p:spPr>
          <a:xfrm>
            <a:off x="9430830" y="0"/>
            <a:ext cx="2761170" cy="6857880"/>
          </a:xfrm>
          <a:custGeom>
            <a:avLst/>
            <a:gdLst>
              <a:gd name="connsiteX0" fmla="*/ 0 w 2761170"/>
              <a:gd name="connsiteY0" fmla="*/ 0 h 6857880"/>
              <a:gd name="connsiteX1" fmla="*/ 2761170 w 2761170"/>
              <a:gd name="connsiteY1" fmla="*/ 0 h 6857880"/>
              <a:gd name="connsiteX2" fmla="*/ 2761170 w 2761170"/>
              <a:gd name="connsiteY2" fmla="*/ 6857880 h 6857880"/>
              <a:gd name="connsiteX3" fmla="*/ 2047566 w 2761170"/>
              <a:gd name="connsiteY3" fmla="*/ 6857880 h 6857880"/>
              <a:gd name="connsiteX4" fmla="*/ 2047566 w 2761170"/>
              <a:gd name="connsiteY4" fmla="*/ 1097280 h 6857880"/>
              <a:gd name="connsiteX5" fmla="*/ 0 w 2761170"/>
              <a:gd name="connsiteY5" fmla="*/ 1097280 h 685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1170" h="6857880">
                <a:moveTo>
                  <a:pt x="0" y="0"/>
                </a:moveTo>
                <a:lnTo>
                  <a:pt x="2761170" y="0"/>
                </a:lnTo>
                <a:lnTo>
                  <a:pt x="2761170" y="6857880"/>
                </a:lnTo>
                <a:lnTo>
                  <a:pt x="2047566" y="6857880"/>
                </a:lnTo>
                <a:lnTo>
                  <a:pt x="2047566" y="1097280"/>
                </a:lnTo>
                <a:lnTo>
                  <a:pt x="0" y="1097280"/>
                </a:lnTo>
                <a:close/>
              </a:path>
            </a:pathLst>
          </a:custGeom>
          <a:solidFill>
            <a:schemeClr val="accent2">
              <a:alpha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Calibri"/>
            </a:endParaRPr>
          </a:p>
        </p:txBody>
      </p:sp>
      <p:sp>
        <p:nvSpPr>
          <p:cNvPr id="6" name="Freeform: Shape 5">
            <a:extLst>
              <a:ext uri="{FF2B5EF4-FFF2-40B4-BE49-F238E27FC236}">
                <a16:creationId xmlns:a16="http://schemas.microsoft.com/office/drawing/2014/main" id="{49D48723-40AC-88C4-D436-98D0A990AC54}"/>
              </a:ext>
            </a:extLst>
          </p:cNvPr>
          <p:cNvSpPr/>
          <p:nvPr/>
        </p:nvSpPr>
        <p:spPr>
          <a:xfrm>
            <a:off x="8499423" y="1103630"/>
            <a:ext cx="2978973" cy="5760600"/>
          </a:xfrm>
          <a:custGeom>
            <a:avLst/>
            <a:gdLst>
              <a:gd name="connsiteX0" fmla="*/ 1526567 w 2978973"/>
              <a:gd name="connsiteY0" fmla="*/ 0 h 5760600"/>
              <a:gd name="connsiteX1" fmla="*/ 2978973 w 2978973"/>
              <a:gd name="connsiteY1" fmla="*/ 0 h 5760600"/>
              <a:gd name="connsiteX2" fmla="*/ 2978973 w 2978973"/>
              <a:gd name="connsiteY2" fmla="*/ 5760600 h 5760600"/>
              <a:gd name="connsiteX3" fmla="*/ 0 w 2978973"/>
              <a:gd name="connsiteY3" fmla="*/ 5760600 h 5760600"/>
              <a:gd name="connsiteX4" fmla="*/ 0 w 2978973"/>
              <a:gd name="connsiteY4" fmla="*/ 2712720 h 5760600"/>
              <a:gd name="connsiteX5" fmla="*/ 1526567 w 2978973"/>
              <a:gd name="connsiteY5" fmla="*/ 2712720 h 576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8973" h="5760600">
                <a:moveTo>
                  <a:pt x="1526567" y="0"/>
                </a:moveTo>
                <a:lnTo>
                  <a:pt x="2978973" y="0"/>
                </a:lnTo>
                <a:lnTo>
                  <a:pt x="2978973" y="5760600"/>
                </a:lnTo>
                <a:lnTo>
                  <a:pt x="0" y="5760600"/>
                </a:lnTo>
                <a:lnTo>
                  <a:pt x="0" y="2712720"/>
                </a:lnTo>
                <a:lnTo>
                  <a:pt x="1526567" y="271272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sp>
        <p:nvSpPr>
          <p:cNvPr id="10" name="Rectangle 9">
            <a:extLst>
              <a:ext uri="{FF2B5EF4-FFF2-40B4-BE49-F238E27FC236}">
                <a16:creationId xmlns:a16="http://schemas.microsoft.com/office/drawing/2014/main" id="{1EA79482-FCD7-96A9-5B4E-9612AD522914}"/>
              </a:ext>
            </a:extLst>
          </p:cNvPr>
          <p:cNvSpPr/>
          <p:nvPr/>
        </p:nvSpPr>
        <p:spPr>
          <a:xfrm>
            <a:off x="11152682" y="6100997"/>
            <a:ext cx="1039318" cy="7568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ectangle 2">
            <a:extLst>
              <a:ext uri="{FF2B5EF4-FFF2-40B4-BE49-F238E27FC236}">
                <a16:creationId xmlns:a16="http://schemas.microsoft.com/office/drawing/2014/main" id="{F45E667D-D9ED-4BE1-999E-2A4766484A8F}"/>
              </a:ext>
            </a:extLst>
          </p:cNvPr>
          <p:cNvSpPr>
            <a:spLocks noGrp="1" noChangeArrowheads="1"/>
          </p:cNvSpPr>
          <p:nvPr>
            <p:ph type="title"/>
          </p:nvPr>
        </p:nvSpPr>
        <p:spPr>
          <a:xfrm>
            <a:off x="-2995" y="2463283"/>
            <a:ext cx="12176851" cy="3126484"/>
          </a:xfrm>
        </p:spPr>
        <p:txBody>
          <a:bodyPr anchor="t" anchorCtr="0">
            <a:normAutofit fontScale="90000"/>
          </a:bodyPr>
          <a:lstStyle/>
          <a:p>
            <a:pPr algn="ctr">
              <a:defRPr/>
            </a:pPr>
            <a:r>
              <a:rPr lang="en-US" sz="4400" dirty="0">
                <a:solidFill>
                  <a:schemeClr val="bg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2025 </a:t>
            </a:r>
            <a:r>
              <a:rPr lang="en-US" sz="4400" dirty="0" err="1">
                <a:solidFill>
                  <a:schemeClr val="bg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SSIH</a:t>
            </a:r>
            <a:r>
              <a:rPr lang="en-US" sz="4400" dirty="0">
                <a:solidFill>
                  <a:schemeClr val="bg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 Leadership Summit</a:t>
            </a:r>
            <a:br>
              <a:rPr lang="en-US" sz="4400" dirty="0">
                <a:solidFill>
                  <a:schemeClr val="bg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br>
            <a:br>
              <a:rPr lang="en-US" sz="4400" dirty="0">
                <a:solidFill>
                  <a:schemeClr val="bg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br>
            <a:r>
              <a:rPr lang="en-US" sz="4400" dirty="0">
                <a:solidFill>
                  <a:schemeClr val="bg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Southern States LLC</a:t>
            </a:r>
            <a:br>
              <a:rPr lang="en-US" sz="4400" dirty="0">
                <a:solidFill>
                  <a:schemeClr val="bg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br>
            <a:br>
              <a:rPr lang="en-US" sz="4400" dirty="0">
                <a:solidFill>
                  <a:schemeClr val="bg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br>
            <a:r>
              <a:rPr lang="en-US" dirty="0">
                <a:solidFill>
                  <a:schemeClr val="bg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November 19‐20, 2025</a:t>
            </a:r>
            <a:br>
              <a:rPr lang="en-US" dirty="0">
                <a:solidFill>
                  <a:schemeClr val="bg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br>
            <a:r>
              <a:rPr lang="en-US" dirty="0">
                <a:solidFill>
                  <a:schemeClr val="bg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Rev-02</a:t>
            </a:r>
            <a:br>
              <a:rPr lang="en-US" dirty="0">
                <a:solidFill>
                  <a:schemeClr val="bg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br>
            <a:br>
              <a:rPr lang="en-US" dirty="0">
                <a:solidFill>
                  <a:schemeClr val="bg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br>
            <a:endParaRPr lang="en-US"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601080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b="1" i="0" dirty="0">
                <a:solidFill>
                  <a:schemeClr val="tx1"/>
                </a:solidFill>
                <a:latin typeface="Calibri" panose="020F0502020204030204" pitchFamily="34" charset="0"/>
                <a:ea typeface="Calibri" panose="020F0502020204030204" pitchFamily="34" charset="0"/>
                <a:cs typeface="Calibri" panose="020F0502020204030204" pitchFamily="34" charset="0"/>
              </a:rPr>
              <a:t>Switch Division Recent Intra-Group Collaborations</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srgbClr val="333333">
                    <a:tint val="75000"/>
                  </a:srgb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8" y="1444752"/>
            <a:ext cx="11160252" cy="5044661"/>
          </a:xfrm>
        </p:spPr>
        <p:txBody>
          <a:bodyPr>
            <a:normAutofit fontScale="92500" lnSpcReduction="10000"/>
          </a:bodyPr>
          <a:lstStyle/>
          <a:p>
            <a:pPr marL="342900" lvl="1" indent="-342900">
              <a:lnSpc>
                <a:spcPct val="95000"/>
              </a:lnSpc>
              <a:spcBef>
                <a:spcPts val="0"/>
              </a:spcBef>
              <a:buClr>
                <a:schemeClr val="tx1"/>
              </a:buClr>
              <a:buSzPct val="100000"/>
              <a:buFont typeface="Wingdings" panose="05000000000000000000" pitchFamily="2" charset="2"/>
              <a:buChar char="Ø"/>
            </a:pPr>
            <a:r>
              <a:rPr lang="en-US" dirty="0" err="1">
                <a:solidFill>
                  <a:schemeClr val="tx1"/>
                </a:solidFill>
                <a:latin typeface="Calibri" panose="020F0502020204030204" pitchFamily="34" charset="0"/>
                <a:ea typeface="Calibri" panose="020F0502020204030204" pitchFamily="34" charset="0"/>
                <a:cs typeface="Calibri" panose="020F0502020204030204" pitchFamily="34" charset="0"/>
              </a:rPr>
              <a:t>Coelme</a:t>
            </a:r>
            <a:r>
              <a:rPr lang="en-US" dirty="0">
                <a:solidFill>
                  <a:schemeClr val="tx1"/>
                </a:solidFill>
                <a:latin typeface="Calibri" panose="020F0502020204030204" pitchFamily="34" charset="0"/>
                <a:ea typeface="Calibri" panose="020F0502020204030204" pitchFamily="34" charset="0"/>
                <a:cs typeface="Calibri" panose="020F0502020204030204" pitchFamily="34" charset="0"/>
              </a:rPr>
              <a:t> / </a:t>
            </a:r>
            <a:r>
              <a:rPr lang="en-US" dirty="0" err="1">
                <a:latin typeface="Calibri" panose="020F0502020204030204" pitchFamily="34" charset="0"/>
                <a:ea typeface="Calibri" panose="020F0502020204030204" pitchFamily="34" charset="0"/>
                <a:cs typeface="Calibri" panose="020F0502020204030204" pitchFamily="34" charset="0"/>
              </a:rPr>
              <a:t>e</a:t>
            </a:r>
            <a:r>
              <a:rPr lang="en-US" dirty="0" err="1">
                <a:solidFill>
                  <a:schemeClr val="tx1"/>
                </a:solidFill>
                <a:latin typeface="Calibri" panose="020F0502020204030204" pitchFamily="34" charset="0"/>
                <a:ea typeface="Calibri" panose="020F0502020204030204" pitchFamily="34" charset="0"/>
                <a:cs typeface="Calibri" panose="020F0502020204030204" pitchFamily="34" charset="0"/>
              </a:rPr>
              <a:t>gic</a:t>
            </a:r>
            <a:endParaRPr lang="en-US"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95000"/>
              </a:lnSpc>
              <a:spcBef>
                <a:spcPts val="0"/>
              </a:spcBef>
              <a:buClr>
                <a:srgbClr val="A20000"/>
              </a:buClr>
              <a:buFont typeface="Arial" panose="020B0604020202020204" pitchFamily="34" charset="0"/>
              <a:buChar char="•"/>
            </a:pPr>
            <a:r>
              <a:rPr lang="en-US" sz="1900" dirty="0">
                <a:solidFill>
                  <a:srgbClr val="A20000"/>
                </a:solidFill>
                <a:latin typeface="Calibri" panose="020F0502020204030204" pitchFamily="34" charset="0"/>
                <a:ea typeface="Calibri" panose="020F0502020204030204" pitchFamily="34" charset="0"/>
                <a:cs typeface="Calibri" panose="020F0502020204030204" pitchFamily="34" charset="0"/>
              </a:rPr>
              <a:t>TV-70 / ESD</a:t>
            </a:r>
          </a:p>
          <a:p>
            <a:pPr marL="685800" lvl="1" indent="-342900">
              <a:lnSpc>
                <a:spcPct val="95000"/>
              </a:lnSpc>
              <a:spcBef>
                <a:spcPts val="0"/>
              </a:spcBef>
              <a:buClr>
                <a:srgbClr val="A20000"/>
              </a:buClr>
              <a:buFont typeface="Arial" panose="020B0604020202020204" pitchFamily="34" charset="0"/>
              <a:buChar char="•"/>
            </a:pPr>
            <a:r>
              <a:rPr lang="en-US" sz="1900" dirty="0">
                <a:solidFill>
                  <a:srgbClr val="A20000"/>
                </a:solidFill>
                <a:latin typeface="Calibri" panose="020F0502020204030204" pitchFamily="34" charset="0"/>
                <a:ea typeface="Calibri" panose="020F0502020204030204" pitchFamily="34" charset="0"/>
                <a:cs typeface="Calibri" panose="020F0502020204030204" pitchFamily="34" charset="0"/>
              </a:rPr>
              <a:t>SSP 345kV</a:t>
            </a:r>
          </a:p>
          <a:p>
            <a:pPr marL="685800" lvl="1" indent="-342900">
              <a:lnSpc>
                <a:spcPct val="95000"/>
              </a:lnSpc>
              <a:spcBef>
                <a:spcPts val="0"/>
              </a:spcBef>
              <a:buClr>
                <a:srgbClr val="A20000"/>
              </a:buClr>
              <a:buFont typeface="Arial" panose="020B0604020202020204" pitchFamily="34" charset="0"/>
              <a:buChar char="•"/>
            </a:pPr>
            <a:r>
              <a:rPr lang="en-US" sz="1900" dirty="0">
                <a:solidFill>
                  <a:srgbClr val="A20000"/>
                </a:solidFill>
                <a:latin typeface="Calibri" panose="020F0502020204030204" pitchFamily="34" charset="0"/>
                <a:ea typeface="Calibri" panose="020F0502020204030204" pitchFamily="34" charset="0"/>
                <a:cs typeface="Calibri" panose="020F0502020204030204" pitchFamily="34" charset="0"/>
              </a:rPr>
              <a:t>SSP 765kV</a:t>
            </a:r>
          </a:p>
          <a:p>
            <a:pPr marL="685800" lvl="1" indent="-342900">
              <a:lnSpc>
                <a:spcPct val="95000"/>
              </a:lnSpc>
              <a:spcBef>
                <a:spcPts val="0"/>
              </a:spcBef>
              <a:buClr>
                <a:srgbClr val="A20000"/>
              </a:buClr>
              <a:buFont typeface="Arial" panose="020B0604020202020204" pitchFamily="34" charset="0"/>
              <a:buChar char="•"/>
            </a:pPr>
            <a:r>
              <a:rPr lang="en-US" sz="1900" dirty="0">
                <a:solidFill>
                  <a:srgbClr val="A20000"/>
                </a:solidFill>
                <a:latin typeface="Calibri" panose="020F0502020204030204" pitchFamily="34" charset="0"/>
                <a:ea typeface="Calibri" panose="020F0502020204030204" pitchFamily="34" charset="0"/>
                <a:cs typeface="Calibri" panose="020F0502020204030204" pitchFamily="34" charset="0"/>
              </a:rPr>
              <a:t>VCB</a:t>
            </a:r>
          </a:p>
          <a:p>
            <a:pPr marL="685800" lvl="1" indent="-342900">
              <a:lnSpc>
                <a:spcPct val="95000"/>
              </a:lnSpc>
              <a:spcBef>
                <a:spcPts val="0"/>
              </a:spcBef>
              <a:buClr>
                <a:srgbClr val="A20000"/>
              </a:buClr>
              <a:buFont typeface="Arial" panose="020B0604020202020204" pitchFamily="34" charset="0"/>
              <a:buChar char="•"/>
            </a:pPr>
            <a:r>
              <a:rPr lang="en-US" sz="1900" dirty="0">
                <a:solidFill>
                  <a:srgbClr val="A20000"/>
                </a:solidFill>
                <a:latin typeface="Calibri" panose="020F0502020204030204" pitchFamily="34" charset="0"/>
                <a:ea typeface="Calibri" panose="020F0502020204030204" pitchFamily="34" charset="0"/>
                <a:cs typeface="Calibri" panose="020F0502020204030204" pitchFamily="34" charset="0"/>
              </a:rPr>
              <a:t>Hydro Quebec homologation </a:t>
            </a:r>
          </a:p>
          <a:p>
            <a:pPr marL="342900" lvl="1" indent="-342900">
              <a:lnSpc>
                <a:spcPct val="95000"/>
              </a:lnSpc>
              <a:spcBef>
                <a:spcPts val="0"/>
              </a:spcBef>
              <a:buClr>
                <a:schemeClr val="tx1"/>
              </a:buClr>
              <a:buSzPct val="100000"/>
              <a:buFont typeface="Wingdings" panose="05000000000000000000" pitchFamily="2" charset="2"/>
              <a:buChar char="Ø"/>
            </a:pPr>
            <a:r>
              <a:rPr lang="en-US" dirty="0">
                <a:latin typeface="Calibri" panose="020F0502020204030204" pitchFamily="34" charset="0"/>
                <a:ea typeface="Calibri" panose="020F0502020204030204" pitchFamily="34" charset="0"/>
                <a:cs typeface="Calibri" panose="020F0502020204030204" pitchFamily="34" charset="0"/>
              </a:rPr>
              <a:t>Vanguard Electric</a:t>
            </a:r>
          </a:p>
          <a:p>
            <a:pPr marL="685800" lvl="1" indent="-342900">
              <a:lnSpc>
                <a:spcPct val="95000"/>
              </a:lnSpc>
              <a:spcBef>
                <a:spcPts val="0"/>
              </a:spcBef>
              <a:buClr>
                <a:srgbClr val="A20000"/>
              </a:buClr>
              <a:buFont typeface="Arial" panose="020B0604020202020204" pitchFamily="34" charset="0"/>
              <a:buChar char="•"/>
            </a:pPr>
            <a:r>
              <a:rPr lang="en-US" sz="1900" dirty="0">
                <a:solidFill>
                  <a:srgbClr val="A20000"/>
                </a:solidFill>
                <a:latin typeface="Calibri" panose="020F0502020204030204" pitchFamily="34" charset="0"/>
                <a:ea typeface="Calibri" panose="020F0502020204030204" pitchFamily="34" charset="0"/>
                <a:cs typeface="Calibri" panose="020F0502020204030204" pitchFamily="34" charset="0"/>
              </a:rPr>
              <a:t>Southern States largest supplier of station post insulators</a:t>
            </a:r>
          </a:p>
          <a:p>
            <a:pPr marL="685800" lvl="1" indent="-342900">
              <a:lnSpc>
                <a:spcPct val="95000"/>
              </a:lnSpc>
              <a:spcBef>
                <a:spcPts val="0"/>
              </a:spcBef>
              <a:buClr>
                <a:srgbClr val="A20000"/>
              </a:buClr>
              <a:buFont typeface="Arial" panose="020B0604020202020204" pitchFamily="34" charset="0"/>
              <a:buChar char="•"/>
            </a:pPr>
            <a:r>
              <a:rPr lang="en-US" sz="1900" dirty="0">
                <a:solidFill>
                  <a:srgbClr val="A20000"/>
                </a:solidFill>
                <a:latin typeface="Calibri" panose="020F0502020204030204" pitchFamily="34" charset="0"/>
                <a:ea typeface="Calibri" panose="020F0502020204030204" pitchFamily="34" charset="0"/>
                <a:cs typeface="Calibri" panose="020F0502020204030204" pitchFamily="34" charset="0"/>
              </a:rPr>
              <a:t>Many other smaller products purchased</a:t>
            </a:r>
          </a:p>
          <a:p>
            <a:pPr marL="342900" lvl="1" indent="-342900">
              <a:lnSpc>
                <a:spcPct val="95000"/>
              </a:lnSpc>
              <a:spcBef>
                <a:spcPts val="0"/>
              </a:spcBef>
              <a:buClr>
                <a:schemeClr val="tx1"/>
              </a:buClr>
              <a:buSzPct val="100000"/>
              <a:buFont typeface="Wingdings" panose="05000000000000000000" pitchFamily="2" charset="2"/>
              <a:buChar char="Ø"/>
            </a:pPr>
            <a:r>
              <a:rPr lang="en-US" dirty="0" err="1">
                <a:latin typeface="Calibri" panose="020F0502020204030204" pitchFamily="34" charset="0"/>
                <a:ea typeface="Calibri" panose="020F0502020204030204" pitchFamily="34" charset="0"/>
                <a:cs typeface="Calibri" panose="020F0502020204030204" pitchFamily="34" charset="0"/>
              </a:rPr>
              <a:t>Diram</a:t>
            </a:r>
            <a:endParaRPr lang="en-US"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95000"/>
              </a:lnSpc>
              <a:spcBef>
                <a:spcPts val="0"/>
              </a:spcBef>
              <a:buClr>
                <a:srgbClr val="A20000"/>
              </a:buClr>
              <a:buFont typeface="Arial" panose="020B0604020202020204" pitchFamily="34" charset="0"/>
              <a:buChar char="•"/>
            </a:pPr>
            <a:r>
              <a:rPr lang="en-US" sz="1900" dirty="0">
                <a:solidFill>
                  <a:srgbClr val="A20000"/>
                </a:solidFill>
                <a:latin typeface="Calibri" panose="020F0502020204030204" pitchFamily="34" charset="0"/>
                <a:ea typeface="Calibri" panose="020F0502020204030204" pitchFamily="34" charset="0"/>
                <a:cs typeface="Calibri" panose="020F0502020204030204" pitchFamily="34" charset="0"/>
              </a:rPr>
              <a:t>Ground switch supply for cap banks</a:t>
            </a:r>
          </a:p>
          <a:p>
            <a:pPr marL="342900" lvl="1" indent="-342900">
              <a:lnSpc>
                <a:spcPct val="95000"/>
              </a:lnSpc>
              <a:spcBef>
                <a:spcPts val="0"/>
              </a:spcBef>
              <a:buClr>
                <a:schemeClr val="tx1"/>
              </a:buClr>
              <a:buSzPct val="100000"/>
              <a:buFont typeface="Wingdings" panose="05000000000000000000" pitchFamily="2" charset="2"/>
              <a:buChar char="Ø"/>
            </a:pPr>
            <a:r>
              <a:rPr lang="en-US" dirty="0">
                <a:latin typeface="Calibri" panose="020F0502020204030204" pitchFamily="34" charset="0"/>
                <a:ea typeface="Calibri" panose="020F0502020204030204" pitchFamily="34" charset="0"/>
                <a:cs typeface="Calibri" panose="020F0502020204030204" pitchFamily="34" charset="0"/>
              </a:rPr>
              <a:t>SWI </a:t>
            </a:r>
          </a:p>
          <a:p>
            <a:pPr marL="685800" lvl="1" indent="-342900">
              <a:lnSpc>
                <a:spcPct val="95000"/>
              </a:lnSpc>
              <a:spcBef>
                <a:spcPts val="0"/>
              </a:spcBef>
              <a:buClr>
                <a:srgbClr val="A20000"/>
              </a:buClr>
              <a:buFont typeface="Arial" panose="020B0604020202020204" pitchFamily="34" charset="0"/>
              <a:buChar char="•"/>
            </a:pPr>
            <a:r>
              <a:rPr lang="en-US" sz="1900" dirty="0">
                <a:solidFill>
                  <a:srgbClr val="A20000"/>
                </a:solidFill>
                <a:latin typeface="Calibri" panose="020F0502020204030204" pitchFamily="34" charset="0"/>
                <a:ea typeface="Calibri" panose="020F0502020204030204" pitchFamily="34" charset="0"/>
                <a:cs typeface="Calibri" panose="020F0502020204030204" pitchFamily="34" charset="0"/>
              </a:rPr>
              <a:t>Current collaboration on sensor asset monitoring capabilities</a:t>
            </a:r>
          </a:p>
          <a:p>
            <a:pPr marL="342900" lvl="1" indent="-342900">
              <a:lnSpc>
                <a:spcPct val="95000"/>
              </a:lnSpc>
              <a:spcBef>
                <a:spcPts val="0"/>
              </a:spcBef>
              <a:buClr>
                <a:schemeClr val="tx1"/>
              </a:buClr>
              <a:buSzPct val="100000"/>
              <a:buFont typeface="Wingdings" panose="05000000000000000000" pitchFamily="2" charset="2"/>
              <a:buChar char="Ø"/>
            </a:pPr>
            <a:r>
              <a:rPr lang="en-US" dirty="0">
                <a:latin typeface="Calibri" panose="020F0502020204030204" pitchFamily="34" charset="0"/>
                <a:ea typeface="Calibri" panose="020F0502020204030204" pitchFamily="34" charset="0"/>
                <a:cs typeface="Calibri" panose="020F0502020204030204" pitchFamily="34" charset="0"/>
              </a:rPr>
              <a:t>Marketing // Logistics // Procurement </a:t>
            </a:r>
          </a:p>
          <a:p>
            <a:pPr marL="685800" lvl="1" indent="-342900">
              <a:lnSpc>
                <a:spcPct val="95000"/>
              </a:lnSpc>
              <a:spcBef>
                <a:spcPts val="0"/>
              </a:spcBef>
              <a:buClr>
                <a:srgbClr val="A20000"/>
              </a:buClr>
              <a:buFont typeface="Arial" panose="020B0604020202020204" pitchFamily="34" charset="0"/>
              <a:buChar char="•"/>
            </a:pPr>
            <a:r>
              <a:rPr lang="en-US" sz="1900" dirty="0">
                <a:solidFill>
                  <a:srgbClr val="A20000"/>
                </a:solidFill>
                <a:latin typeface="Calibri" panose="020F0502020204030204" pitchFamily="34" charset="0"/>
                <a:ea typeface="Calibri" panose="020F0502020204030204" pitchFamily="34" charset="0"/>
                <a:cs typeface="Calibri" panose="020F0502020204030204" pitchFamily="34" charset="0"/>
              </a:rPr>
              <a:t>Future opportunities for collaboration</a:t>
            </a:r>
          </a:p>
          <a:p>
            <a:pPr marL="342900" lvl="1" indent="-342900">
              <a:lnSpc>
                <a:spcPct val="95000"/>
              </a:lnSpc>
              <a:spcBef>
                <a:spcPts val="0"/>
              </a:spcBef>
              <a:buClr>
                <a:schemeClr val="tx1"/>
              </a:buClr>
              <a:buSzPct val="100000"/>
              <a:buFont typeface="Wingdings" panose="05000000000000000000" pitchFamily="2" charset="2"/>
              <a:buChar char="Ø"/>
            </a:pPr>
            <a:r>
              <a:rPr lang="en-US" dirty="0">
                <a:latin typeface="Calibri" panose="020F0502020204030204" pitchFamily="34" charset="0"/>
                <a:ea typeface="Calibri" panose="020F0502020204030204" pitchFamily="34" charset="0"/>
                <a:cs typeface="Calibri" panose="020F0502020204030204" pitchFamily="34" charset="0"/>
              </a:rPr>
              <a:t>Sales Channel</a:t>
            </a:r>
          </a:p>
          <a:p>
            <a:pPr marL="685800" lvl="1" indent="-342900">
              <a:lnSpc>
                <a:spcPct val="95000"/>
              </a:lnSpc>
              <a:spcBef>
                <a:spcPts val="0"/>
              </a:spcBef>
              <a:buClr>
                <a:srgbClr val="A20000"/>
              </a:buClr>
              <a:buFont typeface="Arial" panose="020B0604020202020204" pitchFamily="34" charset="0"/>
              <a:buChar char="•"/>
            </a:pPr>
            <a:r>
              <a:rPr lang="en-US" sz="1900" dirty="0">
                <a:solidFill>
                  <a:srgbClr val="A20000"/>
                </a:solidFill>
                <a:latin typeface="Calibri" panose="020F0502020204030204" pitchFamily="34" charset="0"/>
                <a:ea typeface="Calibri" panose="020F0502020204030204" pitchFamily="34" charset="0"/>
                <a:cs typeface="Calibri" panose="020F0502020204030204" pitchFamily="34" charset="0"/>
              </a:rPr>
              <a:t>Interaction with </a:t>
            </a:r>
            <a:r>
              <a:rPr lang="en-US" sz="1900" dirty="0" err="1">
                <a:solidFill>
                  <a:srgbClr val="A20000"/>
                </a:solidFill>
                <a:latin typeface="Calibri" panose="020F0502020204030204" pitchFamily="34" charset="0"/>
                <a:ea typeface="Calibri" panose="020F0502020204030204" pitchFamily="34" charset="0"/>
                <a:cs typeface="Calibri" panose="020F0502020204030204" pitchFamily="34" charset="0"/>
              </a:rPr>
              <a:t>SWI</a:t>
            </a:r>
            <a:r>
              <a:rPr lang="en-US" sz="1900" dirty="0">
                <a:solidFill>
                  <a:srgbClr val="A20000"/>
                </a:solidFill>
                <a:latin typeface="Calibri" panose="020F0502020204030204" pitchFamily="34" charset="0"/>
                <a:ea typeface="Calibri" panose="020F0502020204030204" pitchFamily="34" charset="0"/>
                <a:cs typeface="Calibri" panose="020F0502020204030204" pitchFamily="34" charset="0"/>
              </a:rPr>
              <a:t> on Selling Channel</a:t>
            </a:r>
          </a:p>
          <a:p>
            <a:pPr marL="685800" lvl="1" indent="-342900">
              <a:lnSpc>
                <a:spcPct val="95000"/>
              </a:lnSpc>
              <a:spcBef>
                <a:spcPts val="0"/>
              </a:spcBef>
              <a:buClr>
                <a:srgbClr val="A20000"/>
              </a:buClr>
              <a:buFont typeface="Arial" panose="020B0604020202020204" pitchFamily="34" charset="0"/>
              <a:buChar char="•"/>
            </a:pPr>
            <a:r>
              <a:rPr lang="en-US" sz="1900" dirty="0">
                <a:solidFill>
                  <a:srgbClr val="A20000"/>
                </a:solidFill>
                <a:latin typeface="Calibri" panose="020F0502020204030204" pitchFamily="34" charset="0"/>
                <a:ea typeface="Calibri" panose="020F0502020204030204" pitchFamily="34" charset="0"/>
                <a:cs typeface="Calibri" panose="020F0502020204030204" pitchFamily="34" charset="0"/>
              </a:rPr>
              <a:t>Immersive Selling tool for Grid Security</a:t>
            </a:r>
          </a:p>
          <a:p>
            <a:pPr marL="685800" lvl="1" indent="-342900">
              <a:lnSpc>
                <a:spcPct val="95000"/>
              </a:lnSpc>
              <a:spcBef>
                <a:spcPts val="0"/>
              </a:spcBef>
              <a:buClr>
                <a:srgbClr val="A20000"/>
              </a:buClr>
              <a:buFont typeface="Arial" panose="020B0604020202020204" pitchFamily="34" charset="0"/>
              <a:buChar char="•"/>
            </a:pPr>
            <a:r>
              <a:rPr lang="en-US" sz="1900" dirty="0">
                <a:solidFill>
                  <a:srgbClr val="A20000"/>
                </a:solidFill>
                <a:latin typeface="Calibri" panose="020F0502020204030204" pitchFamily="34" charset="0"/>
                <a:ea typeface="Calibri" panose="020F0502020204030204" pitchFamily="34" charset="0"/>
                <a:cs typeface="Calibri" panose="020F0502020204030204" pitchFamily="34" charset="0"/>
              </a:rPr>
              <a:t>International with Stephen Lord  for Grid Security </a:t>
            </a: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8100" y="6298046"/>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004241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4B9DE94-06FD-BA6E-27D9-D5411C1CAB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6" name="think-cell data - do not delete" hidden="1">
                        <a:extLst>
                          <a:ext uri="{FF2B5EF4-FFF2-40B4-BE49-F238E27FC236}">
                            <a16:creationId xmlns:a16="http://schemas.microsoft.com/office/drawing/2014/main" id="{74B9DE94-06FD-BA6E-27D9-D5411C1CAB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EFA49A-D6F0-94EB-2E4A-46AC510574DD}"/>
              </a:ext>
            </a:extLst>
          </p:cNvPr>
          <p:cNvSpPr>
            <a:spLocks noGrp="1"/>
          </p:cNvSpPr>
          <p:nvPr>
            <p:ph type="title"/>
          </p:nvPr>
        </p:nvSpPr>
        <p:spPr>
          <a:xfrm>
            <a:off x="518584" y="1869548"/>
            <a:ext cx="4205816" cy="2124075"/>
          </a:xfrm>
        </p:spPr>
        <p:txBody>
          <a:bodyPr vert="horz"/>
          <a:lstStyle/>
          <a:p>
            <a:r>
              <a:rPr lang="en-US" sz="4000" dirty="0">
                <a:latin typeface="Calibri" panose="020F0502020204030204" pitchFamily="34" charset="0"/>
                <a:ea typeface="Calibri" panose="020F0502020204030204" pitchFamily="34" charset="0"/>
                <a:cs typeface="Calibri" panose="020F0502020204030204" pitchFamily="34" charset="0"/>
              </a:rPr>
              <a:t>Grid Services Division</a:t>
            </a:r>
          </a:p>
        </p:txBody>
      </p:sp>
      <p:pic>
        <p:nvPicPr>
          <p:cNvPr id="5" name="Picture 4" descr="A logo with a black background&#10;&#10;Description automatically generated">
            <a:extLst>
              <a:ext uri="{FF2B5EF4-FFF2-40B4-BE49-F238E27FC236}">
                <a16:creationId xmlns:a16="http://schemas.microsoft.com/office/drawing/2014/main" id="{D3A6B119-F6CC-4047-805C-52E2D186234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92" y="228600"/>
            <a:ext cx="2197848" cy="928955"/>
          </a:xfrm>
          <a:prstGeom prst="rect">
            <a:avLst/>
          </a:prstGeom>
        </p:spPr>
      </p:pic>
      <p:pic>
        <p:nvPicPr>
          <p:cNvPr id="7" name="Picture Placeholder 17">
            <a:extLst>
              <a:ext uri="{FF2B5EF4-FFF2-40B4-BE49-F238E27FC236}">
                <a16:creationId xmlns:a16="http://schemas.microsoft.com/office/drawing/2014/main" id="{B8B70719-2CC7-477D-9052-D3D6787D9638}"/>
              </a:ext>
            </a:extLst>
          </p:cNvPr>
          <p:cNvPicPr>
            <a:picLocks noGrp="1" noChangeAspect="1"/>
          </p:cNvPicPr>
          <p:nvPr>
            <p:ph type="pic" sz="quarter" idx="13"/>
          </p:nvPr>
        </p:nvPicPr>
        <p:blipFill rotWithShape="1">
          <a:blip r:embed="rId7">
            <a:extLst>
              <a:ext uri="{28A0092B-C50C-407E-A947-70E740481C1C}">
                <a14:useLocalDpi xmlns:a14="http://schemas.microsoft.com/office/drawing/2010/main" val="0"/>
              </a:ext>
            </a:extLst>
          </a:blip>
          <a:srcRect l="9580" t="3968"/>
          <a:stretch/>
        </p:blipFill>
        <p:spPr>
          <a:xfrm>
            <a:off x="4802948" y="693077"/>
            <a:ext cx="7389052" cy="4523663"/>
          </a:xfrm>
          <a:prstGeom prst="rect">
            <a:avLst/>
          </a:prstGeom>
        </p:spPr>
      </p:pic>
    </p:spTree>
    <p:extLst>
      <p:ext uri="{BB962C8B-B14F-4D97-AF65-F5344CB8AC3E}">
        <p14:creationId xmlns:p14="http://schemas.microsoft.com/office/powerpoint/2010/main" val="9154216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000" i="0" dirty="0">
                <a:solidFill>
                  <a:schemeClr val="tx1"/>
                </a:solidFill>
                <a:latin typeface="Calibri" panose="020F0502020204030204" pitchFamily="34" charset="0"/>
                <a:ea typeface="Calibri" panose="020F0502020204030204" pitchFamily="34" charset="0"/>
                <a:cs typeface="Calibri" panose="020F0502020204030204" pitchFamily="34" charset="0"/>
              </a:rPr>
              <a:t>Grid Services Division Vice President and General Manager</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8" y="1444752"/>
            <a:ext cx="10752040" cy="5149287"/>
          </a:xfrm>
        </p:spPr>
        <p:txBody>
          <a:bodyPr>
            <a:noAutofit/>
          </a:bodyPr>
          <a:lstStyle/>
          <a:p>
            <a:pPr>
              <a:lnSpc>
                <a:spcPct val="110000"/>
              </a:lnSpc>
              <a:spcBef>
                <a:spcPts val="0"/>
              </a:spcBef>
              <a:buClr>
                <a:schemeClr val="tx1"/>
              </a:buClr>
              <a:buSzPct val="100000"/>
            </a:pPr>
            <a:r>
              <a:rPr kumimoji="0" lang="en-US" sz="2400" b="0" i="0" u="none" strike="noStrike" kern="1200" cap="none" spc="0" normalizeH="0" baseline="0" noProof="0" dirty="0">
                <a:ln>
                  <a:noFill/>
                </a:ln>
                <a:solidFill>
                  <a:srgbClr val="333333"/>
                </a:solidFill>
                <a:effectLst/>
                <a:uLnTx/>
                <a:uFillTx/>
                <a:latin typeface="Calibri" panose="020F0502020204030204" pitchFamily="34" charset="0"/>
                <a:ea typeface="Calibri" panose="020F0502020204030204" pitchFamily="34" charset="0"/>
                <a:cs typeface="Calibri" panose="020F0502020204030204" pitchFamily="34" charset="0"/>
              </a:rPr>
              <a:t>Industry since 1996</a:t>
            </a:r>
          </a:p>
          <a:p>
            <a:pPr lvl="1">
              <a:lnSpc>
                <a:spcPct val="110000"/>
              </a:lnSpc>
              <a:spcBef>
                <a:spcPts val="0"/>
              </a:spcBef>
              <a:buClr>
                <a:srgbClr val="C00000"/>
              </a:buClr>
              <a:buFont typeface="Arial" panose="020B0604020202020204" pitchFamily="34" charset="0"/>
              <a:buChar char="•"/>
              <a:defRPr/>
            </a:pPr>
            <a:r>
              <a:rPr kumimoji="0" lang="en-US" b="0"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GE-Hitachi </a:t>
            </a:r>
            <a:r>
              <a:rPr kumimoji="0" lang="en-US" b="0" i="0" u="none" strike="noStrike" kern="1200" cap="none" spc="0" normalizeH="0" baseline="0" noProof="0" dirty="0" err="1">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HVB</a:t>
            </a:r>
            <a:r>
              <a:rPr kumimoji="0" lang="en-US" b="0"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 – 9 years</a:t>
            </a:r>
          </a:p>
          <a:p>
            <a:pPr lvl="2">
              <a:lnSpc>
                <a:spcPct val="110000"/>
              </a:lnSpc>
              <a:spcBef>
                <a:spcPts val="0"/>
              </a:spcBef>
              <a:buClr>
                <a:srgbClr val="005488"/>
              </a:buClr>
              <a:buFont typeface="Calibri" panose="020F0502020204030204" pitchFamily="34" charset="0"/>
              <a:buChar char="‐"/>
              <a:defRPr/>
            </a:pPr>
            <a:r>
              <a:rPr kumimoji="0" lang="en-US" sz="2000"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Calibri" panose="020F0502020204030204" pitchFamily="34" charset="0"/>
                <a:cs typeface="Calibri" panose="020F0502020204030204" pitchFamily="34" charset="0"/>
              </a:rPr>
              <a:t>Field Service Technician – Gas Circuit Breakers</a:t>
            </a:r>
          </a:p>
          <a:p>
            <a:pPr lvl="2">
              <a:lnSpc>
                <a:spcPct val="110000"/>
              </a:lnSpc>
              <a:spcBef>
                <a:spcPts val="0"/>
              </a:spcBef>
              <a:buClr>
                <a:srgbClr val="005488"/>
              </a:buClr>
              <a:buFont typeface="Calibri" panose="020F0502020204030204" pitchFamily="34" charset="0"/>
              <a:buChar char="‐"/>
              <a:defRPr/>
            </a:pPr>
            <a:r>
              <a:rPr kumimoji="0" lang="en-US" sz="2000"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Calibri" panose="020F0502020204030204" pitchFamily="34" charset="0"/>
                <a:cs typeface="Calibri" panose="020F0502020204030204" pitchFamily="34" charset="0"/>
              </a:rPr>
              <a:t>Site Project Manager - GIS</a:t>
            </a:r>
          </a:p>
          <a:p>
            <a:pPr lvl="2">
              <a:lnSpc>
                <a:spcPct val="110000"/>
              </a:lnSpc>
              <a:spcBef>
                <a:spcPts val="0"/>
              </a:spcBef>
              <a:buClr>
                <a:srgbClr val="005488"/>
              </a:buClr>
              <a:buFont typeface="Calibri" panose="020F0502020204030204" pitchFamily="34" charset="0"/>
              <a:buChar char="‐"/>
              <a:defRPr/>
            </a:pPr>
            <a:r>
              <a:rPr kumimoji="0" lang="en-US" sz="2000"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Calibri" panose="020F0502020204030204" pitchFamily="34" charset="0"/>
                <a:cs typeface="Calibri" panose="020F0502020204030204" pitchFamily="34" charset="0"/>
              </a:rPr>
              <a:t>Service Department Manager</a:t>
            </a:r>
          </a:p>
          <a:p>
            <a:pPr lvl="2">
              <a:lnSpc>
                <a:spcPct val="110000"/>
              </a:lnSpc>
              <a:spcBef>
                <a:spcPts val="0"/>
              </a:spcBef>
              <a:buClr>
                <a:srgbClr val="005488"/>
              </a:buClr>
              <a:buFont typeface="Calibri" panose="020F0502020204030204" pitchFamily="34" charset="0"/>
              <a:buChar char="‐"/>
              <a:defRPr/>
            </a:pPr>
            <a:r>
              <a:rPr kumimoji="0" lang="en-US" sz="2000"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Calibri" panose="020F0502020204030204" pitchFamily="34" charset="0"/>
                <a:cs typeface="Calibri" panose="020F0502020204030204" pitchFamily="34" charset="0"/>
              </a:rPr>
              <a:t>National Sales Manager</a:t>
            </a:r>
          </a:p>
          <a:p>
            <a:pPr lvl="1">
              <a:lnSpc>
                <a:spcPct val="110000"/>
              </a:lnSpc>
              <a:spcBef>
                <a:spcPts val="0"/>
              </a:spcBef>
              <a:buClr>
                <a:srgbClr val="C00000"/>
              </a:buClr>
              <a:buFont typeface="Arial" panose="020B0604020202020204" pitchFamily="34" charset="0"/>
              <a:buChar char="•"/>
              <a:defRPr/>
            </a:pPr>
            <a:r>
              <a:rPr kumimoji="0" lang="en-US" b="0"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Southern States – 8 months</a:t>
            </a:r>
          </a:p>
          <a:p>
            <a:pPr lvl="2">
              <a:lnSpc>
                <a:spcPct val="110000"/>
              </a:lnSpc>
              <a:spcBef>
                <a:spcPts val="0"/>
              </a:spcBef>
              <a:buClr>
                <a:srgbClr val="005488"/>
              </a:buClr>
              <a:buFont typeface="Calibri" panose="020F0502020204030204" pitchFamily="34" charset="0"/>
              <a:buChar char="‐"/>
              <a:defRPr/>
            </a:pPr>
            <a:r>
              <a:rPr kumimoji="0" lang="en-US" sz="2000"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Calibri" panose="020F0502020204030204" pitchFamily="34" charset="0"/>
                <a:cs typeface="Calibri" panose="020F0502020204030204" pitchFamily="34" charset="0"/>
              </a:rPr>
              <a:t>PSD Area Sales Manager</a:t>
            </a:r>
          </a:p>
          <a:p>
            <a:pPr lvl="1">
              <a:lnSpc>
                <a:spcPct val="110000"/>
              </a:lnSpc>
              <a:spcBef>
                <a:spcPts val="0"/>
              </a:spcBef>
              <a:buClr>
                <a:srgbClr val="C00000"/>
              </a:buClr>
              <a:buFont typeface="Arial" panose="020B0604020202020204" pitchFamily="34" charset="0"/>
              <a:buChar char="•"/>
              <a:defRPr/>
            </a:pPr>
            <a:r>
              <a:rPr kumimoji="0" lang="en-US" b="0"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General Electric – 3 years</a:t>
            </a:r>
          </a:p>
          <a:p>
            <a:pPr lvl="2">
              <a:lnSpc>
                <a:spcPct val="110000"/>
              </a:lnSpc>
              <a:spcBef>
                <a:spcPts val="0"/>
              </a:spcBef>
              <a:buClr>
                <a:srgbClr val="005488"/>
              </a:buClr>
              <a:buFont typeface="Calibri" panose="020F0502020204030204" pitchFamily="34" charset="0"/>
              <a:buChar char="‐"/>
              <a:defRPr/>
            </a:pPr>
            <a:r>
              <a:rPr kumimoji="0" lang="en-US" sz="2000"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Calibri" panose="020F0502020204030204" pitchFamily="34" charset="0"/>
                <a:cs typeface="Calibri" panose="020F0502020204030204" pitchFamily="34" charset="0"/>
              </a:rPr>
              <a:t>Account Manager GE Energy North Texas </a:t>
            </a:r>
          </a:p>
          <a:p>
            <a:pPr lvl="1">
              <a:lnSpc>
                <a:spcPct val="110000"/>
              </a:lnSpc>
              <a:spcBef>
                <a:spcPts val="0"/>
              </a:spcBef>
              <a:buClr>
                <a:srgbClr val="C00000"/>
              </a:buClr>
              <a:buFont typeface="Arial" panose="020B0604020202020204" pitchFamily="34" charset="0"/>
              <a:buChar char="•"/>
              <a:defRPr/>
            </a:pPr>
            <a:r>
              <a:rPr kumimoji="0" lang="en-US" b="0"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Calibri" panose="020F0502020204030204" pitchFamily="34" charset="0"/>
              </a:rPr>
              <a:t>Southern States – 18 years</a:t>
            </a:r>
          </a:p>
          <a:p>
            <a:pPr lvl="2">
              <a:lnSpc>
                <a:spcPct val="110000"/>
              </a:lnSpc>
              <a:spcBef>
                <a:spcPts val="0"/>
              </a:spcBef>
              <a:buClr>
                <a:srgbClr val="005488"/>
              </a:buClr>
              <a:buFont typeface="Calibri" panose="020F0502020204030204" pitchFamily="34" charset="0"/>
              <a:buChar char="‐"/>
              <a:defRPr/>
            </a:pPr>
            <a:r>
              <a:rPr kumimoji="0" lang="en-US" sz="2000"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Calibri" panose="020F0502020204030204" pitchFamily="34" charset="0"/>
                <a:cs typeface="Calibri" panose="020F0502020204030204" pitchFamily="34" charset="0"/>
              </a:rPr>
              <a:t>Service Division National Sales Manager, General Manager, and Vice President	</a:t>
            </a:r>
          </a:p>
          <a:p>
            <a:pPr marL="685800" lvl="1" indent="-342900">
              <a:lnSpc>
                <a:spcPct val="100000"/>
              </a:lnSpc>
              <a:spcBef>
                <a:spcPts val="0"/>
              </a:spcBef>
              <a:buClr>
                <a:srgbClr val="A20000"/>
              </a:buClr>
              <a:buFont typeface="Arial" panose="020B0604020202020204" pitchFamily="34" charset="0"/>
              <a:buChar char="•"/>
            </a:pPr>
            <a:endPar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044705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a:solidFill>
                  <a:schemeClr val="tx1"/>
                </a:solidFill>
                <a:latin typeface="Calibri" panose="020F0502020204030204" pitchFamily="34" charset="0"/>
                <a:ea typeface="Calibri" panose="020F0502020204030204" pitchFamily="34" charset="0"/>
                <a:cs typeface="Calibri" panose="020F0502020204030204" pitchFamily="34" charset="0"/>
              </a:rPr>
              <a:t>Grid Services Division Product Focus </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515874" y="4252022"/>
            <a:ext cx="11160252" cy="1913425"/>
          </a:xfrm>
        </p:spPr>
        <p:txBody>
          <a:bodyPr>
            <a:normAutofit/>
          </a:bodyPr>
          <a:lstStyle/>
          <a:p>
            <a:pPr marL="342900" lvl="1" indent="-342900">
              <a:lnSpc>
                <a:spcPct val="100000"/>
              </a:lnSpc>
              <a:spcBef>
                <a:spcPts val="0"/>
              </a:spcBef>
              <a:spcAft>
                <a:spcPts val="600"/>
              </a:spcAft>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Product Support Services – After sales parts, technical support and shop services</a:t>
            </a:r>
          </a:p>
          <a:p>
            <a:pPr marL="342900" lvl="1" indent="-342900">
              <a:lnSpc>
                <a:spcPct val="100000"/>
              </a:lnSpc>
              <a:spcBef>
                <a:spcPts val="0"/>
              </a:spcBef>
              <a:spcAft>
                <a:spcPts val="600"/>
              </a:spcAft>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Field Services – On-site and training services</a:t>
            </a:r>
          </a:p>
          <a:p>
            <a:pPr marL="342900" lvl="1" indent="-342900">
              <a:lnSpc>
                <a:spcPct val="100000"/>
              </a:lnSpc>
              <a:spcBef>
                <a:spcPts val="0"/>
              </a:spcBef>
              <a:spcAft>
                <a:spcPts val="600"/>
              </a:spcAft>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Mobile Solutions</a:t>
            </a:r>
          </a:p>
          <a:p>
            <a:pPr marL="342900" lvl="1" indent="-342900">
              <a:lnSpc>
                <a:spcPct val="100000"/>
              </a:lnSpc>
              <a:spcBef>
                <a:spcPts val="0"/>
              </a:spcBef>
              <a:spcAft>
                <a:spcPts val="600"/>
              </a:spcAft>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Grid Security Solutions</a:t>
            </a:r>
            <a:endPar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Text Box 9">
            <a:extLst>
              <a:ext uri="{FF2B5EF4-FFF2-40B4-BE49-F238E27FC236}">
                <a16:creationId xmlns:a16="http://schemas.microsoft.com/office/drawing/2014/main" id="{594EDDAD-2B68-4F42-ACAD-D90F26441EEB}"/>
              </a:ext>
            </a:extLst>
          </p:cNvPr>
          <p:cNvSpPr txBox="1">
            <a:spLocks noChangeArrowheads="1"/>
          </p:cNvSpPr>
          <p:nvPr/>
        </p:nvSpPr>
        <p:spPr bwMode="auto">
          <a:xfrm>
            <a:off x="1518098" y="1417356"/>
            <a:ext cx="9144000" cy="696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tabLst>
                <a:tab pos="1084263" algn="l"/>
              </a:tabLst>
              <a:defRPr sz="2400">
                <a:solidFill>
                  <a:schemeClr val="tx1"/>
                </a:solidFill>
                <a:latin typeface="Times New Roman" pitchFamily="18" charset="0"/>
              </a:defRPr>
            </a:lvl1pPr>
            <a:lvl2pPr marL="690563" indent="-233363">
              <a:tabLst>
                <a:tab pos="1084263" algn="l"/>
              </a:tabLst>
              <a:defRPr sz="2400">
                <a:solidFill>
                  <a:schemeClr val="tx1"/>
                </a:solidFill>
                <a:latin typeface="Times New Roman" pitchFamily="18" charset="0"/>
              </a:defRPr>
            </a:lvl2pPr>
            <a:lvl3pPr marL="1084263" indent="-169863">
              <a:tabLst>
                <a:tab pos="1084263" algn="l"/>
              </a:tabLst>
              <a:defRPr sz="2400">
                <a:solidFill>
                  <a:schemeClr val="tx1"/>
                </a:solidFill>
                <a:latin typeface="Times New Roman" pitchFamily="18" charset="0"/>
              </a:defRPr>
            </a:lvl3pPr>
            <a:lvl4pPr>
              <a:tabLst>
                <a:tab pos="1084263" algn="l"/>
              </a:tabLst>
              <a:defRPr sz="2400">
                <a:solidFill>
                  <a:schemeClr val="tx1"/>
                </a:solidFill>
                <a:latin typeface="Times New Roman" pitchFamily="18" charset="0"/>
              </a:defRPr>
            </a:lvl4pPr>
            <a:lvl5pPr>
              <a:tabLst>
                <a:tab pos="1084263" algn="l"/>
              </a:tabLst>
              <a:defRPr sz="2400">
                <a:solidFill>
                  <a:schemeClr val="tx1"/>
                </a:solidFill>
                <a:latin typeface="Times New Roman" pitchFamily="18" charset="0"/>
              </a:defRPr>
            </a:lvl5pPr>
            <a:lvl6pPr fontAlgn="base">
              <a:spcBef>
                <a:spcPct val="0"/>
              </a:spcBef>
              <a:spcAft>
                <a:spcPct val="0"/>
              </a:spcAft>
              <a:tabLst>
                <a:tab pos="1084263" algn="l"/>
              </a:tabLst>
              <a:defRPr sz="2400">
                <a:solidFill>
                  <a:schemeClr val="tx1"/>
                </a:solidFill>
                <a:latin typeface="Times New Roman" pitchFamily="18" charset="0"/>
              </a:defRPr>
            </a:lvl6pPr>
            <a:lvl7pPr fontAlgn="base">
              <a:spcBef>
                <a:spcPct val="0"/>
              </a:spcBef>
              <a:spcAft>
                <a:spcPct val="0"/>
              </a:spcAft>
              <a:tabLst>
                <a:tab pos="1084263" algn="l"/>
              </a:tabLst>
              <a:defRPr sz="2400">
                <a:solidFill>
                  <a:schemeClr val="tx1"/>
                </a:solidFill>
                <a:latin typeface="Times New Roman" pitchFamily="18" charset="0"/>
              </a:defRPr>
            </a:lvl7pPr>
            <a:lvl8pPr fontAlgn="base">
              <a:spcBef>
                <a:spcPct val="0"/>
              </a:spcBef>
              <a:spcAft>
                <a:spcPct val="0"/>
              </a:spcAft>
              <a:tabLst>
                <a:tab pos="1084263" algn="l"/>
              </a:tabLst>
              <a:defRPr sz="2400">
                <a:solidFill>
                  <a:schemeClr val="tx1"/>
                </a:solidFill>
                <a:latin typeface="Times New Roman" pitchFamily="18" charset="0"/>
              </a:defRPr>
            </a:lvl8pPr>
            <a:lvl9pPr fontAlgn="base">
              <a:spcBef>
                <a:spcPct val="0"/>
              </a:spcBef>
              <a:spcAft>
                <a:spcPct val="0"/>
              </a:spcAft>
              <a:tabLst>
                <a:tab pos="1084263" algn="l"/>
              </a:tabLst>
              <a:defRPr sz="2400">
                <a:solidFill>
                  <a:schemeClr val="tx1"/>
                </a:solidFill>
                <a:latin typeface="Times New Roman" pitchFamily="18" charset="0"/>
              </a:defRPr>
            </a:lvl9pPr>
          </a:lstStyle>
          <a:p>
            <a:pPr marL="0" marR="0" lvl="0" indent="0" algn="ctr" defTabSz="914400" rtl="0" eaLnBrk="1" fontAlgn="auto" latinLnBrk="0" hangingPunct="1">
              <a:lnSpc>
                <a:spcPct val="120000"/>
              </a:lnSpc>
              <a:spcBef>
                <a:spcPts val="0"/>
              </a:spcBef>
              <a:spcAft>
                <a:spcPts val="0"/>
              </a:spcAft>
              <a:buClr>
                <a:srgbClr val="739DD2"/>
              </a:buClr>
              <a:buSzPct val="125000"/>
              <a:buFont typeface="Wingdings" pitchFamily="2" charset="2"/>
              <a:buNone/>
              <a:tabLst>
                <a:tab pos="1084263" algn="l"/>
              </a:tabLst>
              <a:defRPr/>
            </a:pPr>
            <a:r>
              <a:rPr kumimoji="0" lang="en-US" sz="3600" b="1" i="0" u="sng" strike="noStrike" kern="1200" cap="none" spc="0" normalizeH="0" baseline="0" noProof="0" dirty="0">
                <a:ln>
                  <a:noFill/>
                </a:ln>
                <a:solidFill>
                  <a:srgbClr val="333333">
                    <a:lumMod val="95000"/>
                  </a:srgbClr>
                </a:solidFill>
                <a:effectLst/>
                <a:uLnTx/>
                <a:uFillTx/>
                <a:latin typeface="Arial" charset="0"/>
                <a:ea typeface="+mn-ea"/>
                <a:cs typeface="+mn-cs"/>
              </a:rPr>
              <a:t>Mission Statement</a:t>
            </a:r>
          </a:p>
        </p:txBody>
      </p:sp>
      <p:sp>
        <p:nvSpPr>
          <p:cNvPr id="13" name="Text Box 10">
            <a:extLst>
              <a:ext uri="{FF2B5EF4-FFF2-40B4-BE49-F238E27FC236}">
                <a16:creationId xmlns:a16="http://schemas.microsoft.com/office/drawing/2014/main" id="{BB890393-D40A-40C5-A6E3-4F98E2C9D47D}"/>
              </a:ext>
            </a:extLst>
          </p:cNvPr>
          <p:cNvSpPr txBox="1">
            <a:spLocks noChangeArrowheads="1"/>
          </p:cNvSpPr>
          <p:nvPr/>
        </p:nvSpPr>
        <p:spPr bwMode="auto">
          <a:xfrm>
            <a:off x="1518098" y="2318662"/>
            <a:ext cx="9144000" cy="1384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33363" marR="0" lvl="1" indent="0" algn="ctr" defTabSz="914400" rtl="0" eaLnBrk="1" fontAlgn="auto" latinLnBrk="0" hangingPunct="1">
              <a:lnSpc>
                <a:spcPct val="100000"/>
              </a:lnSpc>
              <a:spcBef>
                <a:spcPct val="50000"/>
              </a:spcBef>
              <a:spcAft>
                <a:spcPts val="0"/>
              </a:spcAft>
              <a:buClrTx/>
              <a:buSzTx/>
              <a:buFontTx/>
              <a:buNone/>
              <a:tabLst/>
              <a:defRPr/>
            </a:pPr>
            <a:r>
              <a:rPr kumimoji="0" lang="en-US" sz="28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Southern States Grid Services Division provides value added services to support high voltage transmission and distribution customers (15kV and higher</a:t>
            </a:r>
            <a:r>
              <a:rPr lang="en-US" sz="2800" i="1" dirty="0">
                <a:solidFill>
                  <a:srgbClr val="333333"/>
                </a:solidFill>
                <a:latin typeface="Arial" panose="020B0604020202020204" pitchFamily="34" charset="0"/>
                <a:cs typeface="Arial" panose="020B0604020202020204" pitchFamily="34" charset="0"/>
              </a:rPr>
              <a:t>)</a:t>
            </a:r>
            <a:endParaRPr kumimoji="0" lang="en-US" sz="28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140627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09FB2033-9342-4260-AFDA-23AF00B518F1}"/>
              </a:ext>
            </a:extLst>
          </p:cNvPr>
          <p:cNvCxnSpPr>
            <a:cxnSpLocks/>
          </p:cNvCxnSpPr>
          <p:nvPr/>
        </p:nvCxnSpPr>
        <p:spPr>
          <a:xfrm>
            <a:off x="5988813" y="2480638"/>
            <a:ext cx="0" cy="26566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a:effectLst/>
              </a:rPr>
              <a:t>Grid Services </a:t>
            </a:r>
            <a:r>
              <a:rPr lang="en-US" sz="3600" dirty="0">
                <a:effectLst/>
              </a:rPr>
              <a:t>Division </a:t>
            </a:r>
            <a:r>
              <a:rPr lang="en-US" sz="3600" i="0" dirty="0">
                <a:effectLst/>
              </a:rPr>
              <a:t>Management Team</a:t>
            </a:r>
            <a:endParaRPr lang="en-US" sz="3600" i="0" dirty="0">
              <a:effectLst/>
              <a:ea typeface="ＭＳ Ｐゴシック" pitchFamily="34" charset="-128"/>
              <a:cs typeface="Calibri"/>
            </a:endParaRPr>
          </a:p>
        </p:txBody>
      </p:sp>
      <p:pic>
        <p:nvPicPr>
          <p:cNvPr id="5" name="Picture 4" descr="A logo with a black background&#10;&#10;Description automatically generated">
            <a:extLst>
              <a:ext uri="{FF2B5EF4-FFF2-40B4-BE49-F238E27FC236}">
                <a16:creationId xmlns:a16="http://schemas.microsoft.com/office/drawing/2014/main" id="{BBD93E03-E1A9-4442-920C-FE128D61BB5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sp>
        <p:nvSpPr>
          <p:cNvPr id="8" name="_s1048">
            <a:extLst>
              <a:ext uri="{FF2B5EF4-FFF2-40B4-BE49-F238E27FC236}">
                <a16:creationId xmlns:a16="http://schemas.microsoft.com/office/drawing/2014/main" id="{D9195898-5299-4EF8-BA1B-10F685FBCF58}"/>
              </a:ext>
            </a:extLst>
          </p:cNvPr>
          <p:cNvSpPr>
            <a:spLocks noChangeArrowheads="1"/>
          </p:cNvSpPr>
          <p:nvPr/>
        </p:nvSpPr>
        <p:spPr bwMode="auto">
          <a:xfrm>
            <a:off x="5383334" y="1923612"/>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VP and GM</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Grid Services</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ivision</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ave Lombardo</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25" name="Straight Connector 24">
            <a:extLst>
              <a:ext uri="{FF2B5EF4-FFF2-40B4-BE49-F238E27FC236}">
                <a16:creationId xmlns:a16="http://schemas.microsoft.com/office/drawing/2014/main" id="{A8D7D701-0665-40E5-899F-F2E392362F6F}"/>
              </a:ext>
            </a:extLst>
          </p:cNvPr>
          <p:cNvCxnSpPr>
            <a:cxnSpLocks/>
          </p:cNvCxnSpPr>
          <p:nvPr/>
        </p:nvCxnSpPr>
        <p:spPr>
          <a:xfrm flipV="1">
            <a:off x="2447924" y="2715206"/>
            <a:ext cx="7269461" cy="311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_s1065">
            <a:extLst>
              <a:ext uri="{FF2B5EF4-FFF2-40B4-BE49-F238E27FC236}">
                <a16:creationId xmlns:a16="http://schemas.microsoft.com/office/drawing/2014/main" id="{996B0B4C-BAA1-4BD7-A2B3-2838EA5DFE70}"/>
              </a:ext>
            </a:extLst>
          </p:cNvPr>
          <p:cNvSpPr>
            <a:spLocks noChangeArrowheads="1"/>
          </p:cNvSpPr>
          <p:nvPr/>
        </p:nvSpPr>
        <p:spPr bwMode="auto">
          <a:xfrm>
            <a:off x="1885023" y="2993814"/>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irector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Customer Care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Joey Calderon</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2" name="_s1065">
            <a:extLst>
              <a:ext uri="{FF2B5EF4-FFF2-40B4-BE49-F238E27FC236}">
                <a16:creationId xmlns:a16="http://schemas.microsoft.com/office/drawing/2014/main" id="{F700CDAD-0C5C-4873-9A5F-2CF9F7F7BA81}"/>
              </a:ext>
            </a:extLst>
          </p:cNvPr>
          <p:cNvSpPr>
            <a:spLocks noChangeArrowheads="1"/>
          </p:cNvSpPr>
          <p:nvPr/>
        </p:nvSpPr>
        <p:spPr bwMode="auto">
          <a:xfrm>
            <a:off x="4397647" y="2995840"/>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irector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obile Solutions</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Paulo Pereira</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3" name="_s1065">
            <a:extLst>
              <a:ext uri="{FF2B5EF4-FFF2-40B4-BE49-F238E27FC236}">
                <a16:creationId xmlns:a16="http://schemas.microsoft.com/office/drawing/2014/main" id="{5E31E2D5-F65B-4252-B584-D813496F6BF5}"/>
              </a:ext>
            </a:extLst>
          </p:cNvPr>
          <p:cNvSpPr>
            <a:spLocks noChangeArrowheads="1"/>
          </p:cNvSpPr>
          <p:nvPr/>
        </p:nvSpPr>
        <p:spPr bwMode="auto">
          <a:xfrm>
            <a:off x="6842612" y="2995840"/>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irector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Grid Security</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Patrick James</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85" name="Straight Connector 84">
            <a:extLst>
              <a:ext uri="{FF2B5EF4-FFF2-40B4-BE49-F238E27FC236}">
                <a16:creationId xmlns:a16="http://schemas.microsoft.com/office/drawing/2014/main" id="{CCD7E179-8168-4C33-9AAF-A0C2952E27F2}"/>
              </a:ext>
            </a:extLst>
          </p:cNvPr>
          <p:cNvCxnSpPr>
            <a:cxnSpLocks/>
          </p:cNvCxnSpPr>
          <p:nvPr/>
        </p:nvCxnSpPr>
        <p:spPr>
          <a:xfrm>
            <a:off x="2456523" y="2730756"/>
            <a:ext cx="0" cy="26566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0958FC6-5556-4A81-972E-1441B41B8A17}"/>
              </a:ext>
            </a:extLst>
          </p:cNvPr>
          <p:cNvCxnSpPr>
            <a:cxnSpLocks/>
          </p:cNvCxnSpPr>
          <p:nvPr/>
        </p:nvCxnSpPr>
        <p:spPr>
          <a:xfrm>
            <a:off x="4969147" y="2746306"/>
            <a:ext cx="0" cy="26566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_s1065">
            <a:extLst>
              <a:ext uri="{FF2B5EF4-FFF2-40B4-BE49-F238E27FC236}">
                <a16:creationId xmlns:a16="http://schemas.microsoft.com/office/drawing/2014/main" id="{B8F07880-E0B1-4552-9A92-3C2C26BD146D}"/>
              </a:ext>
            </a:extLst>
          </p:cNvPr>
          <p:cNvSpPr>
            <a:spLocks noChangeArrowheads="1"/>
          </p:cNvSpPr>
          <p:nvPr/>
        </p:nvSpPr>
        <p:spPr bwMode="auto">
          <a:xfrm>
            <a:off x="1884230" y="3715606"/>
            <a:ext cx="1143000" cy="594360"/>
          </a:xfrm>
          <a:prstGeom prst="roundRect">
            <a:avLst>
              <a:gd name="adj" fmla="val 16667"/>
            </a:avLst>
          </a:prstGeom>
          <a:solidFill>
            <a:schemeClr val="accent6">
              <a:lumMod val="20000"/>
              <a:lumOff val="80000"/>
            </a:schemeClr>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Product Support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ervice</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rew Keller</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1" name="_s1065">
            <a:extLst>
              <a:ext uri="{FF2B5EF4-FFF2-40B4-BE49-F238E27FC236}">
                <a16:creationId xmlns:a16="http://schemas.microsoft.com/office/drawing/2014/main" id="{0391F3E9-FE03-4488-9040-30160BBBE407}"/>
              </a:ext>
            </a:extLst>
          </p:cNvPr>
          <p:cNvSpPr>
            <a:spLocks noChangeArrowheads="1"/>
          </p:cNvSpPr>
          <p:nvPr/>
        </p:nvSpPr>
        <p:spPr bwMode="auto">
          <a:xfrm>
            <a:off x="1884230" y="4430042"/>
            <a:ext cx="1143000" cy="594360"/>
          </a:xfrm>
          <a:prstGeom prst="roundRect">
            <a:avLst>
              <a:gd name="adj" fmla="val 16667"/>
            </a:avLst>
          </a:prstGeom>
          <a:solidFill>
            <a:schemeClr val="accent6">
              <a:lumMod val="20000"/>
              <a:lumOff val="80000"/>
            </a:schemeClr>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Field Support</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 Service</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Erik Jordan</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7" name="Straight Connector 6">
            <a:extLst>
              <a:ext uri="{FF2B5EF4-FFF2-40B4-BE49-F238E27FC236}">
                <a16:creationId xmlns:a16="http://schemas.microsoft.com/office/drawing/2014/main" id="{013F5891-94B9-4791-BAF3-48431D7B6197}"/>
              </a:ext>
            </a:extLst>
          </p:cNvPr>
          <p:cNvCxnSpPr>
            <a:cxnSpLocks/>
          </p:cNvCxnSpPr>
          <p:nvPr/>
        </p:nvCxnSpPr>
        <p:spPr>
          <a:xfrm>
            <a:off x="1703110" y="3276194"/>
            <a:ext cx="0" cy="141683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_s1065">
            <a:extLst>
              <a:ext uri="{FF2B5EF4-FFF2-40B4-BE49-F238E27FC236}">
                <a16:creationId xmlns:a16="http://schemas.microsoft.com/office/drawing/2014/main" id="{17061C6B-CF83-4188-AABA-EBE6EF40254D}"/>
              </a:ext>
            </a:extLst>
          </p:cNvPr>
          <p:cNvSpPr>
            <a:spLocks noChangeArrowheads="1"/>
          </p:cNvSpPr>
          <p:nvPr/>
        </p:nvSpPr>
        <p:spPr bwMode="auto">
          <a:xfrm>
            <a:off x="9083048" y="2995840"/>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Operations</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Johnny Adams</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24" name="Straight Connector 23">
            <a:extLst>
              <a:ext uri="{FF2B5EF4-FFF2-40B4-BE49-F238E27FC236}">
                <a16:creationId xmlns:a16="http://schemas.microsoft.com/office/drawing/2014/main" id="{1B343009-A365-49EB-BDCD-E35B13A4025C}"/>
              </a:ext>
            </a:extLst>
          </p:cNvPr>
          <p:cNvCxnSpPr>
            <a:cxnSpLocks/>
          </p:cNvCxnSpPr>
          <p:nvPr/>
        </p:nvCxnSpPr>
        <p:spPr>
          <a:xfrm>
            <a:off x="7414112" y="2728146"/>
            <a:ext cx="0" cy="26566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A3F9163-CA5A-474B-BD41-3197804A7DE1}"/>
              </a:ext>
            </a:extLst>
          </p:cNvPr>
          <p:cNvCxnSpPr>
            <a:cxnSpLocks/>
          </p:cNvCxnSpPr>
          <p:nvPr/>
        </p:nvCxnSpPr>
        <p:spPr>
          <a:xfrm>
            <a:off x="9715824" y="2710864"/>
            <a:ext cx="0" cy="26566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A9C6E5D-25CE-442A-A75E-F92AC92BD2AF}"/>
              </a:ext>
            </a:extLst>
          </p:cNvPr>
          <p:cNvCxnSpPr>
            <a:cxnSpLocks/>
          </p:cNvCxnSpPr>
          <p:nvPr/>
        </p:nvCxnSpPr>
        <p:spPr>
          <a:xfrm flipV="1">
            <a:off x="1713703" y="3290994"/>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4330042-8C7F-4E63-A6E0-FA0FCBFD1A95}"/>
              </a:ext>
            </a:extLst>
          </p:cNvPr>
          <p:cNvCxnSpPr>
            <a:cxnSpLocks/>
          </p:cNvCxnSpPr>
          <p:nvPr/>
        </p:nvCxnSpPr>
        <p:spPr>
          <a:xfrm flipV="1">
            <a:off x="1697695" y="4051252"/>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D9E89F7-8DB3-40B1-8ADA-3EAD4E844440}"/>
              </a:ext>
            </a:extLst>
          </p:cNvPr>
          <p:cNvCxnSpPr>
            <a:cxnSpLocks/>
          </p:cNvCxnSpPr>
          <p:nvPr/>
        </p:nvCxnSpPr>
        <p:spPr>
          <a:xfrm flipV="1">
            <a:off x="1694849" y="4693134"/>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67880D3-3D07-46AF-8E25-3ECDCB9A88B8}"/>
              </a:ext>
            </a:extLst>
          </p:cNvPr>
          <p:cNvCxnSpPr>
            <a:cxnSpLocks/>
          </p:cNvCxnSpPr>
          <p:nvPr/>
        </p:nvCxnSpPr>
        <p:spPr>
          <a:xfrm flipV="1">
            <a:off x="4217165" y="3290994"/>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A210FC3-4362-40E1-A529-9E16D9F806F4}"/>
              </a:ext>
            </a:extLst>
          </p:cNvPr>
          <p:cNvCxnSpPr>
            <a:cxnSpLocks/>
          </p:cNvCxnSpPr>
          <p:nvPr/>
        </p:nvCxnSpPr>
        <p:spPr>
          <a:xfrm flipV="1">
            <a:off x="4201157" y="4051252"/>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A536C1-88D9-4707-8401-5DAF60F93CFE}"/>
              </a:ext>
            </a:extLst>
          </p:cNvPr>
          <p:cNvCxnSpPr>
            <a:cxnSpLocks/>
          </p:cNvCxnSpPr>
          <p:nvPr/>
        </p:nvCxnSpPr>
        <p:spPr>
          <a:xfrm>
            <a:off x="4201157" y="3292533"/>
            <a:ext cx="0" cy="774349"/>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_s1065">
            <a:extLst>
              <a:ext uri="{FF2B5EF4-FFF2-40B4-BE49-F238E27FC236}">
                <a16:creationId xmlns:a16="http://schemas.microsoft.com/office/drawing/2014/main" id="{03B8975E-6B75-4855-A95D-AE55E0662430}"/>
              </a:ext>
            </a:extLst>
          </p:cNvPr>
          <p:cNvSpPr>
            <a:spLocks noChangeArrowheads="1"/>
          </p:cNvSpPr>
          <p:nvPr/>
        </p:nvSpPr>
        <p:spPr bwMode="auto">
          <a:xfrm>
            <a:off x="4395351" y="3769702"/>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Chief Engine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obile Solutions</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am Harmon</a:t>
            </a:r>
          </a:p>
        </p:txBody>
      </p:sp>
    </p:spTree>
    <p:extLst>
      <p:ext uri="{BB962C8B-B14F-4D97-AF65-F5344CB8AC3E}">
        <p14:creationId xmlns:p14="http://schemas.microsoft.com/office/powerpoint/2010/main" val="1962783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a:solidFill>
                  <a:schemeClr val="tx1"/>
                </a:solidFill>
                <a:latin typeface="Calibri" panose="020F0502020204030204" pitchFamily="34" charset="0"/>
                <a:ea typeface="Calibri" panose="020F0502020204030204" pitchFamily="34" charset="0"/>
                <a:cs typeface="Calibri" panose="020F0502020204030204" pitchFamily="34" charset="0"/>
              </a:rPr>
              <a:t>Grid Services Division Product and Market Focus </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7" y="1444752"/>
            <a:ext cx="10752040" cy="4978738"/>
          </a:xfrm>
        </p:spPr>
        <p:txBody>
          <a:bodyPr>
            <a:normAutofit/>
          </a:bodyPr>
          <a:lstStyle/>
          <a:p>
            <a:pPr marL="342900" lvl="1" indent="-342900">
              <a:lnSpc>
                <a:spcPct val="10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Product Support Services</a:t>
            </a:r>
          </a:p>
          <a:p>
            <a:pPr marL="685800" lvl="1" indent="-342900">
              <a:lnSpc>
                <a:spcPct val="10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Technical Phone support</a:t>
            </a:r>
          </a:p>
          <a:p>
            <a:pPr marL="685800" lvl="1" indent="-342900">
              <a:lnSpc>
                <a:spcPct val="10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Parts sales</a:t>
            </a:r>
          </a:p>
          <a:p>
            <a:pPr marL="685800" lvl="1" indent="-342900">
              <a:lnSpc>
                <a:spcPct val="10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Shop Services</a:t>
            </a:r>
          </a:p>
          <a:p>
            <a:pPr marL="1085850" lvl="2" indent="-342900">
              <a:lnSpc>
                <a:spcPct val="100000"/>
              </a:lnSpc>
              <a:spcBef>
                <a:spcPts val="0"/>
              </a:spcBef>
              <a:buClr>
                <a:schemeClr val="accent1">
                  <a:lumMod val="75000"/>
                </a:schemeClr>
              </a:buClr>
              <a:buFont typeface="Calibri" panose="020F0502020204030204" pitchFamily="34" charset="0"/>
              <a:buChar char="‐"/>
            </a:pPr>
            <a:r>
              <a:rPr lang="en-US" sz="1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Repair/refurbish any SSL product</a:t>
            </a:r>
          </a:p>
          <a:p>
            <a:pPr marL="1085850" lvl="2" indent="-342900">
              <a:lnSpc>
                <a:spcPct val="100000"/>
              </a:lnSpc>
              <a:spcBef>
                <a:spcPts val="0"/>
              </a:spcBef>
              <a:buClr>
                <a:schemeClr val="accent1">
                  <a:lumMod val="75000"/>
                </a:schemeClr>
              </a:buClr>
              <a:buFont typeface="Calibri" panose="020F0502020204030204" pitchFamily="34" charset="0"/>
              <a:buChar char="‐"/>
            </a:pPr>
            <a:r>
              <a:rPr lang="en-US" sz="1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Life cycle maintenance – assist customer over life of product </a:t>
            </a:r>
          </a:p>
          <a:p>
            <a:pPr marL="342900" lvl="1" indent="-342900">
              <a:lnSpc>
                <a:spcPct val="10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Field Services</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0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Field Support</a:t>
            </a:r>
          </a:p>
          <a:p>
            <a:pPr marL="1085850" lvl="2" indent="-342900">
              <a:lnSpc>
                <a:spcPct val="100000"/>
              </a:lnSpc>
              <a:spcBef>
                <a:spcPts val="0"/>
              </a:spcBef>
              <a:buClr>
                <a:schemeClr val="accent1">
                  <a:lumMod val="75000"/>
                </a:schemeClr>
              </a:buClr>
              <a:buFont typeface="Calibri" panose="020F0502020204030204" pitchFamily="34" charset="0"/>
              <a:buChar char="‐"/>
            </a:pPr>
            <a:r>
              <a:rPr lang="en-US" sz="1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Installation supervision</a:t>
            </a:r>
          </a:p>
          <a:p>
            <a:pPr marL="1085850" lvl="2" indent="-342900">
              <a:lnSpc>
                <a:spcPct val="100000"/>
              </a:lnSpc>
              <a:spcBef>
                <a:spcPts val="0"/>
              </a:spcBef>
              <a:buClr>
                <a:schemeClr val="accent1">
                  <a:lumMod val="75000"/>
                </a:schemeClr>
              </a:buClr>
              <a:buFont typeface="Calibri" panose="020F0502020204030204" pitchFamily="34" charset="0"/>
              <a:buChar char="‐"/>
            </a:pPr>
            <a:r>
              <a:rPr lang="en-US" sz="1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Commissioning Services</a:t>
            </a:r>
          </a:p>
          <a:p>
            <a:pPr marL="1085850" lvl="2" indent="-342900">
              <a:lnSpc>
                <a:spcPct val="100000"/>
              </a:lnSpc>
              <a:spcBef>
                <a:spcPts val="0"/>
              </a:spcBef>
              <a:buClr>
                <a:schemeClr val="accent1">
                  <a:lumMod val="75000"/>
                </a:schemeClr>
              </a:buClr>
              <a:buFont typeface="Calibri" panose="020F0502020204030204" pitchFamily="34" charset="0"/>
              <a:buChar char="‐"/>
            </a:pPr>
            <a:r>
              <a:rPr lang="en-US" sz="1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Opportunistic turn-key installation capabilities</a:t>
            </a:r>
          </a:p>
          <a:p>
            <a:pPr marL="1085850" lvl="2" indent="-342900">
              <a:lnSpc>
                <a:spcPct val="100000"/>
              </a:lnSpc>
              <a:spcBef>
                <a:spcPts val="0"/>
              </a:spcBef>
              <a:buClr>
                <a:schemeClr val="accent1">
                  <a:lumMod val="75000"/>
                </a:schemeClr>
              </a:buClr>
              <a:buFont typeface="Calibri" panose="020F0502020204030204" pitchFamily="34" charset="0"/>
              <a:buChar char="‐"/>
            </a:pPr>
            <a:r>
              <a:rPr lang="en-US" sz="1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Equipment / project assessment</a:t>
            </a:r>
          </a:p>
          <a:p>
            <a:pPr marL="685800" lvl="1" indent="-342900">
              <a:lnSpc>
                <a:spcPct val="10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Training services (at SSL or customer location) </a:t>
            </a:r>
          </a:p>
          <a:p>
            <a:pPr marL="0" lvl="1" indent="0">
              <a:lnSpc>
                <a:spcPct val="100000"/>
              </a:lnSpc>
              <a:spcBef>
                <a:spcPts val="0"/>
              </a:spcBef>
              <a:buClr>
                <a:schemeClr val="tx1"/>
              </a:buClr>
              <a:buSzPct val="80000"/>
              <a:buNone/>
            </a:pPr>
            <a:endParaRPr lang="en-US" sz="1400" dirty="0">
              <a:solidFill>
                <a:srgbClr val="A20000"/>
              </a:solidFill>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1238915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a:solidFill>
                  <a:schemeClr val="tx1"/>
                </a:solidFill>
                <a:latin typeface="Calibri" panose="020F0502020204030204" pitchFamily="34" charset="0"/>
                <a:ea typeface="Calibri" panose="020F0502020204030204" pitchFamily="34" charset="0"/>
                <a:cs typeface="Calibri" panose="020F0502020204030204" pitchFamily="34" charset="0"/>
              </a:rPr>
              <a:t>Grid Services Division Product and Market Focus </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6" y="1444752"/>
            <a:ext cx="11351671" cy="4978738"/>
          </a:xfrm>
        </p:spPr>
        <p:txBody>
          <a:bodyPr>
            <a:noAutofit/>
          </a:bodyPr>
          <a:lstStyle/>
          <a:p>
            <a:pPr marL="0" lvl="1" indent="0">
              <a:lnSpc>
                <a:spcPct val="100000"/>
              </a:lnSpc>
              <a:spcBef>
                <a:spcPts val="0"/>
              </a:spcBef>
              <a:buClr>
                <a:schemeClr val="tx1"/>
              </a:buClr>
              <a:buSzPct val="80000"/>
              <a:buNone/>
            </a:pPr>
            <a:r>
              <a:rPr lang="en-US" sz="3000" u="sng" dirty="0">
                <a:solidFill>
                  <a:schemeClr val="tx1"/>
                </a:solidFill>
                <a:latin typeface="Calibri" panose="020F0502020204030204" pitchFamily="34" charset="0"/>
                <a:ea typeface="Calibri" panose="020F0502020204030204" pitchFamily="34" charset="0"/>
                <a:cs typeface="Calibri" panose="020F0502020204030204" pitchFamily="34" charset="0"/>
              </a:rPr>
              <a:t>Mobile Solutions</a:t>
            </a:r>
          </a:p>
          <a:p>
            <a:pPr marL="342900" lvl="1" indent="-342900">
              <a:lnSpc>
                <a:spcPct val="100000"/>
              </a:lnSpc>
              <a:spcBef>
                <a:spcPts val="0"/>
              </a:spcBef>
              <a:buClr>
                <a:schemeClr val="tx1"/>
              </a:buClr>
              <a:buSzPct val="100000"/>
              <a:buFont typeface="Wingdings" panose="05000000000000000000" pitchFamily="2" charset="2"/>
              <a:buChar char="Ø"/>
            </a:pPr>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Equipment agnostic</a:t>
            </a:r>
            <a:endParaRPr lang="en-US" sz="20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00000"/>
              </a:lnSpc>
              <a:spcBef>
                <a:spcPts val="0"/>
              </a:spcBef>
              <a:buClr>
                <a:srgbClr val="A20000"/>
              </a:buClr>
              <a:buFont typeface="Arial" panose="020B0604020202020204" pitchFamily="34" charset="0"/>
              <a:buChar char="•"/>
            </a:pPr>
            <a:r>
              <a:rPr lang="en-US" sz="1500" dirty="0">
                <a:solidFill>
                  <a:srgbClr val="A20000"/>
                </a:solidFill>
                <a:latin typeface="Calibri" panose="020F0502020204030204" pitchFamily="34" charset="0"/>
                <a:ea typeface="Calibri" panose="020F0502020204030204" pitchFamily="34" charset="0"/>
                <a:cs typeface="Calibri" panose="020F0502020204030204" pitchFamily="34" charset="0"/>
              </a:rPr>
              <a:t>Preferred suppliers (SSL, Northern, </a:t>
            </a:r>
            <a:r>
              <a:rPr lang="en-US" sz="1500" dirty="0" err="1">
                <a:solidFill>
                  <a:srgbClr val="A20000"/>
                </a:solidFill>
                <a:latin typeface="Calibri" panose="020F0502020204030204" pitchFamily="34" charset="0"/>
                <a:ea typeface="Calibri" panose="020F0502020204030204" pitchFamily="34" charset="0"/>
                <a:cs typeface="Calibri" panose="020F0502020204030204" pitchFamily="34" charset="0"/>
              </a:rPr>
              <a:t>etc</a:t>
            </a:r>
            <a:r>
              <a:rPr lang="en-US" sz="1500" dirty="0">
                <a:solidFill>
                  <a:srgbClr val="A20000"/>
                </a:solidFill>
                <a:latin typeface="Calibri" panose="020F0502020204030204" pitchFamily="34" charset="0"/>
                <a:ea typeface="Calibri" panose="020F0502020204030204" pitchFamily="34" charset="0"/>
                <a:cs typeface="Calibri" panose="020F0502020204030204" pitchFamily="34" charset="0"/>
              </a:rPr>
              <a:t>), but access to entire industry of manufactures to give us best oppy for price, lead-time, and meeting customer specification</a:t>
            </a:r>
          </a:p>
          <a:p>
            <a:pPr marL="685800" lvl="1" indent="-342900">
              <a:lnSpc>
                <a:spcPct val="100000"/>
              </a:lnSpc>
              <a:spcBef>
                <a:spcPts val="0"/>
              </a:spcBef>
              <a:buClr>
                <a:srgbClr val="A20000"/>
              </a:buClr>
              <a:buFont typeface="Arial" panose="020B0604020202020204" pitchFamily="34" charset="0"/>
              <a:buChar char="•"/>
            </a:pPr>
            <a:r>
              <a:rPr lang="en-US" sz="1500" dirty="0">
                <a:solidFill>
                  <a:srgbClr val="A20000"/>
                </a:solidFill>
                <a:latin typeface="Calibri" panose="020F0502020204030204" pitchFamily="34" charset="0"/>
                <a:ea typeface="Calibri" panose="020F0502020204030204" pitchFamily="34" charset="0"/>
                <a:cs typeface="Calibri" panose="020F0502020204030204" pitchFamily="34" charset="0"/>
              </a:rPr>
              <a:t>Not tied to one type of mobile</a:t>
            </a:r>
          </a:p>
          <a:p>
            <a:pPr marL="1085850" lvl="2" indent="-342900">
              <a:lnSpc>
                <a:spcPct val="100000"/>
              </a:lnSpc>
              <a:spcBef>
                <a:spcPts val="0"/>
              </a:spcBef>
              <a:buClr>
                <a:schemeClr val="accent1">
                  <a:lumMod val="75000"/>
                </a:schemeClr>
              </a:buClr>
              <a:buFont typeface="Calibri" panose="020F0502020204030204" pitchFamily="34" charset="0"/>
              <a:buChar char="‐"/>
            </a:pPr>
            <a:r>
              <a:rPr lang="en-US" sz="13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Substations</a:t>
            </a:r>
          </a:p>
          <a:p>
            <a:pPr marL="1085850" lvl="2" indent="-342900">
              <a:lnSpc>
                <a:spcPct val="100000"/>
              </a:lnSpc>
              <a:spcBef>
                <a:spcPts val="0"/>
              </a:spcBef>
              <a:buClr>
                <a:schemeClr val="accent1">
                  <a:lumMod val="75000"/>
                </a:schemeClr>
              </a:buClr>
              <a:buFont typeface="Calibri" panose="020F0502020204030204" pitchFamily="34" charset="0"/>
              <a:buChar char="‐"/>
            </a:pPr>
            <a:r>
              <a:rPr lang="en-US" sz="13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Capacitor banks</a:t>
            </a:r>
          </a:p>
          <a:p>
            <a:pPr marL="1085850" lvl="2" indent="-342900">
              <a:lnSpc>
                <a:spcPct val="100000"/>
              </a:lnSpc>
              <a:spcBef>
                <a:spcPts val="0"/>
              </a:spcBef>
              <a:buClr>
                <a:schemeClr val="accent1">
                  <a:lumMod val="75000"/>
                </a:schemeClr>
              </a:buClr>
              <a:buFont typeface="Calibri" panose="020F0502020204030204" pitchFamily="34" charset="0"/>
              <a:buChar char="‐"/>
            </a:pPr>
            <a:r>
              <a:rPr lang="en-US" sz="13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Stat Com</a:t>
            </a:r>
          </a:p>
          <a:p>
            <a:pPr marL="1085850" lvl="2" indent="-342900">
              <a:lnSpc>
                <a:spcPct val="100000"/>
              </a:lnSpc>
              <a:spcBef>
                <a:spcPts val="0"/>
              </a:spcBef>
              <a:buClr>
                <a:schemeClr val="accent1">
                  <a:lumMod val="75000"/>
                </a:schemeClr>
              </a:buClr>
              <a:buFont typeface="Calibri" panose="020F0502020204030204" pitchFamily="34" charset="0"/>
              <a:buChar char="‐"/>
            </a:pPr>
            <a:r>
              <a:rPr lang="en-US" sz="13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Skid mounted solutions</a:t>
            </a:r>
          </a:p>
          <a:p>
            <a:pPr marL="1085850" lvl="2" indent="-342900">
              <a:lnSpc>
                <a:spcPct val="100000"/>
              </a:lnSpc>
              <a:spcBef>
                <a:spcPts val="0"/>
              </a:spcBef>
              <a:buClr>
                <a:schemeClr val="accent1">
                  <a:lumMod val="75000"/>
                </a:schemeClr>
              </a:buClr>
              <a:buFont typeface="Calibri" panose="020F0502020204030204" pitchFamily="34" charset="0"/>
              <a:buChar char="‐"/>
            </a:pPr>
            <a:r>
              <a:rPr lang="en-US" sz="13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Single piece of equipment solution (switch, circuit switcher, disconnect switch, regulator, etc.)</a:t>
            </a:r>
          </a:p>
          <a:p>
            <a:pPr marL="685800" lvl="1" indent="-342900">
              <a:lnSpc>
                <a:spcPct val="100000"/>
              </a:lnSpc>
              <a:spcBef>
                <a:spcPts val="0"/>
              </a:spcBef>
              <a:buClr>
                <a:srgbClr val="A20000"/>
              </a:buClr>
              <a:buFont typeface="Arial" panose="020B0604020202020204" pitchFamily="34" charset="0"/>
              <a:buChar char="•"/>
            </a:pPr>
            <a:r>
              <a:rPr lang="en-US" sz="1500" dirty="0">
                <a:solidFill>
                  <a:srgbClr val="A20000"/>
                </a:solidFill>
                <a:latin typeface="Calibri" panose="020F0502020204030204" pitchFamily="34" charset="0"/>
                <a:ea typeface="Calibri" panose="020F0502020204030204" pitchFamily="34" charset="0"/>
                <a:cs typeface="Calibri" panose="020F0502020204030204" pitchFamily="34" charset="0"/>
              </a:rPr>
              <a:t>Playing tariff game right now with major equipment suppliers…but quoting to ALWAYS recoup tariffs not built in cost structure</a:t>
            </a:r>
          </a:p>
          <a:p>
            <a:pPr marL="342900" lvl="1" indent="-342900">
              <a:lnSpc>
                <a:spcPct val="100000"/>
              </a:lnSpc>
              <a:spcBef>
                <a:spcPts val="0"/>
              </a:spcBef>
              <a:buClr>
                <a:schemeClr val="tx1"/>
              </a:buClr>
              <a:buSzPct val="100000"/>
              <a:buFont typeface="Wingdings" panose="05000000000000000000" pitchFamily="2" charset="2"/>
              <a:buChar char="Ø"/>
            </a:pPr>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Customer focused custom solutions</a:t>
            </a:r>
          </a:p>
          <a:p>
            <a:pPr marL="685800" lvl="1" indent="-342900">
              <a:lnSpc>
                <a:spcPct val="100000"/>
              </a:lnSpc>
              <a:spcBef>
                <a:spcPts val="0"/>
              </a:spcBef>
              <a:buClr>
                <a:srgbClr val="A20000"/>
              </a:buClr>
              <a:buFont typeface="Arial" panose="020B0604020202020204" pitchFamily="34" charset="0"/>
              <a:buChar char="•"/>
            </a:pPr>
            <a:r>
              <a:rPr lang="en-US" sz="1500" dirty="0">
                <a:solidFill>
                  <a:srgbClr val="A20000"/>
                </a:solidFill>
                <a:latin typeface="Calibri" panose="020F0502020204030204" pitchFamily="34" charset="0"/>
                <a:ea typeface="Calibri" panose="020F0502020204030204" pitchFamily="34" charset="0"/>
                <a:cs typeface="Calibri" panose="020F0502020204030204" pitchFamily="34" charset="0"/>
              </a:rPr>
              <a:t>DS drives to standard designs with less ability to custom solution</a:t>
            </a:r>
          </a:p>
          <a:p>
            <a:pPr marL="685800" lvl="1" indent="-342900">
              <a:lnSpc>
                <a:spcPct val="100000"/>
              </a:lnSpc>
              <a:spcBef>
                <a:spcPts val="0"/>
              </a:spcBef>
              <a:buClr>
                <a:srgbClr val="A20000"/>
              </a:buClr>
              <a:buFont typeface="Arial" panose="020B0604020202020204" pitchFamily="34" charset="0"/>
              <a:buChar char="•"/>
            </a:pPr>
            <a:r>
              <a:rPr lang="en-US" sz="1500" dirty="0">
                <a:solidFill>
                  <a:srgbClr val="A20000"/>
                </a:solidFill>
                <a:latin typeface="Calibri" panose="020F0502020204030204" pitchFamily="34" charset="0"/>
                <a:ea typeface="Calibri" panose="020F0502020204030204" pitchFamily="34" charset="0"/>
                <a:cs typeface="Calibri" panose="020F0502020204030204" pitchFamily="34" charset="0"/>
              </a:rPr>
              <a:t>SSL starting to drive to standard designs when makes sense, but still embraces custom and customer driven solutions when differentiator</a:t>
            </a:r>
          </a:p>
          <a:p>
            <a:pPr marL="342900" lvl="1" indent="-342900">
              <a:lnSpc>
                <a:spcPct val="100000"/>
              </a:lnSpc>
              <a:spcBef>
                <a:spcPts val="0"/>
              </a:spcBef>
              <a:buClr>
                <a:schemeClr val="tx1"/>
              </a:buClr>
              <a:buSzPct val="100000"/>
              <a:buFont typeface="Wingdings" panose="05000000000000000000" pitchFamily="2" charset="2"/>
              <a:buChar char="Ø"/>
            </a:pPr>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Focus on Co-op market</a:t>
            </a:r>
            <a:endParaRPr lang="en-US" sz="20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00000"/>
              </a:lnSpc>
              <a:spcBef>
                <a:spcPts val="0"/>
              </a:spcBef>
              <a:buClr>
                <a:srgbClr val="A20000"/>
              </a:buClr>
              <a:buFont typeface="Arial" panose="020B0604020202020204" pitchFamily="34" charset="0"/>
              <a:buChar char="•"/>
            </a:pPr>
            <a:r>
              <a:rPr lang="en-US" sz="1500" dirty="0">
                <a:solidFill>
                  <a:srgbClr val="A20000"/>
                </a:solidFill>
                <a:latin typeface="Calibri" panose="020F0502020204030204" pitchFamily="34" charset="0"/>
                <a:ea typeface="Calibri" panose="020F0502020204030204" pitchFamily="34" charset="0"/>
                <a:cs typeface="Calibri" panose="020F0502020204030204" pitchFamily="34" charset="0"/>
              </a:rPr>
              <a:t>More “cooperative” selling approach (better pricing, more integrated project management approach)</a:t>
            </a:r>
          </a:p>
          <a:p>
            <a:pPr marL="685800" lvl="1" indent="-342900">
              <a:lnSpc>
                <a:spcPct val="100000"/>
              </a:lnSpc>
              <a:spcBef>
                <a:spcPts val="0"/>
              </a:spcBef>
              <a:buClr>
                <a:srgbClr val="C00000"/>
              </a:buClr>
              <a:buFont typeface="Arial" panose="020B0604020202020204" pitchFamily="34" charset="0"/>
              <a:buChar char="•"/>
            </a:pPr>
            <a:r>
              <a:rPr lang="en-US" sz="1500" dirty="0">
                <a:solidFill>
                  <a:srgbClr val="A20000"/>
                </a:solidFill>
                <a:latin typeface="Calibri" panose="020F0502020204030204" pitchFamily="34" charset="0"/>
                <a:ea typeface="Calibri" panose="020F0502020204030204" pitchFamily="34" charset="0"/>
                <a:cs typeface="Calibri" panose="020F0502020204030204" pitchFamily="34" charset="0"/>
              </a:rPr>
              <a:t>Higher customer satisfaction and word of mouth marketing approach</a:t>
            </a:r>
            <a:endParaRPr lang="en-US" sz="15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285750">
              <a:lnSpc>
                <a:spcPct val="100000"/>
              </a:lnSpc>
              <a:spcBef>
                <a:spcPts val="0"/>
              </a:spcBef>
              <a:buClr>
                <a:schemeClr val="tx1"/>
              </a:buClr>
              <a:buSzPct val="100000"/>
            </a:pPr>
            <a:r>
              <a:rPr lang="en-US" sz="2000" b="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s://www.southernstatesllc.com/products/mobile-substations/mobile-substations</a:t>
            </a:r>
            <a:r>
              <a:rPr lang="en-US" sz="2000" b="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 </a:t>
            </a: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1790402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a:solidFill>
                  <a:schemeClr val="tx1"/>
                </a:solidFill>
                <a:latin typeface="Calibri" panose="020F0502020204030204" pitchFamily="34" charset="0"/>
                <a:ea typeface="Calibri" panose="020F0502020204030204" pitchFamily="34" charset="0"/>
                <a:cs typeface="Calibri" panose="020F0502020204030204" pitchFamily="34" charset="0"/>
              </a:rPr>
              <a:t>Grid Services Division Product and Market Focus </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8" y="1444752"/>
            <a:ext cx="10752040" cy="5320314"/>
          </a:xfrm>
        </p:spPr>
        <p:txBody>
          <a:bodyPr>
            <a:normAutofit/>
          </a:bodyPr>
          <a:lstStyle/>
          <a:p>
            <a:pPr marL="0" lvl="1" indent="0">
              <a:lnSpc>
                <a:spcPct val="100000"/>
              </a:lnSpc>
              <a:spcBef>
                <a:spcPts val="0"/>
              </a:spcBef>
              <a:buClr>
                <a:schemeClr val="tx1"/>
              </a:buClr>
              <a:buSzPct val="80000"/>
              <a:buNone/>
            </a:pPr>
            <a:r>
              <a:rPr lang="en-US" sz="2800" u="sng" dirty="0">
                <a:solidFill>
                  <a:schemeClr val="tx1"/>
                </a:solidFill>
                <a:latin typeface="Calibri" panose="020F0502020204030204" pitchFamily="34" charset="0"/>
                <a:ea typeface="Calibri" panose="020F0502020204030204" pitchFamily="34" charset="0"/>
                <a:cs typeface="Calibri" panose="020F0502020204030204" pitchFamily="34" charset="0"/>
              </a:rPr>
              <a:t>Grid Security Solutions</a:t>
            </a:r>
          </a:p>
          <a:p>
            <a:pPr marL="342900" lvl="1" indent="-342900">
              <a:lnSpc>
                <a:spcPct val="100000"/>
              </a:lnSpc>
              <a:spcBef>
                <a:spcPts val="0"/>
              </a:spcBef>
              <a:buClr>
                <a:schemeClr val="tx1"/>
              </a:buClr>
              <a:buSzPct val="100000"/>
              <a:buFont typeface="Wingdings" panose="05000000000000000000" pitchFamily="2" charset="2"/>
              <a:buChar char="Ø"/>
            </a:pPr>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Asset Protection</a:t>
            </a:r>
            <a:endParaRPr lang="en-US" sz="20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00000"/>
              </a:lnSpc>
              <a:spcBef>
                <a:spcPts val="0"/>
              </a:spcBef>
              <a:buClr>
                <a:srgbClr val="A20000"/>
              </a:buClr>
              <a:buFont typeface="Arial" panose="020B0604020202020204" pitchFamily="34" charset="0"/>
              <a:buChar char="•"/>
            </a:pPr>
            <a:r>
              <a:rPr lang="en-US" sz="1600" dirty="0">
                <a:solidFill>
                  <a:srgbClr val="A20000"/>
                </a:solidFill>
                <a:latin typeface="Calibri" panose="020F0502020204030204" pitchFamily="34" charset="0"/>
                <a:ea typeface="Calibri" panose="020F0502020204030204" pitchFamily="34" charset="0"/>
                <a:cs typeface="Calibri" panose="020F0502020204030204" pitchFamily="34" charset="0"/>
              </a:rPr>
              <a:t>UL-752 level 8 &amp; 10 compliant ballistic walls</a:t>
            </a:r>
          </a:p>
          <a:p>
            <a:pPr marL="685800" lvl="1" indent="-342900">
              <a:lnSpc>
                <a:spcPct val="100000"/>
              </a:lnSpc>
              <a:spcBef>
                <a:spcPts val="0"/>
              </a:spcBef>
              <a:buClr>
                <a:srgbClr val="A20000"/>
              </a:buClr>
              <a:buFont typeface="Arial" panose="020B0604020202020204" pitchFamily="34" charset="0"/>
              <a:buChar char="•"/>
            </a:pPr>
            <a:r>
              <a:rPr lang="en-US" sz="1600" dirty="0">
                <a:solidFill>
                  <a:srgbClr val="A20000"/>
                </a:solidFill>
                <a:latin typeface="Calibri" panose="020F0502020204030204" pitchFamily="34" charset="0"/>
                <a:ea typeface="Calibri" panose="020F0502020204030204" pitchFamily="34" charset="0"/>
                <a:cs typeface="Calibri" panose="020F0502020204030204" pitchFamily="34" charset="0"/>
              </a:rPr>
              <a:t>Opportunistic approach, smaller market and specific project needs</a:t>
            </a:r>
          </a:p>
          <a:p>
            <a:pPr marL="342900" lvl="1" indent="-342900">
              <a:lnSpc>
                <a:spcPct val="100000"/>
              </a:lnSpc>
              <a:spcBef>
                <a:spcPts val="0"/>
              </a:spcBef>
              <a:buClr>
                <a:schemeClr val="tx1"/>
              </a:buClr>
              <a:buSzPct val="100000"/>
              <a:buFont typeface="Wingdings" panose="05000000000000000000" pitchFamily="2" charset="2"/>
              <a:buChar char="Ø"/>
            </a:pPr>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Asset Monitoring</a:t>
            </a:r>
          </a:p>
          <a:p>
            <a:pPr marL="685800" lvl="1" indent="-342900">
              <a:lnSpc>
                <a:spcPct val="100000"/>
              </a:lnSpc>
              <a:spcBef>
                <a:spcPts val="0"/>
              </a:spcBef>
              <a:buClr>
                <a:srgbClr val="A20000"/>
              </a:buClr>
              <a:buFont typeface="Arial" panose="020B0604020202020204" pitchFamily="34" charset="0"/>
              <a:buChar char="•"/>
            </a:pPr>
            <a:r>
              <a:rPr lang="en-US" sz="1600" dirty="0">
                <a:solidFill>
                  <a:srgbClr val="A20000"/>
                </a:solidFill>
                <a:latin typeface="Calibri" panose="020F0502020204030204" pitchFamily="34" charset="0"/>
                <a:ea typeface="Calibri" panose="020F0502020204030204" pitchFamily="34" charset="0"/>
                <a:cs typeface="Calibri" panose="020F0502020204030204" pitchFamily="34" charset="0"/>
              </a:rPr>
              <a:t>Touchless monitoring solutions for critical assets enhances grid resilience, safety, and security while lowering O&amp;M costs</a:t>
            </a:r>
          </a:p>
          <a:p>
            <a:pPr marL="685800" lvl="1" indent="-342900">
              <a:lnSpc>
                <a:spcPct val="100000"/>
              </a:lnSpc>
              <a:spcBef>
                <a:spcPts val="0"/>
              </a:spcBef>
              <a:buClr>
                <a:srgbClr val="A20000"/>
              </a:buClr>
              <a:buFont typeface="Arial" panose="020B0604020202020204" pitchFamily="34" charset="0"/>
              <a:buChar char="•"/>
            </a:pPr>
            <a:r>
              <a:rPr lang="en-US" sz="1600" dirty="0">
                <a:solidFill>
                  <a:srgbClr val="A20000"/>
                </a:solidFill>
                <a:latin typeface="Calibri" panose="020F0502020204030204" pitchFamily="34" charset="0"/>
                <a:ea typeface="Calibri" panose="020F0502020204030204" pitchFamily="34" charset="0"/>
                <a:cs typeface="Calibri" panose="020F0502020204030204" pitchFamily="34" charset="0"/>
              </a:rPr>
              <a:t>In cooperation and with support of SWI</a:t>
            </a:r>
          </a:p>
          <a:p>
            <a:pPr marL="342900" lvl="1" indent="-342900">
              <a:lnSpc>
                <a:spcPct val="100000"/>
              </a:lnSpc>
              <a:spcBef>
                <a:spcPts val="0"/>
              </a:spcBef>
              <a:buClr>
                <a:schemeClr val="tx1"/>
              </a:buClr>
              <a:buSzPct val="100000"/>
              <a:buFont typeface="Wingdings" panose="05000000000000000000" pitchFamily="2" charset="2"/>
              <a:buChar char="Ø"/>
            </a:pPr>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Airspace awareness and protection</a:t>
            </a:r>
            <a:endParaRPr lang="en-US" sz="20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00000"/>
              </a:lnSpc>
              <a:spcBef>
                <a:spcPts val="0"/>
              </a:spcBef>
              <a:buClr>
                <a:srgbClr val="A20000"/>
              </a:buClr>
              <a:buFont typeface="Arial" panose="020B0604020202020204" pitchFamily="34" charset="0"/>
              <a:buChar char="•"/>
            </a:pPr>
            <a:r>
              <a:rPr lang="en-US" sz="1600" dirty="0">
                <a:solidFill>
                  <a:srgbClr val="A20000"/>
                </a:solidFill>
                <a:latin typeface="Calibri" panose="020F0502020204030204" pitchFamily="34" charset="0"/>
                <a:ea typeface="Calibri" panose="020F0502020204030204" pitchFamily="34" charset="0"/>
                <a:cs typeface="Calibri" panose="020F0502020204030204" pitchFamily="34" charset="0"/>
              </a:rPr>
              <a:t>TrueView® radar system – drone tracking system</a:t>
            </a:r>
          </a:p>
          <a:p>
            <a:pPr marL="685800" lvl="1" indent="-342900">
              <a:lnSpc>
                <a:spcPct val="100000"/>
              </a:lnSpc>
              <a:spcBef>
                <a:spcPts val="0"/>
              </a:spcBef>
              <a:buClr>
                <a:srgbClr val="A20000"/>
              </a:buClr>
              <a:buFont typeface="Arial" panose="020B0604020202020204" pitchFamily="34" charset="0"/>
              <a:buChar char="•"/>
            </a:pPr>
            <a:r>
              <a:rPr lang="en-US" sz="1600" dirty="0" err="1">
                <a:solidFill>
                  <a:srgbClr val="A20000"/>
                </a:solidFill>
                <a:latin typeface="Calibri" panose="020F0502020204030204" pitchFamily="34" charset="0"/>
                <a:ea typeface="Calibri" panose="020F0502020204030204" pitchFamily="34" charset="0"/>
                <a:cs typeface="Calibri" panose="020F0502020204030204" pitchFamily="34" charset="0"/>
              </a:rPr>
              <a:t>SkyDome</a:t>
            </a:r>
            <a:r>
              <a:rPr lang="en-US" sz="1600" dirty="0">
                <a:solidFill>
                  <a:srgbClr val="A20000"/>
                </a:solidFill>
                <a:latin typeface="Calibri" panose="020F0502020204030204" pitchFamily="34" charset="0"/>
                <a:ea typeface="Calibri" panose="020F0502020204030204" pitchFamily="34" charset="0"/>
                <a:cs typeface="Calibri" panose="020F0502020204030204" pitchFamily="34" charset="0"/>
              </a:rPr>
              <a:t>®</a:t>
            </a:r>
            <a:r>
              <a:rPr lang="en-US" sz="1600" baseline="30000" dirty="0">
                <a:solidFill>
                  <a:srgbClr val="A20000"/>
                </a:solidFill>
                <a:latin typeface="Calibri" panose="020F0502020204030204" pitchFamily="34" charset="0"/>
                <a:ea typeface="Calibri" panose="020F0502020204030204" pitchFamily="34" charset="0"/>
                <a:cs typeface="Calibri" panose="020F0502020204030204" pitchFamily="34" charset="0"/>
              </a:rPr>
              <a:t> </a:t>
            </a:r>
            <a:r>
              <a:rPr lang="en-US" sz="1600" dirty="0">
                <a:solidFill>
                  <a:srgbClr val="A20000"/>
                </a:solidFill>
                <a:latin typeface="Calibri" panose="020F0502020204030204" pitchFamily="34" charset="0"/>
                <a:ea typeface="Calibri" panose="020F0502020204030204" pitchFamily="34" charset="0"/>
                <a:cs typeface="Calibri" panose="020F0502020204030204" pitchFamily="34" charset="0"/>
              </a:rPr>
              <a:t> Manager® -  command and control software</a:t>
            </a:r>
          </a:p>
          <a:p>
            <a:pPr marL="685800" lvl="1" indent="-342900">
              <a:lnSpc>
                <a:spcPct val="100000"/>
              </a:lnSpc>
              <a:spcBef>
                <a:spcPts val="0"/>
              </a:spcBef>
              <a:buClr>
                <a:srgbClr val="A20000"/>
              </a:buClr>
              <a:buFont typeface="Arial" panose="020B0604020202020204" pitchFamily="34" charset="0"/>
              <a:buChar char="•"/>
            </a:pPr>
            <a:r>
              <a:rPr lang="en-US" sz="1600" dirty="0" err="1">
                <a:solidFill>
                  <a:srgbClr val="A20000"/>
                </a:solidFill>
                <a:latin typeface="Calibri" panose="020F0502020204030204" pitchFamily="34" charset="0"/>
                <a:ea typeface="Calibri" panose="020F0502020204030204" pitchFamily="34" charset="0"/>
                <a:cs typeface="Calibri" panose="020F0502020204030204" pitchFamily="34" charset="0"/>
              </a:rPr>
              <a:t>DroneHanger</a:t>
            </a:r>
            <a:r>
              <a:rPr lang="en-US" sz="1600" baseline="30000" dirty="0">
                <a:solidFill>
                  <a:srgbClr val="A20000"/>
                </a:solidFill>
                <a:latin typeface="Calibri" panose="020F0502020204030204" pitchFamily="34" charset="0"/>
                <a:ea typeface="Calibri" panose="020F0502020204030204" pitchFamily="34" charset="0"/>
                <a:cs typeface="Calibri" panose="020F0502020204030204" pitchFamily="34" charset="0"/>
              </a:rPr>
              <a:t>®</a:t>
            </a:r>
            <a:r>
              <a:rPr lang="en-US" sz="1600" dirty="0">
                <a:solidFill>
                  <a:srgbClr val="A20000"/>
                </a:solidFill>
                <a:latin typeface="Calibri" panose="020F0502020204030204" pitchFamily="34" charset="0"/>
                <a:ea typeface="Calibri" panose="020F0502020204030204" pitchFamily="34" charset="0"/>
                <a:cs typeface="Calibri" panose="020F0502020204030204" pitchFamily="34" charset="0"/>
              </a:rPr>
              <a:t> and </a:t>
            </a:r>
            <a:r>
              <a:rPr lang="en-US" sz="1600" dirty="0" err="1">
                <a:solidFill>
                  <a:srgbClr val="A20000"/>
                </a:solidFill>
                <a:latin typeface="Calibri" panose="020F0502020204030204" pitchFamily="34" charset="0"/>
                <a:ea typeface="Calibri" panose="020F0502020204030204" pitchFamily="34" charset="0"/>
                <a:cs typeface="Calibri" panose="020F0502020204030204" pitchFamily="34" charset="0"/>
              </a:rPr>
              <a:t>DroneHunter</a:t>
            </a:r>
            <a:r>
              <a:rPr lang="en-US" sz="1600" dirty="0">
                <a:solidFill>
                  <a:srgbClr val="A20000"/>
                </a:solidFill>
                <a:latin typeface="Calibri" panose="020F0502020204030204" pitchFamily="34" charset="0"/>
                <a:ea typeface="Calibri" panose="020F0502020204030204" pitchFamily="34" charset="0"/>
                <a:cs typeface="Calibri" panose="020F0502020204030204" pitchFamily="34" charset="0"/>
              </a:rPr>
              <a:t>®</a:t>
            </a:r>
            <a:r>
              <a:rPr lang="en-US" sz="1600" baseline="30000" dirty="0">
                <a:solidFill>
                  <a:srgbClr val="A20000"/>
                </a:solidFill>
                <a:latin typeface="Calibri" panose="020F0502020204030204" pitchFamily="34" charset="0"/>
                <a:ea typeface="Calibri" panose="020F0502020204030204" pitchFamily="34" charset="0"/>
                <a:cs typeface="Calibri" panose="020F0502020204030204" pitchFamily="34" charset="0"/>
              </a:rPr>
              <a:t> </a:t>
            </a:r>
            <a:r>
              <a:rPr lang="en-US" sz="1600" dirty="0">
                <a:solidFill>
                  <a:srgbClr val="A20000"/>
                </a:solidFill>
                <a:latin typeface="Calibri" panose="020F0502020204030204" pitchFamily="34" charset="0"/>
                <a:ea typeface="Calibri" panose="020F0502020204030204" pitchFamily="34" charset="0"/>
                <a:cs typeface="Calibri" panose="020F0502020204030204" pitchFamily="34" charset="0"/>
              </a:rPr>
              <a:t>– fully autonomous, radar guided, and purpose-built drone designed to identify, interfere, and (with possible upcoming legislation) capture or neutralize unauthorized drones in substation, data center, etc., airspace </a:t>
            </a:r>
          </a:p>
          <a:p>
            <a:pPr marL="685800" lvl="1" indent="-342900">
              <a:lnSpc>
                <a:spcPct val="100000"/>
              </a:lnSpc>
              <a:spcBef>
                <a:spcPts val="0"/>
              </a:spcBef>
              <a:buClr>
                <a:srgbClr val="A20000"/>
              </a:buClr>
              <a:buFont typeface="Arial" panose="020B0604020202020204" pitchFamily="34" charset="0"/>
              <a:buChar char="•"/>
            </a:pPr>
            <a:r>
              <a:rPr lang="en-US" sz="1600" dirty="0">
                <a:solidFill>
                  <a:srgbClr val="A20000"/>
                </a:solidFill>
                <a:latin typeface="Calibri" panose="020F0502020204030204" pitchFamily="34" charset="0"/>
                <a:ea typeface="Calibri" panose="020F0502020204030204" pitchFamily="34" charset="0"/>
                <a:cs typeface="Calibri" panose="020F0502020204030204" pitchFamily="34" charset="0"/>
              </a:rPr>
              <a:t>In cooperation and with support of FORTEM Technologies</a:t>
            </a:r>
          </a:p>
          <a:p>
            <a:pPr marL="685800" lvl="1" indent="-342900">
              <a:lnSpc>
                <a:spcPct val="100000"/>
              </a:lnSpc>
              <a:spcBef>
                <a:spcPts val="0"/>
              </a:spcBef>
              <a:buClr>
                <a:srgbClr val="A20000"/>
              </a:buClr>
              <a:buFont typeface="Arial" panose="020B0604020202020204" pitchFamily="34" charset="0"/>
              <a:buChar char="•"/>
            </a:pPr>
            <a:r>
              <a:rPr lang="en-US" sz="16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s://www.southernstatesllc.com/products/grid-security-products/airspace-security</a:t>
            </a:r>
            <a:r>
              <a:rPr lang="en-US" sz="16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 </a:t>
            </a: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2172089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200" i="0" dirty="0">
                <a:solidFill>
                  <a:schemeClr val="tx1"/>
                </a:solidFill>
                <a:latin typeface="Calibri" panose="020F0502020204030204" pitchFamily="34" charset="0"/>
                <a:ea typeface="Calibri" panose="020F0502020204030204" pitchFamily="34" charset="0"/>
                <a:cs typeface="Calibri" panose="020F0502020204030204" pitchFamily="34" charset="0"/>
              </a:rPr>
              <a:t>Grid Services Division Recent Intra-Group Collaborations</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8" y="1444752"/>
            <a:ext cx="11160252" cy="4978738"/>
          </a:xfrm>
        </p:spPr>
        <p:txBody>
          <a:bodyPr>
            <a:normAutofit fontScale="92500" lnSpcReduction="10000"/>
          </a:bodyPr>
          <a:lstStyle/>
          <a:p>
            <a:pPr marL="342900" lvl="1" indent="-342900">
              <a:lnSpc>
                <a:spcPct val="10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Northern Transformers</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Provided many of their transformers on Mobile Solutions Products</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Northern installed a transformer on an SSL designed trailer and helped with complete transformer accessories installation</a:t>
            </a:r>
          </a:p>
          <a:p>
            <a:pPr marL="342900" lvl="1" indent="-342900">
              <a:lnSpc>
                <a:spcPct val="100000"/>
              </a:lnSpc>
              <a:spcBef>
                <a:spcPts val="0"/>
              </a:spcBef>
              <a:buClr>
                <a:schemeClr val="tx1"/>
              </a:buClr>
              <a:buSzPct val="100000"/>
              <a:buFont typeface="Wingdings" panose="05000000000000000000" pitchFamily="2" charset="2"/>
              <a:buChar char="Ø"/>
            </a:pPr>
            <a:r>
              <a:rPr lang="en-US" sz="2400" dirty="0" err="1">
                <a:solidFill>
                  <a:schemeClr val="tx1"/>
                </a:solidFill>
                <a:latin typeface="Calibri" panose="020F0502020204030204" pitchFamily="34" charset="0"/>
                <a:ea typeface="Calibri" panose="020F0502020204030204" pitchFamily="34" charset="0"/>
                <a:cs typeface="Calibri" panose="020F0502020204030204" pitchFamily="34" charset="0"/>
              </a:rPr>
              <a:t>Diram</a:t>
            </a: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 / </a:t>
            </a:r>
            <a:r>
              <a:rPr lang="en-US" sz="2400" dirty="0" err="1">
                <a:solidFill>
                  <a:schemeClr val="tx1"/>
                </a:solidFill>
                <a:latin typeface="Calibri" panose="020F0502020204030204" pitchFamily="34" charset="0"/>
                <a:ea typeface="Calibri" panose="020F0502020204030204" pitchFamily="34" charset="0"/>
                <a:cs typeface="Calibri" panose="020F0502020204030204" pitchFamily="34" charset="0"/>
              </a:rPr>
              <a:t>Advansa</a:t>
            </a:r>
            <a:endPar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Provides complete P&amp;C designs for Mobile Solutions projects</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Integrated designs into complete cabinet layouts</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Complete procure and assembly of the design to include cabinets, devices, wiring, and testing</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Team traveled to MG Power location in Canada to assist (and in cases, lead) the testing and troubleshooting of our CNL project that was executed in Canada</a:t>
            </a:r>
          </a:p>
          <a:p>
            <a:pPr marL="342900" lvl="1" indent="-342900">
              <a:lnSpc>
                <a:spcPct val="10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ACT/MG Power</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Supported Mobile Solutions in completing the CNL project in Canada due to tariff uncertainty</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Expertise provided greatly helped us complete the most challenging project / customer to date</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Grid Security Europe and Middle East promotion”</a:t>
            </a:r>
          </a:p>
          <a:p>
            <a:pPr marL="285750">
              <a:lnSpc>
                <a:spcPct val="100000"/>
              </a:lnSpc>
              <a:spcBef>
                <a:spcPts val="0"/>
              </a:spcBef>
              <a:buClr>
                <a:schemeClr val="tx1"/>
              </a:buClr>
              <a:buSzPct val="100000"/>
            </a:pPr>
            <a:r>
              <a:rPr lang="en-US" sz="2400" b="0" dirty="0">
                <a:latin typeface="Calibri" panose="020F0502020204030204" pitchFamily="34" charset="0"/>
                <a:ea typeface="Calibri" panose="020F0502020204030204" pitchFamily="34" charset="0"/>
                <a:cs typeface="Calibri" panose="020F0502020204030204" pitchFamily="34" charset="0"/>
              </a:rPr>
              <a:t>System with Intelligence</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Supported Grid Security Solutions with Asset Monitoring products and services</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Introduction of Immersive Selling Tool</a:t>
            </a:r>
          </a:p>
          <a:p>
            <a:pPr marL="342900" lvl="1" indent="-342900">
              <a:lnSpc>
                <a:spcPct val="10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Vanguard Electric, LLC</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Supply Chain</a:t>
            </a: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747115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4B9DE94-06FD-BA6E-27D9-D5411C1CAB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6" name="think-cell data - do not delete" hidden="1">
                        <a:extLst>
                          <a:ext uri="{FF2B5EF4-FFF2-40B4-BE49-F238E27FC236}">
                            <a16:creationId xmlns:a16="http://schemas.microsoft.com/office/drawing/2014/main" id="{74B9DE94-06FD-BA6E-27D9-D5411C1CAB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EFA49A-D6F0-94EB-2E4A-46AC510574DD}"/>
              </a:ext>
            </a:extLst>
          </p:cNvPr>
          <p:cNvSpPr>
            <a:spLocks noGrp="1"/>
          </p:cNvSpPr>
          <p:nvPr>
            <p:ph type="title"/>
          </p:nvPr>
        </p:nvSpPr>
        <p:spPr>
          <a:xfrm>
            <a:off x="518584" y="1869548"/>
            <a:ext cx="7711016" cy="2124075"/>
          </a:xfrm>
        </p:spPr>
        <p:txBody>
          <a:bodyPr vert="horz"/>
          <a:lstStyle/>
          <a:p>
            <a:r>
              <a:rPr lang="en-US" sz="4000" dirty="0">
                <a:latin typeface="Calibri" panose="020F0502020204030204" pitchFamily="34" charset="0"/>
                <a:ea typeface="Calibri" panose="020F0502020204030204" pitchFamily="34" charset="0"/>
                <a:cs typeface="Calibri" panose="020F0502020204030204" pitchFamily="34" charset="0"/>
              </a:rPr>
              <a:t>Advanced Technologies Development</a:t>
            </a:r>
          </a:p>
        </p:txBody>
      </p:sp>
      <p:pic>
        <p:nvPicPr>
          <p:cNvPr id="5" name="Picture 4" descr="A logo with a black background&#10;&#10;Description automatically generated">
            <a:extLst>
              <a:ext uri="{FF2B5EF4-FFF2-40B4-BE49-F238E27FC236}">
                <a16:creationId xmlns:a16="http://schemas.microsoft.com/office/drawing/2014/main" id="{D3A6B119-F6CC-4047-805C-52E2D186234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92" y="228600"/>
            <a:ext cx="2197848" cy="928955"/>
          </a:xfrm>
          <a:prstGeom prst="rect">
            <a:avLst/>
          </a:prstGeom>
        </p:spPr>
      </p:pic>
      <p:grpSp>
        <p:nvGrpSpPr>
          <p:cNvPr id="9" name="Group 8">
            <a:extLst>
              <a:ext uri="{FF2B5EF4-FFF2-40B4-BE49-F238E27FC236}">
                <a16:creationId xmlns:a16="http://schemas.microsoft.com/office/drawing/2014/main" id="{509B0318-386D-4606-B2AF-8CD6F83E3F41}"/>
              </a:ext>
            </a:extLst>
          </p:cNvPr>
          <p:cNvGrpSpPr>
            <a:grpSpLocks noChangeAspect="1"/>
          </p:cNvGrpSpPr>
          <p:nvPr/>
        </p:nvGrpSpPr>
        <p:grpSpPr>
          <a:xfrm>
            <a:off x="8032715" y="977907"/>
            <a:ext cx="3897612" cy="5359260"/>
            <a:chOff x="7253724" y="14815"/>
            <a:chExt cx="4844050" cy="6660622"/>
          </a:xfrm>
        </p:grpSpPr>
        <p:pic>
          <p:nvPicPr>
            <p:cNvPr id="10" name="Picture 9">
              <a:extLst>
                <a:ext uri="{FF2B5EF4-FFF2-40B4-BE49-F238E27FC236}">
                  <a16:creationId xmlns:a16="http://schemas.microsoft.com/office/drawing/2014/main" id="{E68A80DC-BF1D-4A76-B26B-F2203F46DC5C}"/>
                </a:ext>
              </a:extLst>
            </p:cNvPr>
            <p:cNvPicPr>
              <a:picLocks noChangeAspect="1"/>
            </p:cNvPicPr>
            <p:nvPr/>
          </p:nvPicPr>
          <p:blipFill>
            <a:blip r:embed="rId7">
              <a:duotone>
                <a:prstClr val="black"/>
                <a:srgbClr val="1F497D">
                  <a:tint val="45000"/>
                  <a:satMod val="400000"/>
                </a:srgbClr>
              </a:duotone>
              <a:extLst>
                <a:ext uri="{BEBA8EAE-BF5A-486C-A8C5-ECC9F3942E4B}">
                  <a14:imgProps xmlns:a14="http://schemas.microsoft.com/office/drawing/2010/main">
                    <a14:imgLayer r:embed="rId8">
                      <a14:imgEffect>
                        <a14:colorTemperature colorTemp="11200"/>
                      </a14:imgEffect>
                      <a14:imgEffect>
                        <a14:saturation sat="0"/>
                      </a14:imgEffect>
                    </a14:imgLayer>
                  </a14:imgProps>
                </a:ext>
                <a:ext uri="{28A0092B-C50C-407E-A947-70E740481C1C}">
                  <a14:useLocalDpi xmlns:a14="http://schemas.microsoft.com/office/drawing/2010/main"/>
                </a:ext>
              </a:extLst>
            </a:blip>
            <a:srcRect/>
            <a:stretch>
              <a:fillRect/>
            </a:stretch>
          </p:blipFill>
          <p:spPr>
            <a:xfrm>
              <a:off x="7253724" y="14815"/>
              <a:ext cx="4844050" cy="6660622"/>
            </a:xfrm>
            <a:prstGeom prst="rect">
              <a:avLst/>
            </a:prstGeom>
          </p:spPr>
        </p:pic>
        <p:sp>
          <p:nvSpPr>
            <p:cNvPr id="11" name="Freeform 16">
              <a:extLst>
                <a:ext uri="{FF2B5EF4-FFF2-40B4-BE49-F238E27FC236}">
                  <a16:creationId xmlns:a16="http://schemas.microsoft.com/office/drawing/2014/main" id="{D8DD069E-A48A-4888-9B90-13338F941BFB}"/>
                </a:ext>
              </a:extLst>
            </p:cNvPr>
            <p:cNvSpPr/>
            <p:nvPr/>
          </p:nvSpPr>
          <p:spPr>
            <a:xfrm>
              <a:off x="9542095" y="5419160"/>
              <a:ext cx="462348" cy="1136048"/>
            </a:xfrm>
            <a:custGeom>
              <a:avLst/>
              <a:gdLst>
                <a:gd name="connsiteX0" fmla="*/ 0 w 1080654"/>
                <a:gd name="connsiteY0" fmla="*/ 0 h 3483788"/>
                <a:gd name="connsiteX1" fmla="*/ 0 w 1080654"/>
                <a:gd name="connsiteY1" fmla="*/ 347623 h 3483788"/>
                <a:gd name="connsiteX2" fmla="*/ 748145 w 1080654"/>
                <a:gd name="connsiteY2" fmla="*/ 491207 h 3483788"/>
                <a:gd name="connsiteX3" fmla="*/ 763259 w 1080654"/>
                <a:gd name="connsiteY3" fmla="*/ 3483788 h 3483788"/>
                <a:gd name="connsiteX4" fmla="*/ 1080654 w 1080654"/>
                <a:gd name="connsiteY4" fmla="*/ 3468674 h 3483788"/>
                <a:gd name="connsiteX5" fmla="*/ 1080654 w 1080654"/>
                <a:gd name="connsiteY5" fmla="*/ 2728086 h 3483788"/>
                <a:gd name="connsiteX0" fmla="*/ 24 w 1080678"/>
                <a:gd name="connsiteY0" fmla="*/ 0 h 3483788"/>
                <a:gd name="connsiteX1" fmla="*/ 188950 w 1080678"/>
                <a:gd name="connsiteY1" fmla="*/ 15114 h 3483788"/>
                <a:gd name="connsiteX2" fmla="*/ 24 w 1080678"/>
                <a:gd name="connsiteY2" fmla="*/ 347623 h 3483788"/>
                <a:gd name="connsiteX3" fmla="*/ 748169 w 1080678"/>
                <a:gd name="connsiteY3" fmla="*/ 491207 h 3483788"/>
                <a:gd name="connsiteX4" fmla="*/ 763283 w 1080678"/>
                <a:gd name="connsiteY4" fmla="*/ 3483788 h 3483788"/>
                <a:gd name="connsiteX5" fmla="*/ 1080678 w 1080678"/>
                <a:gd name="connsiteY5" fmla="*/ 3468674 h 3483788"/>
                <a:gd name="connsiteX6" fmla="*/ 1080678 w 1080678"/>
                <a:gd name="connsiteY6" fmla="*/ 2728086 h 3483788"/>
                <a:gd name="connsiteX0" fmla="*/ 15 w 1194024"/>
                <a:gd name="connsiteY0" fmla="*/ 0 h 3498902"/>
                <a:gd name="connsiteX1" fmla="*/ 302296 w 1194024"/>
                <a:gd name="connsiteY1" fmla="*/ 30228 h 3498902"/>
                <a:gd name="connsiteX2" fmla="*/ 113370 w 1194024"/>
                <a:gd name="connsiteY2" fmla="*/ 362737 h 3498902"/>
                <a:gd name="connsiteX3" fmla="*/ 861515 w 1194024"/>
                <a:gd name="connsiteY3" fmla="*/ 506321 h 3498902"/>
                <a:gd name="connsiteX4" fmla="*/ 876629 w 1194024"/>
                <a:gd name="connsiteY4" fmla="*/ 3498902 h 3498902"/>
                <a:gd name="connsiteX5" fmla="*/ 1194024 w 1194024"/>
                <a:gd name="connsiteY5" fmla="*/ 3483788 h 3498902"/>
                <a:gd name="connsiteX6" fmla="*/ 1194024 w 1194024"/>
                <a:gd name="connsiteY6" fmla="*/ 2743200 h 3498902"/>
                <a:gd name="connsiteX0" fmla="*/ 39 w 1194048"/>
                <a:gd name="connsiteY0" fmla="*/ 0 h 3498902"/>
                <a:gd name="connsiteX1" fmla="*/ 113394 w 1194048"/>
                <a:gd name="connsiteY1" fmla="*/ 37785 h 3498902"/>
                <a:gd name="connsiteX2" fmla="*/ 113394 w 1194048"/>
                <a:gd name="connsiteY2" fmla="*/ 362737 h 3498902"/>
                <a:gd name="connsiteX3" fmla="*/ 861539 w 1194048"/>
                <a:gd name="connsiteY3" fmla="*/ 506321 h 3498902"/>
                <a:gd name="connsiteX4" fmla="*/ 876653 w 1194048"/>
                <a:gd name="connsiteY4" fmla="*/ 3498902 h 3498902"/>
                <a:gd name="connsiteX5" fmla="*/ 1194048 w 1194048"/>
                <a:gd name="connsiteY5" fmla="*/ 3483788 h 3498902"/>
                <a:gd name="connsiteX6" fmla="*/ 1194048 w 1194048"/>
                <a:gd name="connsiteY6" fmla="*/ 2743200 h 3498902"/>
                <a:gd name="connsiteX0" fmla="*/ 34 w 1194043"/>
                <a:gd name="connsiteY0" fmla="*/ 11634 h 3510536"/>
                <a:gd name="connsiteX1" fmla="*/ 136060 w 1194043"/>
                <a:gd name="connsiteY1" fmla="*/ 11634 h 3510536"/>
                <a:gd name="connsiteX2" fmla="*/ 113389 w 1194043"/>
                <a:gd name="connsiteY2" fmla="*/ 374371 h 3510536"/>
                <a:gd name="connsiteX3" fmla="*/ 861534 w 1194043"/>
                <a:gd name="connsiteY3" fmla="*/ 517955 h 3510536"/>
                <a:gd name="connsiteX4" fmla="*/ 876648 w 1194043"/>
                <a:gd name="connsiteY4" fmla="*/ 3510536 h 3510536"/>
                <a:gd name="connsiteX5" fmla="*/ 1194043 w 1194043"/>
                <a:gd name="connsiteY5" fmla="*/ 3495422 h 3510536"/>
                <a:gd name="connsiteX6" fmla="*/ 1194043 w 1194043"/>
                <a:gd name="connsiteY6" fmla="*/ 2754834 h 3510536"/>
                <a:gd name="connsiteX0" fmla="*/ 32 w 1194041"/>
                <a:gd name="connsiteY0" fmla="*/ 0 h 3498902"/>
                <a:gd name="connsiteX1" fmla="*/ 143615 w 1194041"/>
                <a:gd name="connsiteY1" fmla="*/ 22671 h 3498902"/>
                <a:gd name="connsiteX2" fmla="*/ 113387 w 1194041"/>
                <a:gd name="connsiteY2" fmla="*/ 362737 h 3498902"/>
                <a:gd name="connsiteX3" fmla="*/ 861532 w 1194041"/>
                <a:gd name="connsiteY3" fmla="*/ 506321 h 3498902"/>
                <a:gd name="connsiteX4" fmla="*/ 876646 w 1194041"/>
                <a:gd name="connsiteY4" fmla="*/ 3498902 h 3498902"/>
                <a:gd name="connsiteX5" fmla="*/ 1194041 w 1194041"/>
                <a:gd name="connsiteY5" fmla="*/ 3483788 h 3498902"/>
                <a:gd name="connsiteX6" fmla="*/ 1194041 w 1194041"/>
                <a:gd name="connsiteY6" fmla="*/ 2743200 h 3498902"/>
                <a:gd name="connsiteX0" fmla="*/ 37 w 1194046"/>
                <a:gd name="connsiteY0" fmla="*/ 0 h 3498902"/>
                <a:gd name="connsiteX1" fmla="*/ 120949 w 1194046"/>
                <a:gd name="connsiteY1" fmla="*/ 37785 h 3498902"/>
                <a:gd name="connsiteX2" fmla="*/ 113392 w 1194046"/>
                <a:gd name="connsiteY2" fmla="*/ 362737 h 3498902"/>
                <a:gd name="connsiteX3" fmla="*/ 861537 w 1194046"/>
                <a:gd name="connsiteY3" fmla="*/ 506321 h 3498902"/>
                <a:gd name="connsiteX4" fmla="*/ 876651 w 1194046"/>
                <a:gd name="connsiteY4" fmla="*/ 3498902 h 3498902"/>
                <a:gd name="connsiteX5" fmla="*/ 1194046 w 1194046"/>
                <a:gd name="connsiteY5" fmla="*/ 3483788 h 3498902"/>
                <a:gd name="connsiteX6" fmla="*/ 1194046 w 1194046"/>
                <a:gd name="connsiteY6" fmla="*/ 2743200 h 3498902"/>
                <a:gd name="connsiteX0" fmla="*/ 40 w 1186492"/>
                <a:gd name="connsiteY0" fmla="*/ 0 h 3476231"/>
                <a:gd name="connsiteX1" fmla="*/ 113395 w 1186492"/>
                <a:gd name="connsiteY1" fmla="*/ 15114 h 3476231"/>
                <a:gd name="connsiteX2" fmla="*/ 105838 w 1186492"/>
                <a:gd name="connsiteY2" fmla="*/ 340066 h 3476231"/>
                <a:gd name="connsiteX3" fmla="*/ 853983 w 1186492"/>
                <a:gd name="connsiteY3" fmla="*/ 483650 h 3476231"/>
                <a:gd name="connsiteX4" fmla="*/ 869097 w 1186492"/>
                <a:gd name="connsiteY4" fmla="*/ 3476231 h 3476231"/>
                <a:gd name="connsiteX5" fmla="*/ 1186492 w 1186492"/>
                <a:gd name="connsiteY5" fmla="*/ 3461117 h 3476231"/>
                <a:gd name="connsiteX6" fmla="*/ 1186492 w 1186492"/>
                <a:gd name="connsiteY6" fmla="*/ 2720529 h 3476231"/>
                <a:gd name="connsiteX0" fmla="*/ 43 w 1178938"/>
                <a:gd name="connsiteY0" fmla="*/ 0 h 3710499"/>
                <a:gd name="connsiteX1" fmla="*/ 105841 w 1178938"/>
                <a:gd name="connsiteY1" fmla="*/ 249382 h 3710499"/>
                <a:gd name="connsiteX2" fmla="*/ 98284 w 1178938"/>
                <a:gd name="connsiteY2" fmla="*/ 574334 h 3710499"/>
                <a:gd name="connsiteX3" fmla="*/ 846429 w 1178938"/>
                <a:gd name="connsiteY3" fmla="*/ 717918 h 3710499"/>
                <a:gd name="connsiteX4" fmla="*/ 861543 w 1178938"/>
                <a:gd name="connsiteY4" fmla="*/ 3710499 h 3710499"/>
                <a:gd name="connsiteX5" fmla="*/ 1178938 w 1178938"/>
                <a:gd name="connsiteY5" fmla="*/ 3695385 h 3710499"/>
                <a:gd name="connsiteX6" fmla="*/ 1178938 w 1178938"/>
                <a:gd name="connsiteY6" fmla="*/ 2954797 h 3710499"/>
                <a:gd name="connsiteX0" fmla="*/ 35 w 1201601"/>
                <a:gd name="connsiteY0" fmla="*/ 0 h 3514016"/>
                <a:gd name="connsiteX1" fmla="*/ 128504 w 1201601"/>
                <a:gd name="connsiteY1" fmla="*/ 52899 h 3514016"/>
                <a:gd name="connsiteX2" fmla="*/ 120947 w 1201601"/>
                <a:gd name="connsiteY2" fmla="*/ 377851 h 3514016"/>
                <a:gd name="connsiteX3" fmla="*/ 869092 w 1201601"/>
                <a:gd name="connsiteY3" fmla="*/ 521435 h 3514016"/>
                <a:gd name="connsiteX4" fmla="*/ 884206 w 1201601"/>
                <a:gd name="connsiteY4" fmla="*/ 3514016 h 3514016"/>
                <a:gd name="connsiteX5" fmla="*/ 1201601 w 1201601"/>
                <a:gd name="connsiteY5" fmla="*/ 3498902 h 3514016"/>
                <a:gd name="connsiteX6" fmla="*/ 1201601 w 1201601"/>
                <a:gd name="connsiteY6" fmla="*/ 2758314 h 3514016"/>
                <a:gd name="connsiteX0" fmla="*/ 35 w 1201601"/>
                <a:gd name="connsiteY0" fmla="*/ 0 h 3483788"/>
                <a:gd name="connsiteX1" fmla="*/ 128504 w 1201601"/>
                <a:gd name="connsiteY1" fmla="*/ 22671 h 3483788"/>
                <a:gd name="connsiteX2" fmla="*/ 120947 w 1201601"/>
                <a:gd name="connsiteY2" fmla="*/ 347623 h 3483788"/>
                <a:gd name="connsiteX3" fmla="*/ 869092 w 1201601"/>
                <a:gd name="connsiteY3" fmla="*/ 491207 h 3483788"/>
                <a:gd name="connsiteX4" fmla="*/ 884206 w 1201601"/>
                <a:gd name="connsiteY4" fmla="*/ 3483788 h 3483788"/>
                <a:gd name="connsiteX5" fmla="*/ 1201601 w 1201601"/>
                <a:gd name="connsiteY5" fmla="*/ 3468674 h 3483788"/>
                <a:gd name="connsiteX6" fmla="*/ 1201601 w 1201601"/>
                <a:gd name="connsiteY6" fmla="*/ 2728086 h 3483788"/>
                <a:gd name="connsiteX0" fmla="*/ 35 w 1201601"/>
                <a:gd name="connsiteY0" fmla="*/ 0 h 3506459"/>
                <a:gd name="connsiteX1" fmla="*/ 128504 w 1201601"/>
                <a:gd name="connsiteY1" fmla="*/ 45342 h 3506459"/>
                <a:gd name="connsiteX2" fmla="*/ 120947 w 1201601"/>
                <a:gd name="connsiteY2" fmla="*/ 370294 h 3506459"/>
                <a:gd name="connsiteX3" fmla="*/ 869092 w 1201601"/>
                <a:gd name="connsiteY3" fmla="*/ 513878 h 3506459"/>
                <a:gd name="connsiteX4" fmla="*/ 884206 w 1201601"/>
                <a:gd name="connsiteY4" fmla="*/ 3506459 h 3506459"/>
                <a:gd name="connsiteX5" fmla="*/ 1201601 w 1201601"/>
                <a:gd name="connsiteY5" fmla="*/ 3491345 h 3506459"/>
                <a:gd name="connsiteX6" fmla="*/ 1201601 w 1201601"/>
                <a:gd name="connsiteY6" fmla="*/ 2750757 h 3506459"/>
                <a:gd name="connsiteX0" fmla="*/ 35 w 1201601"/>
                <a:gd name="connsiteY0" fmla="*/ 0 h 3474709"/>
                <a:gd name="connsiteX1" fmla="*/ 128504 w 1201601"/>
                <a:gd name="connsiteY1" fmla="*/ 13592 h 3474709"/>
                <a:gd name="connsiteX2" fmla="*/ 120947 w 1201601"/>
                <a:gd name="connsiteY2" fmla="*/ 338544 h 3474709"/>
                <a:gd name="connsiteX3" fmla="*/ 869092 w 1201601"/>
                <a:gd name="connsiteY3" fmla="*/ 482128 h 3474709"/>
                <a:gd name="connsiteX4" fmla="*/ 884206 w 1201601"/>
                <a:gd name="connsiteY4" fmla="*/ 3474709 h 3474709"/>
                <a:gd name="connsiteX5" fmla="*/ 1201601 w 1201601"/>
                <a:gd name="connsiteY5" fmla="*/ 3459595 h 3474709"/>
                <a:gd name="connsiteX6" fmla="*/ 1201601 w 1201601"/>
                <a:gd name="connsiteY6" fmla="*/ 2719007 h 3474709"/>
                <a:gd name="connsiteX0" fmla="*/ 64 w 1141305"/>
                <a:gd name="connsiteY0" fmla="*/ 2564 h 3474098"/>
                <a:gd name="connsiteX1" fmla="*/ 68208 w 1141305"/>
                <a:gd name="connsiteY1" fmla="*/ 12981 h 3474098"/>
                <a:gd name="connsiteX2" fmla="*/ 60651 w 1141305"/>
                <a:gd name="connsiteY2" fmla="*/ 337933 h 3474098"/>
                <a:gd name="connsiteX3" fmla="*/ 808796 w 1141305"/>
                <a:gd name="connsiteY3" fmla="*/ 481517 h 3474098"/>
                <a:gd name="connsiteX4" fmla="*/ 823910 w 1141305"/>
                <a:gd name="connsiteY4" fmla="*/ 3474098 h 3474098"/>
                <a:gd name="connsiteX5" fmla="*/ 1141305 w 1141305"/>
                <a:gd name="connsiteY5" fmla="*/ 3458984 h 3474098"/>
                <a:gd name="connsiteX6" fmla="*/ 1141305 w 1141305"/>
                <a:gd name="connsiteY6" fmla="*/ 2718396 h 3474098"/>
                <a:gd name="connsiteX0" fmla="*/ 69328 w 1210569"/>
                <a:gd name="connsiteY0" fmla="*/ 12923 h 3484457"/>
                <a:gd name="connsiteX1" fmla="*/ 137472 w 1210569"/>
                <a:gd name="connsiteY1" fmla="*/ 23340 h 3484457"/>
                <a:gd name="connsiteX2" fmla="*/ 129915 w 1210569"/>
                <a:gd name="connsiteY2" fmla="*/ 348292 h 3484457"/>
                <a:gd name="connsiteX3" fmla="*/ 878060 w 1210569"/>
                <a:gd name="connsiteY3" fmla="*/ 491876 h 3484457"/>
                <a:gd name="connsiteX4" fmla="*/ 893174 w 1210569"/>
                <a:gd name="connsiteY4" fmla="*/ 3484457 h 3484457"/>
                <a:gd name="connsiteX5" fmla="*/ 1210569 w 1210569"/>
                <a:gd name="connsiteY5" fmla="*/ 3469343 h 3484457"/>
                <a:gd name="connsiteX6" fmla="*/ 1210569 w 1210569"/>
                <a:gd name="connsiteY6" fmla="*/ 2728755 h 3484457"/>
                <a:gd name="connsiteX0" fmla="*/ 7557 w 1080654"/>
                <a:gd name="connsiteY0" fmla="*/ 0 h 3461117"/>
                <a:gd name="connsiteX1" fmla="*/ 0 w 1080654"/>
                <a:gd name="connsiteY1" fmla="*/ 324952 h 3461117"/>
                <a:gd name="connsiteX2" fmla="*/ 748145 w 1080654"/>
                <a:gd name="connsiteY2" fmla="*/ 468536 h 3461117"/>
                <a:gd name="connsiteX3" fmla="*/ 763259 w 1080654"/>
                <a:gd name="connsiteY3" fmla="*/ 3461117 h 3461117"/>
                <a:gd name="connsiteX4" fmla="*/ 1080654 w 1080654"/>
                <a:gd name="connsiteY4" fmla="*/ 3446003 h 3461117"/>
                <a:gd name="connsiteX5" fmla="*/ 1080654 w 1080654"/>
                <a:gd name="connsiteY5" fmla="*/ 2705415 h 3461117"/>
                <a:gd name="connsiteX0" fmla="*/ 7557 w 1080654"/>
                <a:gd name="connsiteY0" fmla="*/ 0 h 3461117"/>
                <a:gd name="connsiteX1" fmla="*/ 4172 w 1080654"/>
                <a:gd name="connsiteY1" fmla="*/ 77827 h 3461117"/>
                <a:gd name="connsiteX2" fmla="*/ 0 w 1080654"/>
                <a:gd name="connsiteY2" fmla="*/ 324952 h 3461117"/>
                <a:gd name="connsiteX3" fmla="*/ 748145 w 1080654"/>
                <a:gd name="connsiteY3" fmla="*/ 468536 h 3461117"/>
                <a:gd name="connsiteX4" fmla="*/ 763259 w 1080654"/>
                <a:gd name="connsiteY4" fmla="*/ 3461117 h 3461117"/>
                <a:gd name="connsiteX5" fmla="*/ 1080654 w 1080654"/>
                <a:gd name="connsiteY5" fmla="*/ 3446003 h 3461117"/>
                <a:gd name="connsiteX6" fmla="*/ 1080654 w 1080654"/>
                <a:gd name="connsiteY6" fmla="*/ 2705415 h 3461117"/>
                <a:gd name="connsiteX0" fmla="*/ 0 w 1228672"/>
                <a:gd name="connsiteY0" fmla="*/ 0 h 3486517"/>
                <a:gd name="connsiteX1" fmla="*/ 152190 w 1228672"/>
                <a:gd name="connsiteY1" fmla="*/ 103227 h 3486517"/>
                <a:gd name="connsiteX2" fmla="*/ 148018 w 1228672"/>
                <a:gd name="connsiteY2" fmla="*/ 350352 h 3486517"/>
                <a:gd name="connsiteX3" fmla="*/ 896163 w 1228672"/>
                <a:gd name="connsiteY3" fmla="*/ 493936 h 3486517"/>
                <a:gd name="connsiteX4" fmla="*/ 911277 w 1228672"/>
                <a:gd name="connsiteY4" fmla="*/ 3486517 h 3486517"/>
                <a:gd name="connsiteX5" fmla="*/ 1228672 w 1228672"/>
                <a:gd name="connsiteY5" fmla="*/ 3471403 h 3486517"/>
                <a:gd name="connsiteX6" fmla="*/ 1228672 w 1228672"/>
                <a:gd name="connsiteY6" fmla="*/ 2730815 h 3486517"/>
                <a:gd name="connsiteX0" fmla="*/ 0 w 1228672"/>
                <a:gd name="connsiteY0" fmla="*/ 4723 h 3491240"/>
                <a:gd name="connsiteX1" fmla="*/ 145840 w 1228672"/>
                <a:gd name="connsiteY1" fmla="*/ 0 h 3491240"/>
                <a:gd name="connsiteX2" fmla="*/ 148018 w 1228672"/>
                <a:gd name="connsiteY2" fmla="*/ 355075 h 3491240"/>
                <a:gd name="connsiteX3" fmla="*/ 896163 w 1228672"/>
                <a:gd name="connsiteY3" fmla="*/ 498659 h 3491240"/>
                <a:gd name="connsiteX4" fmla="*/ 911277 w 1228672"/>
                <a:gd name="connsiteY4" fmla="*/ 3491240 h 3491240"/>
                <a:gd name="connsiteX5" fmla="*/ 1228672 w 1228672"/>
                <a:gd name="connsiteY5" fmla="*/ 3476126 h 3491240"/>
                <a:gd name="connsiteX6" fmla="*/ 1228672 w 1228672"/>
                <a:gd name="connsiteY6" fmla="*/ 2735538 h 3491240"/>
                <a:gd name="connsiteX0" fmla="*/ 0 w 1177872"/>
                <a:gd name="connsiteY0" fmla="*/ 1548 h 3491240"/>
                <a:gd name="connsiteX1" fmla="*/ 95040 w 1177872"/>
                <a:gd name="connsiteY1" fmla="*/ 0 h 3491240"/>
                <a:gd name="connsiteX2" fmla="*/ 97218 w 1177872"/>
                <a:gd name="connsiteY2" fmla="*/ 355075 h 3491240"/>
                <a:gd name="connsiteX3" fmla="*/ 845363 w 1177872"/>
                <a:gd name="connsiteY3" fmla="*/ 498659 h 3491240"/>
                <a:gd name="connsiteX4" fmla="*/ 860477 w 1177872"/>
                <a:gd name="connsiteY4" fmla="*/ 3491240 h 3491240"/>
                <a:gd name="connsiteX5" fmla="*/ 1177872 w 1177872"/>
                <a:gd name="connsiteY5" fmla="*/ 3476126 h 3491240"/>
                <a:gd name="connsiteX6" fmla="*/ 1177872 w 1177872"/>
                <a:gd name="connsiteY6" fmla="*/ 2735538 h 3491240"/>
                <a:gd name="connsiteX0" fmla="*/ 0 w 1177872"/>
                <a:gd name="connsiteY0" fmla="*/ 0 h 3489692"/>
                <a:gd name="connsiteX1" fmla="*/ 98215 w 1177872"/>
                <a:gd name="connsiteY1" fmla="*/ 1627 h 3489692"/>
                <a:gd name="connsiteX2" fmla="*/ 97218 w 1177872"/>
                <a:gd name="connsiteY2" fmla="*/ 353527 h 3489692"/>
                <a:gd name="connsiteX3" fmla="*/ 845363 w 1177872"/>
                <a:gd name="connsiteY3" fmla="*/ 497111 h 3489692"/>
                <a:gd name="connsiteX4" fmla="*/ 860477 w 1177872"/>
                <a:gd name="connsiteY4" fmla="*/ 3489692 h 3489692"/>
                <a:gd name="connsiteX5" fmla="*/ 1177872 w 1177872"/>
                <a:gd name="connsiteY5" fmla="*/ 3474578 h 3489692"/>
                <a:gd name="connsiteX6" fmla="*/ 1177872 w 1177872"/>
                <a:gd name="connsiteY6" fmla="*/ 2733990 h 3489692"/>
                <a:gd name="connsiteX0" fmla="*/ 0 w 1177872"/>
                <a:gd name="connsiteY0" fmla="*/ 0 h 3489692"/>
                <a:gd name="connsiteX1" fmla="*/ 98215 w 1177872"/>
                <a:gd name="connsiteY1" fmla="*/ 1627 h 3489692"/>
                <a:gd name="connsiteX2" fmla="*/ 97218 w 1177872"/>
                <a:gd name="connsiteY2" fmla="*/ 353527 h 3489692"/>
                <a:gd name="connsiteX3" fmla="*/ 699059 w 1177872"/>
                <a:gd name="connsiteY3" fmla="*/ 478823 h 3489692"/>
                <a:gd name="connsiteX4" fmla="*/ 860477 w 1177872"/>
                <a:gd name="connsiteY4" fmla="*/ 3489692 h 3489692"/>
                <a:gd name="connsiteX5" fmla="*/ 1177872 w 1177872"/>
                <a:gd name="connsiteY5" fmla="*/ 3474578 h 3489692"/>
                <a:gd name="connsiteX6" fmla="*/ 1177872 w 1177872"/>
                <a:gd name="connsiteY6" fmla="*/ 2733990 h 3489692"/>
                <a:gd name="connsiteX0" fmla="*/ 0 w 1177872"/>
                <a:gd name="connsiteY0" fmla="*/ 0 h 3489692"/>
                <a:gd name="connsiteX1" fmla="*/ 98215 w 1177872"/>
                <a:gd name="connsiteY1" fmla="*/ 1627 h 3489692"/>
                <a:gd name="connsiteX2" fmla="*/ 97218 w 1177872"/>
                <a:gd name="connsiteY2" fmla="*/ 353527 h 3489692"/>
                <a:gd name="connsiteX3" fmla="*/ 699059 w 1177872"/>
                <a:gd name="connsiteY3" fmla="*/ 478823 h 3489692"/>
                <a:gd name="connsiteX4" fmla="*/ 718745 w 1177872"/>
                <a:gd name="connsiteY4" fmla="*/ 3489692 h 3489692"/>
                <a:gd name="connsiteX5" fmla="*/ 1177872 w 1177872"/>
                <a:gd name="connsiteY5" fmla="*/ 3474578 h 3489692"/>
                <a:gd name="connsiteX6" fmla="*/ 1177872 w 1177872"/>
                <a:gd name="connsiteY6" fmla="*/ 2733990 h 3489692"/>
                <a:gd name="connsiteX0" fmla="*/ 0 w 1177872"/>
                <a:gd name="connsiteY0" fmla="*/ 0 h 3475976"/>
                <a:gd name="connsiteX1" fmla="*/ 98215 w 1177872"/>
                <a:gd name="connsiteY1" fmla="*/ 1627 h 3475976"/>
                <a:gd name="connsiteX2" fmla="*/ 97218 w 1177872"/>
                <a:gd name="connsiteY2" fmla="*/ 353527 h 3475976"/>
                <a:gd name="connsiteX3" fmla="*/ 699059 w 1177872"/>
                <a:gd name="connsiteY3" fmla="*/ 478823 h 3475976"/>
                <a:gd name="connsiteX4" fmla="*/ 718745 w 1177872"/>
                <a:gd name="connsiteY4" fmla="*/ 3475976 h 3475976"/>
                <a:gd name="connsiteX5" fmla="*/ 1177872 w 1177872"/>
                <a:gd name="connsiteY5" fmla="*/ 3474578 h 3475976"/>
                <a:gd name="connsiteX6" fmla="*/ 1177872 w 1177872"/>
                <a:gd name="connsiteY6" fmla="*/ 2733990 h 3475976"/>
                <a:gd name="connsiteX0" fmla="*/ 0 w 1177872"/>
                <a:gd name="connsiteY0" fmla="*/ 0 h 3474578"/>
                <a:gd name="connsiteX1" fmla="*/ 98215 w 1177872"/>
                <a:gd name="connsiteY1" fmla="*/ 1627 h 3474578"/>
                <a:gd name="connsiteX2" fmla="*/ 97218 w 1177872"/>
                <a:gd name="connsiteY2" fmla="*/ 353527 h 3474578"/>
                <a:gd name="connsiteX3" fmla="*/ 699059 w 1177872"/>
                <a:gd name="connsiteY3" fmla="*/ 478823 h 3474578"/>
                <a:gd name="connsiteX4" fmla="*/ 1177872 w 1177872"/>
                <a:gd name="connsiteY4" fmla="*/ 3474578 h 3474578"/>
                <a:gd name="connsiteX5" fmla="*/ 1177872 w 1177872"/>
                <a:gd name="connsiteY5" fmla="*/ 2733990 h 3474578"/>
                <a:gd name="connsiteX0" fmla="*/ 0 w 1177872"/>
                <a:gd name="connsiteY0" fmla="*/ 0 h 2733990"/>
                <a:gd name="connsiteX1" fmla="*/ 98215 w 1177872"/>
                <a:gd name="connsiteY1" fmla="*/ 1627 h 2733990"/>
                <a:gd name="connsiteX2" fmla="*/ 97218 w 1177872"/>
                <a:gd name="connsiteY2" fmla="*/ 353527 h 2733990"/>
                <a:gd name="connsiteX3" fmla="*/ 699059 w 1177872"/>
                <a:gd name="connsiteY3" fmla="*/ 478823 h 2733990"/>
                <a:gd name="connsiteX4" fmla="*/ 1177872 w 1177872"/>
                <a:gd name="connsiteY4" fmla="*/ 2733990 h 2733990"/>
                <a:gd name="connsiteX0" fmla="*/ 0 w 699059"/>
                <a:gd name="connsiteY0" fmla="*/ 0 h 2000532"/>
                <a:gd name="connsiteX1" fmla="*/ 98215 w 699059"/>
                <a:gd name="connsiteY1" fmla="*/ 1627 h 2000532"/>
                <a:gd name="connsiteX2" fmla="*/ 97218 w 699059"/>
                <a:gd name="connsiteY2" fmla="*/ 353527 h 2000532"/>
                <a:gd name="connsiteX3" fmla="*/ 699059 w 699059"/>
                <a:gd name="connsiteY3" fmla="*/ 478823 h 2000532"/>
                <a:gd name="connsiteX4" fmla="*/ 693208 w 699059"/>
                <a:gd name="connsiteY4" fmla="*/ 2000532 h 2000532"/>
                <a:gd name="connsiteX0" fmla="*/ 0 w 700170"/>
                <a:gd name="connsiteY0" fmla="*/ 0 h 2003763"/>
                <a:gd name="connsiteX1" fmla="*/ 98215 w 700170"/>
                <a:gd name="connsiteY1" fmla="*/ 1627 h 2003763"/>
                <a:gd name="connsiteX2" fmla="*/ 97218 w 700170"/>
                <a:gd name="connsiteY2" fmla="*/ 353527 h 2003763"/>
                <a:gd name="connsiteX3" fmla="*/ 699059 w 700170"/>
                <a:gd name="connsiteY3" fmla="*/ 478823 h 2003763"/>
                <a:gd name="connsiteX4" fmla="*/ 699670 w 700170"/>
                <a:gd name="connsiteY4" fmla="*/ 2003763 h 2003763"/>
                <a:gd name="connsiteX0" fmla="*/ 0 w 1436273"/>
                <a:gd name="connsiteY0" fmla="*/ 0 h 1384638"/>
                <a:gd name="connsiteX1" fmla="*/ 98215 w 1436273"/>
                <a:gd name="connsiteY1" fmla="*/ 1627 h 1384638"/>
                <a:gd name="connsiteX2" fmla="*/ 97218 w 1436273"/>
                <a:gd name="connsiteY2" fmla="*/ 353527 h 1384638"/>
                <a:gd name="connsiteX3" fmla="*/ 699059 w 1436273"/>
                <a:gd name="connsiteY3" fmla="*/ 478823 h 1384638"/>
                <a:gd name="connsiteX4" fmla="*/ 1436270 w 1436273"/>
                <a:gd name="connsiteY4" fmla="*/ 1384638 h 1384638"/>
                <a:gd name="connsiteX0" fmla="*/ 0 w 1436272"/>
                <a:gd name="connsiteY0" fmla="*/ 0 h 1384638"/>
                <a:gd name="connsiteX1" fmla="*/ 98215 w 1436272"/>
                <a:gd name="connsiteY1" fmla="*/ 1627 h 1384638"/>
                <a:gd name="connsiteX2" fmla="*/ 97218 w 1436272"/>
                <a:gd name="connsiteY2" fmla="*/ 353527 h 1384638"/>
                <a:gd name="connsiteX3" fmla="*/ 114859 w 1436272"/>
                <a:gd name="connsiteY3" fmla="*/ 1097948 h 1384638"/>
                <a:gd name="connsiteX4" fmla="*/ 1436270 w 1436272"/>
                <a:gd name="connsiteY4" fmla="*/ 1384638 h 1384638"/>
                <a:gd name="connsiteX0" fmla="*/ 0 w 1436273"/>
                <a:gd name="connsiteY0" fmla="*/ 0 h 1384638"/>
                <a:gd name="connsiteX1" fmla="*/ 98215 w 1436273"/>
                <a:gd name="connsiteY1" fmla="*/ 1627 h 1384638"/>
                <a:gd name="connsiteX2" fmla="*/ 97218 w 1436273"/>
                <a:gd name="connsiteY2" fmla="*/ 353527 h 1384638"/>
                <a:gd name="connsiteX3" fmla="*/ 114859 w 1436273"/>
                <a:gd name="connsiteY3" fmla="*/ 1097948 h 1384638"/>
                <a:gd name="connsiteX4" fmla="*/ 1436270 w 1436273"/>
                <a:gd name="connsiteY4" fmla="*/ 1384638 h 1384638"/>
                <a:gd name="connsiteX0" fmla="*/ 0 w 1436270"/>
                <a:gd name="connsiteY0" fmla="*/ 0 h 1384638"/>
                <a:gd name="connsiteX1" fmla="*/ 98215 w 1436270"/>
                <a:gd name="connsiteY1" fmla="*/ 1627 h 1384638"/>
                <a:gd name="connsiteX2" fmla="*/ 97218 w 1436270"/>
                <a:gd name="connsiteY2" fmla="*/ 353527 h 1384638"/>
                <a:gd name="connsiteX3" fmla="*/ 114859 w 1436270"/>
                <a:gd name="connsiteY3" fmla="*/ 1097948 h 1384638"/>
                <a:gd name="connsiteX4" fmla="*/ 1436270 w 1436270"/>
                <a:gd name="connsiteY4" fmla="*/ 1384638 h 1384638"/>
                <a:gd name="connsiteX0" fmla="*/ 0 w 458370"/>
                <a:gd name="connsiteY0" fmla="*/ 0 h 1098143"/>
                <a:gd name="connsiteX1" fmla="*/ 98215 w 458370"/>
                <a:gd name="connsiteY1" fmla="*/ 1627 h 1098143"/>
                <a:gd name="connsiteX2" fmla="*/ 97218 w 458370"/>
                <a:gd name="connsiteY2" fmla="*/ 353527 h 1098143"/>
                <a:gd name="connsiteX3" fmla="*/ 114859 w 458370"/>
                <a:gd name="connsiteY3" fmla="*/ 1097948 h 1098143"/>
                <a:gd name="connsiteX4" fmla="*/ 458370 w 458370"/>
                <a:gd name="connsiteY4" fmla="*/ 387688 h 1098143"/>
                <a:gd name="connsiteX0" fmla="*/ 0 w 479012"/>
                <a:gd name="connsiteY0" fmla="*/ 0 h 1100145"/>
                <a:gd name="connsiteX1" fmla="*/ 98215 w 479012"/>
                <a:gd name="connsiteY1" fmla="*/ 1627 h 1100145"/>
                <a:gd name="connsiteX2" fmla="*/ 97218 w 479012"/>
                <a:gd name="connsiteY2" fmla="*/ 353527 h 1100145"/>
                <a:gd name="connsiteX3" fmla="*/ 114859 w 479012"/>
                <a:gd name="connsiteY3" fmla="*/ 1097948 h 1100145"/>
                <a:gd name="connsiteX4" fmla="*/ 458370 w 479012"/>
                <a:gd name="connsiteY4" fmla="*/ 387688 h 1100145"/>
                <a:gd name="connsiteX0" fmla="*/ 0 w 458370"/>
                <a:gd name="connsiteY0" fmla="*/ 0 h 1204192"/>
                <a:gd name="connsiteX1" fmla="*/ 98215 w 458370"/>
                <a:gd name="connsiteY1" fmla="*/ 1627 h 1204192"/>
                <a:gd name="connsiteX2" fmla="*/ 97218 w 458370"/>
                <a:gd name="connsiteY2" fmla="*/ 353527 h 1204192"/>
                <a:gd name="connsiteX3" fmla="*/ 114859 w 458370"/>
                <a:gd name="connsiteY3" fmla="*/ 1097948 h 1204192"/>
                <a:gd name="connsiteX4" fmla="*/ 458370 w 458370"/>
                <a:gd name="connsiteY4" fmla="*/ 387688 h 1204192"/>
                <a:gd name="connsiteX0" fmla="*/ 0 w 458370"/>
                <a:gd name="connsiteY0" fmla="*/ 0 h 1204192"/>
                <a:gd name="connsiteX1" fmla="*/ 97218 w 458370"/>
                <a:gd name="connsiteY1" fmla="*/ 353527 h 1204192"/>
                <a:gd name="connsiteX2" fmla="*/ 114859 w 458370"/>
                <a:gd name="connsiteY2" fmla="*/ 1097948 h 1204192"/>
                <a:gd name="connsiteX3" fmla="*/ 458370 w 458370"/>
                <a:gd name="connsiteY3" fmla="*/ 387688 h 1204192"/>
                <a:gd name="connsiteX0" fmla="*/ 0 w 458370"/>
                <a:gd name="connsiteY0" fmla="*/ 0 h 1204192"/>
                <a:gd name="connsiteX1" fmla="*/ 114859 w 458370"/>
                <a:gd name="connsiteY1" fmla="*/ 1097948 h 1204192"/>
                <a:gd name="connsiteX2" fmla="*/ 458370 w 458370"/>
                <a:gd name="connsiteY2" fmla="*/ 387688 h 1204192"/>
                <a:gd name="connsiteX0" fmla="*/ 0 w 458370"/>
                <a:gd name="connsiteY0" fmla="*/ 0 h 1236601"/>
                <a:gd name="connsiteX1" fmla="*/ 13259 w 458370"/>
                <a:gd name="connsiteY1" fmla="*/ 1136048 h 1236601"/>
                <a:gd name="connsiteX2" fmla="*/ 458370 w 458370"/>
                <a:gd name="connsiteY2" fmla="*/ 387688 h 1236601"/>
                <a:gd name="connsiteX0" fmla="*/ 0 w 458370"/>
                <a:gd name="connsiteY0" fmla="*/ 0 h 1194651"/>
                <a:gd name="connsiteX1" fmla="*/ 13259 w 458370"/>
                <a:gd name="connsiteY1" fmla="*/ 1136048 h 1194651"/>
                <a:gd name="connsiteX2" fmla="*/ 325645 w 458370"/>
                <a:gd name="connsiteY2" fmla="*/ 964431 h 1194651"/>
                <a:gd name="connsiteX3" fmla="*/ 458370 w 458370"/>
                <a:gd name="connsiteY3" fmla="*/ 387688 h 1194651"/>
                <a:gd name="connsiteX0" fmla="*/ 0 w 487444"/>
                <a:gd name="connsiteY0" fmla="*/ 0 h 1232741"/>
                <a:gd name="connsiteX1" fmla="*/ 13259 w 487444"/>
                <a:gd name="connsiteY1" fmla="*/ 1136048 h 1232741"/>
                <a:gd name="connsiteX2" fmla="*/ 458995 w 487444"/>
                <a:gd name="connsiteY2" fmla="*/ 1110481 h 1232741"/>
                <a:gd name="connsiteX3" fmla="*/ 458370 w 487444"/>
                <a:gd name="connsiteY3" fmla="*/ 387688 h 1232741"/>
                <a:gd name="connsiteX0" fmla="*/ 0 w 458995"/>
                <a:gd name="connsiteY0" fmla="*/ 0 h 1232741"/>
                <a:gd name="connsiteX1" fmla="*/ 13259 w 458995"/>
                <a:gd name="connsiteY1" fmla="*/ 1136048 h 1232741"/>
                <a:gd name="connsiteX2" fmla="*/ 458995 w 458995"/>
                <a:gd name="connsiteY2" fmla="*/ 1110481 h 1232741"/>
                <a:gd name="connsiteX3" fmla="*/ 458370 w 458995"/>
                <a:gd name="connsiteY3" fmla="*/ 387688 h 1232741"/>
                <a:gd name="connsiteX0" fmla="*/ 0 w 462225"/>
                <a:gd name="connsiteY0" fmla="*/ 0 h 1232741"/>
                <a:gd name="connsiteX1" fmla="*/ 13259 w 462225"/>
                <a:gd name="connsiteY1" fmla="*/ 1136048 h 1232741"/>
                <a:gd name="connsiteX2" fmla="*/ 458995 w 462225"/>
                <a:gd name="connsiteY2" fmla="*/ 1110481 h 1232741"/>
                <a:gd name="connsiteX3" fmla="*/ 458370 w 462225"/>
                <a:gd name="connsiteY3" fmla="*/ 387688 h 1232741"/>
                <a:gd name="connsiteX0" fmla="*/ 0 w 462225"/>
                <a:gd name="connsiteY0" fmla="*/ 0 h 1200388"/>
                <a:gd name="connsiteX1" fmla="*/ 13259 w 462225"/>
                <a:gd name="connsiteY1" fmla="*/ 1136048 h 1200388"/>
                <a:gd name="connsiteX2" fmla="*/ 458995 w 462225"/>
                <a:gd name="connsiteY2" fmla="*/ 1110481 h 1200388"/>
                <a:gd name="connsiteX3" fmla="*/ 458370 w 462225"/>
                <a:gd name="connsiteY3" fmla="*/ 387688 h 1200388"/>
                <a:gd name="connsiteX0" fmla="*/ 0 w 462225"/>
                <a:gd name="connsiteY0" fmla="*/ 0 h 1136554"/>
                <a:gd name="connsiteX1" fmla="*/ 13259 w 462225"/>
                <a:gd name="connsiteY1" fmla="*/ 1136048 h 1136554"/>
                <a:gd name="connsiteX2" fmla="*/ 458995 w 462225"/>
                <a:gd name="connsiteY2" fmla="*/ 1110481 h 1136554"/>
                <a:gd name="connsiteX3" fmla="*/ 458370 w 462225"/>
                <a:gd name="connsiteY3" fmla="*/ 387688 h 1136554"/>
                <a:gd name="connsiteX0" fmla="*/ 0 w 462225"/>
                <a:gd name="connsiteY0" fmla="*/ 0 h 1136648"/>
                <a:gd name="connsiteX1" fmla="*/ 13259 w 462225"/>
                <a:gd name="connsiteY1" fmla="*/ 1136048 h 1136648"/>
                <a:gd name="connsiteX2" fmla="*/ 458995 w 462225"/>
                <a:gd name="connsiteY2" fmla="*/ 1110481 h 1136648"/>
                <a:gd name="connsiteX3" fmla="*/ 458370 w 462225"/>
                <a:gd name="connsiteY3" fmla="*/ 387688 h 1136648"/>
                <a:gd name="connsiteX0" fmla="*/ 0 w 465178"/>
                <a:gd name="connsiteY0" fmla="*/ 0 h 1137831"/>
                <a:gd name="connsiteX1" fmla="*/ 13259 w 465178"/>
                <a:gd name="connsiteY1" fmla="*/ 1136048 h 1137831"/>
                <a:gd name="connsiteX2" fmla="*/ 462170 w 465178"/>
                <a:gd name="connsiteY2" fmla="*/ 1132706 h 1137831"/>
                <a:gd name="connsiteX3" fmla="*/ 458370 w 465178"/>
                <a:gd name="connsiteY3" fmla="*/ 387688 h 1137831"/>
                <a:gd name="connsiteX0" fmla="*/ 0 w 462206"/>
                <a:gd name="connsiteY0" fmla="*/ 0 h 1137831"/>
                <a:gd name="connsiteX1" fmla="*/ 13259 w 462206"/>
                <a:gd name="connsiteY1" fmla="*/ 1136048 h 1137831"/>
                <a:gd name="connsiteX2" fmla="*/ 462170 w 462206"/>
                <a:gd name="connsiteY2" fmla="*/ 1132706 h 1137831"/>
                <a:gd name="connsiteX3" fmla="*/ 458370 w 462206"/>
                <a:gd name="connsiteY3" fmla="*/ 387688 h 1137831"/>
                <a:gd name="connsiteX0" fmla="*/ 0 w 462348"/>
                <a:gd name="connsiteY0" fmla="*/ 0 h 1137831"/>
                <a:gd name="connsiteX1" fmla="*/ 13259 w 462348"/>
                <a:gd name="connsiteY1" fmla="*/ 1136048 h 1137831"/>
                <a:gd name="connsiteX2" fmla="*/ 462170 w 462348"/>
                <a:gd name="connsiteY2" fmla="*/ 1132706 h 1137831"/>
                <a:gd name="connsiteX3" fmla="*/ 458370 w 462348"/>
                <a:gd name="connsiteY3" fmla="*/ 387688 h 1137831"/>
                <a:gd name="connsiteX0" fmla="*/ 0 w 462348"/>
                <a:gd name="connsiteY0" fmla="*/ 0 h 1136048"/>
                <a:gd name="connsiteX1" fmla="*/ 13259 w 462348"/>
                <a:gd name="connsiteY1" fmla="*/ 1136048 h 1136048"/>
                <a:gd name="connsiteX2" fmla="*/ 462170 w 462348"/>
                <a:gd name="connsiteY2" fmla="*/ 1132706 h 1136048"/>
                <a:gd name="connsiteX3" fmla="*/ 458370 w 462348"/>
                <a:gd name="connsiteY3" fmla="*/ 387688 h 1136048"/>
                <a:gd name="connsiteX0" fmla="*/ 0 w 462348"/>
                <a:gd name="connsiteY0" fmla="*/ 0 h 1136048"/>
                <a:gd name="connsiteX1" fmla="*/ 13259 w 462348"/>
                <a:gd name="connsiteY1" fmla="*/ 1136048 h 1136048"/>
                <a:gd name="connsiteX2" fmla="*/ 462170 w 462348"/>
                <a:gd name="connsiteY2" fmla="*/ 1132706 h 1136048"/>
                <a:gd name="connsiteX3" fmla="*/ 458370 w 462348"/>
                <a:gd name="connsiteY3" fmla="*/ 387688 h 1136048"/>
              </a:gdLst>
              <a:ahLst/>
              <a:cxnLst>
                <a:cxn ang="0">
                  <a:pos x="connsiteX0" y="connsiteY0"/>
                </a:cxn>
                <a:cxn ang="0">
                  <a:pos x="connsiteX1" y="connsiteY1"/>
                </a:cxn>
                <a:cxn ang="0">
                  <a:pos x="connsiteX2" y="connsiteY2"/>
                </a:cxn>
                <a:cxn ang="0">
                  <a:pos x="connsiteX3" y="connsiteY3"/>
                </a:cxn>
              </a:cxnLst>
              <a:rect l="l" t="t" r="r" b="b"/>
              <a:pathLst>
                <a:path w="462348" h="1136048">
                  <a:moveTo>
                    <a:pt x="0" y="0"/>
                  </a:moveTo>
                  <a:lnTo>
                    <a:pt x="13259" y="1136048"/>
                  </a:lnTo>
                  <a:cubicBezTo>
                    <a:pt x="242158" y="1131687"/>
                    <a:pt x="168910" y="1136783"/>
                    <a:pt x="462170" y="1132706"/>
                  </a:cubicBezTo>
                  <a:cubicBezTo>
                    <a:pt x="463330" y="1001629"/>
                    <a:pt x="458474" y="563187"/>
                    <a:pt x="458370" y="387688"/>
                  </a:cubicBezTo>
                </a:path>
              </a:pathLst>
            </a:custGeom>
            <a:noFill/>
            <a:ln w="381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2" name="Freeform 17">
              <a:extLst>
                <a:ext uri="{FF2B5EF4-FFF2-40B4-BE49-F238E27FC236}">
                  <a16:creationId xmlns:a16="http://schemas.microsoft.com/office/drawing/2014/main" id="{714C4E05-3BE1-4EFF-8315-8D03142DE2E2}"/>
                </a:ext>
              </a:extLst>
            </p:cNvPr>
            <p:cNvSpPr/>
            <p:nvPr/>
          </p:nvSpPr>
          <p:spPr>
            <a:xfrm>
              <a:off x="9542095" y="5419160"/>
              <a:ext cx="462348" cy="1136048"/>
            </a:xfrm>
            <a:custGeom>
              <a:avLst/>
              <a:gdLst>
                <a:gd name="connsiteX0" fmla="*/ 0 w 1080654"/>
                <a:gd name="connsiteY0" fmla="*/ 0 h 3483788"/>
                <a:gd name="connsiteX1" fmla="*/ 0 w 1080654"/>
                <a:gd name="connsiteY1" fmla="*/ 347623 h 3483788"/>
                <a:gd name="connsiteX2" fmla="*/ 748145 w 1080654"/>
                <a:gd name="connsiteY2" fmla="*/ 491207 h 3483788"/>
                <a:gd name="connsiteX3" fmla="*/ 763259 w 1080654"/>
                <a:gd name="connsiteY3" fmla="*/ 3483788 h 3483788"/>
                <a:gd name="connsiteX4" fmla="*/ 1080654 w 1080654"/>
                <a:gd name="connsiteY4" fmla="*/ 3468674 h 3483788"/>
                <a:gd name="connsiteX5" fmla="*/ 1080654 w 1080654"/>
                <a:gd name="connsiteY5" fmla="*/ 2728086 h 3483788"/>
                <a:gd name="connsiteX0" fmla="*/ 24 w 1080678"/>
                <a:gd name="connsiteY0" fmla="*/ 0 h 3483788"/>
                <a:gd name="connsiteX1" fmla="*/ 188950 w 1080678"/>
                <a:gd name="connsiteY1" fmla="*/ 15114 h 3483788"/>
                <a:gd name="connsiteX2" fmla="*/ 24 w 1080678"/>
                <a:gd name="connsiteY2" fmla="*/ 347623 h 3483788"/>
                <a:gd name="connsiteX3" fmla="*/ 748169 w 1080678"/>
                <a:gd name="connsiteY3" fmla="*/ 491207 h 3483788"/>
                <a:gd name="connsiteX4" fmla="*/ 763283 w 1080678"/>
                <a:gd name="connsiteY4" fmla="*/ 3483788 h 3483788"/>
                <a:gd name="connsiteX5" fmla="*/ 1080678 w 1080678"/>
                <a:gd name="connsiteY5" fmla="*/ 3468674 h 3483788"/>
                <a:gd name="connsiteX6" fmla="*/ 1080678 w 1080678"/>
                <a:gd name="connsiteY6" fmla="*/ 2728086 h 3483788"/>
                <a:gd name="connsiteX0" fmla="*/ 15 w 1194024"/>
                <a:gd name="connsiteY0" fmla="*/ 0 h 3498902"/>
                <a:gd name="connsiteX1" fmla="*/ 302296 w 1194024"/>
                <a:gd name="connsiteY1" fmla="*/ 30228 h 3498902"/>
                <a:gd name="connsiteX2" fmla="*/ 113370 w 1194024"/>
                <a:gd name="connsiteY2" fmla="*/ 362737 h 3498902"/>
                <a:gd name="connsiteX3" fmla="*/ 861515 w 1194024"/>
                <a:gd name="connsiteY3" fmla="*/ 506321 h 3498902"/>
                <a:gd name="connsiteX4" fmla="*/ 876629 w 1194024"/>
                <a:gd name="connsiteY4" fmla="*/ 3498902 h 3498902"/>
                <a:gd name="connsiteX5" fmla="*/ 1194024 w 1194024"/>
                <a:gd name="connsiteY5" fmla="*/ 3483788 h 3498902"/>
                <a:gd name="connsiteX6" fmla="*/ 1194024 w 1194024"/>
                <a:gd name="connsiteY6" fmla="*/ 2743200 h 3498902"/>
                <a:gd name="connsiteX0" fmla="*/ 39 w 1194048"/>
                <a:gd name="connsiteY0" fmla="*/ 0 h 3498902"/>
                <a:gd name="connsiteX1" fmla="*/ 113394 w 1194048"/>
                <a:gd name="connsiteY1" fmla="*/ 37785 h 3498902"/>
                <a:gd name="connsiteX2" fmla="*/ 113394 w 1194048"/>
                <a:gd name="connsiteY2" fmla="*/ 362737 h 3498902"/>
                <a:gd name="connsiteX3" fmla="*/ 861539 w 1194048"/>
                <a:gd name="connsiteY3" fmla="*/ 506321 h 3498902"/>
                <a:gd name="connsiteX4" fmla="*/ 876653 w 1194048"/>
                <a:gd name="connsiteY4" fmla="*/ 3498902 h 3498902"/>
                <a:gd name="connsiteX5" fmla="*/ 1194048 w 1194048"/>
                <a:gd name="connsiteY5" fmla="*/ 3483788 h 3498902"/>
                <a:gd name="connsiteX6" fmla="*/ 1194048 w 1194048"/>
                <a:gd name="connsiteY6" fmla="*/ 2743200 h 3498902"/>
                <a:gd name="connsiteX0" fmla="*/ 34 w 1194043"/>
                <a:gd name="connsiteY0" fmla="*/ 11634 h 3510536"/>
                <a:gd name="connsiteX1" fmla="*/ 136060 w 1194043"/>
                <a:gd name="connsiteY1" fmla="*/ 11634 h 3510536"/>
                <a:gd name="connsiteX2" fmla="*/ 113389 w 1194043"/>
                <a:gd name="connsiteY2" fmla="*/ 374371 h 3510536"/>
                <a:gd name="connsiteX3" fmla="*/ 861534 w 1194043"/>
                <a:gd name="connsiteY3" fmla="*/ 517955 h 3510536"/>
                <a:gd name="connsiteX4" fmla="*/ 876648 w 1194043"/>
                <a:gd name="connsiteY4" fmla="*/ 3510536 h 3510536"/>
                <a:gd name="connsiteX5" fmla="*/ 1194043 w 1194043"/>
                <a:gd name="connsiteY5" fmla="*/ 3495422 h 3510536"/>
                <a:gd name="connsiteX6" fmla="*/ 1194043 w 1194043"/>
                <a:gd name="connsiteY6" fmla="*/ 2754834 h 3510536"/>
                <a:gd name="connsiteX0" fmla="*/ 32 w 1194041"/>
                <a:gd name="connsiteY0" fmla="*/ 0 h 3498902"/>
                <a:gd name="connsiteX1" fmla="*/ 143615 w 1194041"/>
                <a:gd name="connsiteY1" fmla="*/ 22671 h 3498902"/>
                <a:gd name="connsiteX2" fmla="*/ 113387 w 1194041"/>
                <a:gd name="connsiteY2" fmla="*/ 362737 h 3498902"/>
                <a:gd name="connsiteX3" fmla="*/ 861532 w 1194041"/>
                <a:gd name="connsiteY3" fmla="*/ 506321 h 3498902"/>
                <a:gd name="connsiteX4" fmla="*/ 876646 w 1194041"/>
                <a:gd name="connsiteY4" fmla="*/ 3498902 h 3498902"/>
                <a:gd name="connsiteX5" fmla="*/ 1194041 w 1194041"/>
                <a:gd name="connsiteY5" fmla="*/ 3483788 h 3498902"/>
                <a:gd name="connsiteX6" fmla="*/ 1194041 w 1194041"/>
                <a:gd name="connsiteY6" fmla="*/ 2743200 h 3498902"/>
                <a:gd name="connsiteX0" fmla="*/ 37 w 1194046"/>
                <a:gd name="connsiteY0" fmla="*/ 0 h 3498902"/>
                <a:gd name="connsiteX1" fmla="*/ 120949 w 1194046"/>
                <a:gd name="connsiteY1" fmla="*/ 37785 h 3498902"/>
                <a:gd name="connsiteX2" fmla="*/ 113392 w 1194046"/>
                <a:gd name="connsiteY2" fmla="*/ 362737 h 3498902"/>
                <a:gd name="connsiteX3" fmla="*/ 861537 w 1194046"/>
                <a:gd name="connsiteY3" fmla="*/ 506321 h 3498902"/>
                <a:gd name="connsiteX4" fmla="*/ 876651 w 1194046"/>
                <a:gd name="connsiteY4" fmla="*/ 3498902 h 3498902"/>
                <a:gd name="connsiteX5" fmla="*/ 1194046 w 1194046"/>
                <a:gd name="connsiteY5" fmla="*/ 3483788 h 3498902"/>
                <a:gd name="connsiteX6" fmla="*/ 1194046 w 1194046"/>
                <a:gd name="connsiteY6" fmla="*/ 2743200 h 3498902"/>
                <a:gd name="connsiteX0" fmla="*/ 40 w 1186492"/>
                <a:gd name="connsiteY0" fmla="*/ 0 h 3476231"/>
                <a:gd name="connsiteX1" fmla="*/ 113395 w 1186492"/>
                <a:gd name="connsiteY1" fmla="*/ 15114 h 3476231"/>
                <a:gd name="connsiteX2" fmla="*/ 105838 w 1186492"/>
                <a:gd name="connsiteY2" fmla="*/ 340066 h 3476231"/>
                <a:gd name="connsiteX3" fmla="*/ 853983 w 1186492"/>
                <a:gd name="connsiteY3" fmla="*/ 483650 h 3476231"/>
                <a:gd name="connsiteX4" fmla="*/ 869097 w 1186492"/>
                <a:gd name="connsiteY4" fmla="*/ 3476231 h 3476231"/>
                <a:gd name="connsiteX5" fmla="*/ 1186492 w 1186492"/>
                <a:gd name="connsiteY5" fmla="*/ 3461117 h 3476231"/>
                <a:gd name="connsiteX6" fmla="*/ 1186492 w 1186492"/>
                <a:gd name="connsiteY6" fmla="*/ 2720529 h 3476231"/>
                <a:gd name="connsiteX0" fmla="*/ 43 w 1178938"/>
                <a:gd name="connsiteY0" fmla="*/ 0 h 3710499"/>
                <a:gd name="connsiteX1" fmla="*/ 105841 w 1178938"/>
                <a:gd name="connsiteY1" fmla="*/ 249382 h 3710499"/>
                <a:gd name="connsiteX2" fmla="*/ 98284 w 1178938"/>
                <a:gd name="connsiteY2" fmla="*/ 574334 h 3710499"/>
                <a:gd name="connsiteX3" fmla="*/ 846429 w 1178938"/>
                <a:gd name="connsiteY3" fmla="*/ 717918 h 3710499"/>
                <a:gd name="connsiteX4" fmla="*/ 861543 w 1178938"/>
                <a:gd name="connsiteY4" fmla="*/ 3710499 h 3710499"/>
                <a:gd name="connsiteX5" fmla="*/ 1178938 w 1178938"/>
                <a:gd name="connsiteY5" fmla="*/ 3695385 h 3710499"/>
                <a:gd name="connsiteX6" fmla="*/ 1178938 w 1178938"/>
                <a:gd name="connsiteY6" fmla="*/ 2954797 h 3710499"/>
                <a:gd name="connsiteX0" fmla="*/ 35 w 1201601"/>
                <a:gd name="connsiteY0" fmla="*/ 0 h 3514016"/>
                <a:gd name="connsiteX1" fmla="*/ 128504 w 1201601"/>
                <a:gd name="connsiteY1" fmla="*/ 52899 h 3514016"/>
                <a:gd name="connsiteX2" fmla="*/ 120947 w 1201601"/>
                <a:gd name="connsiteY2" fmla="*/ 377851 h 3514016"/>
                <a:gd name="connsiteX3" fmla="*/ 869092 w 1201601"/>
                <a:gd name="connsiteY3" fmla="*/ 521435 h 3514016"/>
                <a:gd name="connsiteX4" fmla="*/ 884206 w 1201601"/>
                <a:gd name="connsiteY4" fmla="*/ 3514016 h 3514016"/>
                <a:gd name="connsiteX5" fmla="*/ 1201601 w 1201601"/>
                <a:gd name="connsiteY5" fmla="*/ 3498902 h 3514016"/>
                <a:gd name="connsiteX6" fmla="*/ 1201601 w 1201601"/>
                <a:gd name="connsiteY6" fmla="*/ 2758314 h 3514016"/>
                <a:gd name="connsiteX0" fmla="*/ 35 w 1201601"/>
                <a:gd name="connsiteY0" fmla="*/ 0 h 3483788"/>
                <a:gd name="connsiteX1" fmla="*/ 128504 w 1201601"/>
                <a:gd name="connsiteY1" fmla="*/ 22671 h 3483788"/>
                <a:gd name="connsiteX2" fmla="*/ 120947 w 1201601"/>
                <a:gd name="connsiteY2" fmla="*/ 347623 h 3483788"/>
                <a:gd name="connsiteX3" fmla="*/ 869092 w 1201601"/>
                <a:gd name="connsiteY3" fmla="*/ 491207 h 3483788"/>
                <a:gd name="connsiteX4" fmla="*/ 884206 w 1201601"/>
                <a:gd name="connsiteY4" fmla="*/ 3483788 h 3483788"/>
                <a:gd name="connsiteX5" fmla="*/ 1201601 w 1201601"/>
                <a:gd name="connsiteY5" fmla="*/ 3468674 h 3483788"/>
                <a:gd name="connsiteX6" fmla="*/ 1201601 w 1201601"/>
                <a:gd name="connsiteY6" fmla="*/ 2728086 h 3483788"/>
                <a:gd name="connsiteX0" fmla="*/ 35 w 1201601"/>
                <a:gd name="connsiteY0" fmla="*/ 0 h 3506459"/>
                <a:gd name="connsiteX1" fmla="*/ 128504 w 1201601"/>
                <a:gd name="connsiteY1" fmla="*/ 45342 h 3506459"/>
                <a:gd name="connsiteX2" fmla="*/ 120947 w 1201601"/>
                <a:gd name="connsiteY2" fmla="*/ 370294 h 3506459"/>
                <a:gd name="connsiteX3" fmla="*/ 869092 w 1201601"/>
                <a:gd name="connsiteY3" fmla="*/ 513878 h 3506459"/>
                <a:gd name="connsiteX4" fmla="*/ 884206 w 1201601"/>
                <a:gd name="connsiteY4" fmla="*/ 3506459 h 3506459"/>
                <a:gd name="connsiteX5" fmla="*/ 1201601 w 1201601"/>
                <a:gd name="connsiteY5" fmla="*/ 3491345 h 3506459"/>
                <a:gd name="connsiteX6" fmla="*/ 1201601 w 1201601"/>
                <a:gd name="connsiteY6" fmla="*/ 2750757 h 3506459"/>
                <a:gd name="connsiteX0" fmla="*/ 35 w 1201601"/>
                <a:gd name="connsiteY0" fmla="*/ 0 h 3474709"/>
                <a:gd name="connsiteX1" fmla="*/ 128504 w 1201601"/>
                <a:gd name="connsiteY1" fmla="*/ 13592 h 3474709"/>
                <a:gd name="connsiteX2" fmla="*/ 120947 w 1201601"/>
                <a:gd name="connsiteY2" fmla="*/ 338544 h 3474709"/>
                <a:gd name="connsiteX3" fmla="*/ 869092 w 1201601"/>
                <a:gd name="connsiteY3" fmla="*/ 482128 h 3474709"/>
                <a:gd name="connsiteX4" fmla="*/ 884206 w 1201601"/>
                <a:gd name="connsiteY4" fmla="*/ 3474709 h 3474709"/>
                <a:gd name="connsiteX5" fmla="*/ 1201601 w 1201601"/>
                <a:gd name="connsiteY5" fmla="*/ 3459595 h 3474709"/>
                <a:gd name="connsiteX6" fmla="*/ 1201601 w 1201601"/>
                <a:gd name="connsiteY6" fmla="*/ 2719007 h 3474709"/>
                <a:gd name="connsiteX0" fmla="*/ 64 w 1141305"/>
                <a:gd name="connsiteY0" fmla="*/ 2564 h 3474098"/>
                <a:gd name="connsiteX1" fmla="*/ 68208 w 1141305"/>
                <a:gd name="connsiteY1" fmla="*/ 12981 h 3474098"/>
                <a:gd name="connsiteX2" fmla="*/ 60651 w 1141305"/>
                <a:gd name="connsiteY2" fmla="*/ 337933 h 3474098"/>
                <a:gd name="connsiteX3" fmla="*/ 808796 w 1141305"/>
                <a:gd name="connsiteY3" fmla="*/ 481517 h 3474098"/>
                <a:gd name="connsiteX4" fmla="*/ 823910 w 1141305"/>
                <a:gd name="connsiteY4" fmla="*/ 3474098 h 3474098"/>
                <a:gd name="connsiteX5" fmla="*/ 1141305 w 1141305"/>
                <a:gd name="connsiteY5" fmla="*/ 3458984 h 3474098"/>
                <a:gd name="connsiteX6" fmla="*/ 1141305 w 1141305"/>
                <a:gd name="connsiteY6" fmla="*/ 2718396 h 3474098"/>
                <a:gd name="connsiteX0" fmla="*/ 69328 w 1210569"/>
                <a:gd name="connsiteY0" fmla="*/ 12923 h 3484457"/>
                <a:gd name="connsiteX1" fmla="*/ 137472 w 1210569"/>
                <a:gd name="connsiteY1" fmla="*/ 23340 h 3484457"/>
                <a:gd name="connsiteX2" fmla="*/ 129915 w 1210569"/>
                <a:gd name="connsiteY2" fmla="*/ 348292 h 3484457"/>
                <a:gd name="connsiteX3" fmla="*/ 878060 w 1210569"/>
                <a:gd name="connsiteY3" fmla="*/ 491876 h 3484457"/>
                <a:gd name="connsiteX4" fmla="*/ 893174 w 1210569"/>
                <a:gd name="connsiteY4" fmla="*/ 3484457 h 3484457"/>
                <a:gd name="connsiteX5" fmla="*/ 1210569 w 1210569"/>
                <a:gd name="connsiteY5" fmla="*/ 3469343 h 3484457"/>
                <a:gd name="connsiteX6" fmla="*/ 1210569 w 1210569"/>
                <a:gd name="connsiteY6" fmla="*/ 2728755 h 3484457"/>
                <a:gd name="connsiteX0" fmla="*/ 7557 w 1080654"/>
                <a:gd name="connsiteY0" fmla="*/ 0 h 3461117"/>
                <a:gd name="connsiteX1" fmla="*/ 0 w 1080654"/>
                <a:gd name="connsiteY1" fmla="*/ 324952 h 3461117"/>
                <a:gd name="connsiteX2" fmla="*/ 748145 w 1080654"/>
                <a:gd name="connsiteY2" fmla="*/ 468536 h 3461117"/>
                <a:gd name="connsiteX3" fmla="*/ 763259 w 1080654"/>
                <a:gd name="connsiteY3" fmla="*/ 3461117 h 3461117"/>
                <a:gd name="connsiteX4" fmla="*/ 1080654 w 1080654"/>
                <a:gd name="connsiteY4" fmla="*/ 3446003 h 3461117"/>
                <a:gd name="connsiteX5" fmla="*/ 1080654 w 1080654"/>
                <a:gd name="connsiteY5" fmla="*/ 2705415 h 3461117"/>
                <a:gd name="connsiteX0" fmla="*/ 7557 w 1080654"/>
                <a:gd name="connsiteY0" fmla="*/ 0 h 3461117"/>
                <a:gd name="connsiteX1" fmla="*/ 4172 w 1080654"/>
                <a:gd name="connsiteY1" fmla="*/ 77827 h 3461117"/>
                <a:gd name="connsiteX2" fmla="*/ 0 w 1080654"/>
                <a:gd name="connsiteY2" fmla="*/ 324952 h 3461117"/>
                <a:gd name="connsiteX3" fmla="*/ 748145 w 1080654"/>
                <a:gd name="connsiteY3" fmla="*/ 468536 h 3461117"/>
                <a:gd name="connsiteX4" fmla="*/ 763259 w 1080654"/>
                <a:gd name="connsiteY4" fmla="*/ 3461117 h 3461117"/>
                <a:gd name="connsiteX5" fmla="*/ 1080654 w 1080654"/>
                <a:gd name="connsiteY5" fmla="*/ 3446003 h 3461117"/>
                <a:gd name="connsiteX6" fmla="*/ 1080654 w 1080654"/>
                <a:gd name="connsiteY6" fmla="*/ 2705415 h 3461117"/>
                <a:gd name="connsiteX0" fmla="*/ 0 w 1228672"/>
                <a:gd name="connsiteY0" fmla="*/ 0 h 3486517"/>
                <a:gd name="connsiteX1" fmla="*/ 152190 w 1228672"/>
                <a:gd name="connsiteY1" fmla="*/ 103227 h 3486517"/>
                <a:gd name="connsiteX2" fmla="*/ 148018 w 1228672"/>
                <a:gd name="connsiteY2" fmla="*/ 350352 h 3486517"/>
                <a:gd name="connsiteX3" fmla="*/ 896163 w 1228672"/>
                <a:gd name="connsiteY3" fmla="*/ 493936 h 3486517"/>
                <a:gd name="connsiteX4" fmla="*/ 911277 w 1228672"/>
                <a:gd name="connsiteY4" fmla="*/ 3486517 h 3486517"/>
                <a:gd name="connsiteX5" fmla="*/ 1228672 w 1228672"/>
                <a:gd name="connsiteY5" fmla="*/ 3471403 h 3486517"/>
                <a:gd name="connsiteX6" fmla="*/ 1228672 w 1228672"/>
                <a:gd name="connsiteY6" fmla="*/ 2730815 h 3486517"/>
                <a:gd name="connsiteX0" fmla="*/ 0 w 1228672"/>
                <a:gd name="connsiteY0" fmla="*/ 4723 h 3491240"/>
                <a:gd name="connsiteX1" fmla="*/ 145840 w 1228672"/>
                <a:gd name="connsiteY1" fmla="*/ 0 h 3491240"/>
                <a:gd name="connsiteX2" fmla="*/ 148018 w 1228672"/>
                <a:gd name="connsiteY2" fmla="*/ 355075 h 3491240"/>
                <a:gd name="connsiteX3" fmla="*/ 896163 w 1228672"/>
                <a:gd name="connsiteY3" fmla="*/ 498659 h 3491240"/>
                <a:gd name="connsiteX4" fmla="*/ 911277 w 1228672"/>
                <a:gd name="connsiteY4" fmla="*/ 3491240 h 3491240"/>
                <a:gd name="connsiteX5" fmla="*/ 1228672 w 1228672"/>
                <a:gd name="connsiteY5" fmla="*/ 3476126 h 3491240"/>
                <a:gd name="connsiteX6" fmla="*/ 1228672 w 1228672"/>
                <a:gd name="connsiteY6" fmla="*/ 2735538 h 3491240"/>
                <a:gd name="connsiteX0" fmla="*/ 0 w 1177872"/>
                <a:gd name="connsiteY0" fmla="*/ 1548 h 3491240"/>
                <a:gd name="connsiteX1" fmla="*/ 95040 w 1177872"/>
                <a:gd name="connsiteY1" fmla="*/ 0 h 3491240"/>
                <a:gd name="connsiteX2" fmla="*/ 97218 w 1177872"/>
                <a:gd name="connsiteY2" fmla="*/ 355075 h 3491240"/>
                <a:gd name="connsiteX3" fmla="*/ 845363 w 1177872"/>
                <a:gd name="connsiteY3" fmla="*/ 498659 h 3491240"/>
                <a:gd name="connsiteX4" fmla="*/ 860477 w 1177872"/>
                <a:gd name="connsiteY4" fmla="*/ 3491240 h 3491240"/>
                <a:gd name="connsiteX5" fmla="*/ 1177872 w 1177872"/>
                <a:gd name="connsiteY5" fmla="*/ 3476126 h 3491240"/>
                <a:gd name="connsiteX6" fmla="*/ 1177872 w 1177872"/>
                <a:gd name="connsiteY6" fmla="*/ 2735538 h 3491240"/>
                <a:gd name="connsiteX0" fmla="*/ 0 w 1177872"/>
                <a:gd name="connsiteY0" fmla="*/ 0 h 3489692"/>
                <a:gd name="connsiteX1" fmla="*/ 98215 w 1177872"/>
                <a:gd name="connsiteY1" fmla="*/ 1627 h 3489692"/>
                <a:gd name="connsiteX2" fmla="*/ 97218 w 1177872"/>
                <a:gd name="connsiteY2" fmla="*/ 353527 h 3489692"/>
                <a:gd name="connsiteX3" fmla="*/ 845363 w 1177872"/>
                <a:gd name="connsiteY3" fmla="*/ 497111 h 3489692"/>
                <a:gd name="connsiteX4" fmla="*/ 860477 w 1177872"/>
                <a:gd name="connsiteY4" fmla="*/ 3489692 h 3489692"/>
                <a:gd name="connsiteX5" fmla="*/ 1177872 w 1177872"/>
                <a:gd name="connsiteY5" fmla="*/ 3474578 h 3489692"/>
                <a:gd name="connsiteX6" fmla="*/ 1177872 w 1177872"/>
                <a:gd name="connsiteY6" fmla="*/ 2733990 h 3489692"/>
                <a:gd name="connsiteX0" fmla="*/ 0 w 1177872"/>
                <a:gd name="connsiteY0" fmla="*/ 0 h 3489692"/>
                <a:gd name="connsiteX1" fmla="*/ 98215 w 1177872"/>
                <a:gd name="connsiteY1" fmla="*/ 1627 h 3489692"/>
                <a:gd name="connsiteX2" fmla="*/ 97218 w 1177872"/>
                <a:gd name="connsiteY2" fmla="*/ 353527 h 3489692"/>
                <a:gd name="connsiteX3" fmla="*/ 699059 w 1177872"/>
                <a:gd name="connsiteY3" fmla="*/ 478823 h 3489692"/>
                <a:gd name="connsiteX4" fmla="*/ 860477 w 1177872"/>
                <a:gd name="connsiteY4" fmla="*/ 3489692 h 3489692"/>
                <a:gd name="connsiteX5" fmla="*/ 1177872 w 1177872"/>
                <a:gd name="connsiteY5" fmla="*/ 3474578 h 3489692"/>
                <a:gd name="connsiteX6" fmla="*/ 1177872 w 1177872"/>
                <a:gd name="connsiteY6" fmla="*/ 2733990 h 3489692"/>
                <a:gd name="connsiteX0" fmla="*/ 0 w 1177872"/>
                <a:gd name="connsiteY0" fmla="*/ 0 h 3489692"/>
                <a:gd name="connsiteX1" fmla="*/ 98215 w 1177872"/>
                <a:gd name="connsiteY1" fmla="*/ 1627 h 3489692"/>
                <a:gd name="connsiteX2" fmla="*/ 97218 w 1177872"/>
                <a:gd name="connsiteY2" fmla="*/ 353527 h 3489692"/>
                <a:gd name="connsiteX3" fmla="*/ 699059 w 1177872"/>
                <a:gd name="connsiteY3" fmla="*/ 478823 h 3489692"/>
                <a:gd name="connsiteX4" fmla="*/ 718745 w 1177872"/>
                <a:gd name="connsiteY4" fmla="*/ 3489692 h 3489692"/>
                <a:gd name="connsiteX5" fmla="*/ 1177872 w 1177872"/>
                <a:gd name="connsiteY5" fmla="*/ 3474578 h 3489692"/>
                <a:gd name="connsiteX6" fmla="*/ 1177872 w 1177872"/>
                <a:gd name="connsiteY6" fmla="*/ 2733990 h 3489692"/>
                <a:gd name="connsiteX0" fmla="*/ 0 w 1177872"/>
                <a:gd name="connsiteY0" fmla="*/ 0 h 3475976"/>
                <a:gd name="connsiteX1" fmla="*/ 98215 w 1177872"/>
                <a:gd name="connsiteY1" fmla="*/ 1627 h 3475976"/>
                <a:gd name="connsiteX2" fmla="*/ 97218 w 1177872"/>
                <a:gd name="connsiteY2" fmla="*/ 353527 h 3475976"/>
                <a:gd name="connsiteX3" fmla="*/ 699059 w 1177872"/>
                <a:gd name="connsiteY3" fmla="*/ 478823 h 3475976"/>
                <a:gd name="connsiteX4" fmla="*/ 718745 w 1177872"/>
                <a:gd name="connsiteY4" fmla="*/ 3475976 h 3475976"/>
                <a:gd name="connsiteX5" fmla="*/ 1177872 w 1177872"/>
                <a:gd name="connsiteY5" fmla="*/ 3474578 h 3475976"/>
                <a:gd name="connsiteX6" fmla="*/ 1177872 w 1177872"/>
                <a:gd name="connsiteY6" fmla="*/ 2733990 h 3475976"/>
                <a:gd name="connsiteX0" fmla="*/ 0 w 1177872"/>
                <a:gd name="connsiteY0" fmla="*/ 0 h 3474578"/>
                <a:gd name="connsiteX1" fmla="*/ 98215 w 1177872"/>
                <a:gd name="connsiteY1" fmla="*/ 1627 h 3474578"/>
                <a:gd name="connsiteX2" fmla="*/ 97218 w 1177872"/>
                <a:gd name="connsiteY2" fmla="*/ 353527 h 3474578"/>
                <a:gd name="connsiteX3" fmla="*/ 699059 w 1177872"/>
                <a:gd name="connsiteY3" fmla="*/ 478823 h 3474578"/>
                <a:gd name="connsiteX4" fmla="*/ 1177872 w 1177872"/>
                <a:gd name="connsiteY4" fmla="*/ 3474578 h 3474578"/>
                <a:gd name="connsiteX5" fmla="*/ 1177872 w 1177872"/>
                <a:gd name="connsiteY5" fmla="*/ 2733990 h 3474578"/>
                <a:gd name="connsiteX0" fmla="*/ 0 w 1177872"/>
                <a:gd name="connsiteY0" fmla="*/ 0 h 2733990"/>
                <a:gd name="connsiteX1" fmla="*/ 98215 w 1177872"/>
                <a:gd name="connsiteY1" fmla="*/ 1627 h 2733990"/>
                <a:gd name="connsiteX2" fmla="*/ 97218 w 1177872"/>
                <a:gd name="connsiteY2" fmla="*/ 353527 h 2733990"/>
                <a:gd name="connsiteX3" fmla="*/ 699059 w 1177872"/>
                <a:gd name="connsiteY3" fmla="*/ 478823 h 2733990"/>
                <a:gd name="connsiteX4" fmla="*/ 1177872 w 1177872"/>
                <a:gd name="connsiteY4" fmla="*/ 2733990 h 2733990"/>
                <a:gd name="connsiteX0" fmla="*/ 0 w 699059"/>
                <a:gd name="connsiteY0" fmla="*/ 0 h 2000532"/>
                <a:gd name="connsiteX1" fmla="*/ 98215 w 699059"/>
                <a:gd name="connsiteY1" fmla="*/ 1627 h 2000532"/>
                <a:gd name="connsiteX2" fmla="*/ 97218 w 699059"/>
                <a:gd name="connsiteY2" fmla="*/ 353527 h 2000532"/>
                <a:gd name="connsiteX3" fmla="*/ 699059 w 699059"/>
                <a:gd name="connsiteY3" fmla="*/ 478823 h 2000532"/>
                <a:gd name="connsiteX4" fmla="*/ 693208 w 699059"/>
                <a:gd name="connsiteY4" fmla="*/ 2000532 h 2000532"/>
                <a:gd name="connsiteX0" fmla="*/ 0 w 700170"/>
                <a:gd name="connsiteY0" fmla="*/ 0 h 2003763"/>
                <a:gd name="connsiteX1" fmla="*/ 98215 w 700170"/>
                <a:gd name="connsiteY1" fmla="*/ 1627 h 2003763"/>
                <a:gd name="connsiteX2" fmla="*/ 97218 w 700170"/>
                <a:gd name="connsiteY2" fmla="*/ 353527 h 2003763"/>
                <a:gd name="connsiteX3" fmla="*/ 699059 w 700170"/>
                <a:gd name="connsiteY3" fmla="*/ 478823 h 2003763"/>
                <a:gd name="connsiteX4" fmla="*/ 699670 w 700170"/>
                <a:gd name="connsiteY4" fmla="*/ 2003763 h 2003763"/>
                <a:gd name="connsiteX0" fmla="*/ 0 w 1436273"/>
                <a:gd name="connsiteY0" fmla="*/ 0 h 1384638"/>
                <a:gd name="connsiteX1" fmla="*/ 98215 w 1436273"/>
                <a:gd name="connsiteY1" fmla="*/ 1627 h 1384638"/>
                <a:gd name="connsiteX2" fmla="*/ 97218 w 1436273"/>
                <a:gd name="connsiteY2" fmla="*/ 353527 h 1384638"/>
                <a:gd name="connsiteX3" fmla="*/ 699059 w 1436273"/>
                <a:gd name="connsiteY3" fmla="*/ 478823 h 1384638"/>
                <a:gd name="connsiteX4" fmla="*/ 1436270 w 1436273"/>
                <a:gd name="connsiteY4" fmla="*/ 1384638 h 1384638"/>
                <a:gd name="connsiteX0" fmla="*/ 0 w 1436272"/>
                <a:gd name="connsiteY0" fmla="*/ 0 h 1384638"/>
                <a:gd name="connsiteX1" fmla="*/ 98215 w 1436272"/>
                <a:gd name="connsiteY1" fmla="*/ 1627 h 1384638"/>
                <a:gd name="connsiteX2" fmla="*/ 97218 w 1436272"/>
                <a:gd name="connsiteY2" fmla="*/ 353527 h 1384638"/>
                <a:gd name="connsiteX3" fmla="*/ 114859 w 1436272"/>
                <a:gd name="connsiteY3" fmla="*/ 1097948 h 1384638"/>
                <a:gd name="connsiteX4" fmla="*/ 1436270 w 1436272"/>
                <a:gd name="connsiteY4" fmla="*/ 1384638 h 1384638"/>
                <a:gd name="connsiteX0" fmla="*/ 0 w 1436273"/>
                <a:gd name="connsiteY0" fmla="*/ 0 h 1384638"/>
                <a:gd name="connsiteX1" fmla="*/ 98215 w 1436273"/>
                <a:gd name="connsiteY1" fmla="*/ 1627 h 1384638"/>
                <a:gd name="connsiteX2" fmla="*/ 97218 w 1436273"/>
                <a:gd name="connsiteY2" fmla="*/ 353527 h 1384638"/>
                <a:gd name="connsiteX3" fmla="*/ 114859 w 1436273"/>
                <a:gd name="connsiteY3" fmla="*/ 1097948 h 1384638"/>
                <a:gd name="connsiteX4" fmla="*/ 1436270 w 1436273"/>
                <a:gd name="connsiteY4" fmla="*/ 1384638 h 1384638"/>
                <a:gd name="connsiteX0" fmla="*/ 0 w 1436270"/>
                <a:gd name="connsiteY0" fmla="*/ 0 h 1384638"/>
                <a:gd name="connsiteX1" fmla="*/ 98215 w 1436270"/>
                <a:gd name="connsiteY1" fmla="*/ 1627 h 1384638"/>
                <a:gd name="connsiteX2" fmla="*/ 97218 w 1436270"/>
                <a:gd name="connsiteY2" fmla="*/ 353527 h 1384638"/>
                <a:gd name="connsiteX3" fmla="*/ 114859 w 1436270"/>
                <a:gd name="connsiteY3" fmla="*/ 1097948 h 1384638"/>
                <a:gd name="connsiteX4" fmla="*/ 1436270 w 1436270"/>
                <a:gd name="connsiteY4" fmla="*/ 1384638 h 1384638"/>
                <a:gd name="connsiteX0" fmla="*/ 0 w 458370"/>
                <a:gd name="connsiteY0" fmla="*/ 0 h 1098143"/>
                <a:gd name="connsiteX1" fmla="*/ 98215 w 458370"/>
                <a:gd name="connsiteY1" fmla="*/ 1627 h 1098143"/>
                <a:gd name="connsiteX2" fmla="*/ 97218 w 458370"/>
                <a:gd name="connsiteY2" fmla="*/ 353527 h 1098143"/>
                <a:gd name="connsiteX3" fmla="*/ 114859 w 458370"/>
                <a:gd name="connsiteY3" fmla="*/ 1097948 h 1098143"/>
                <a:gd name="connsiteX4" fmla="*/ 458370 w 458370"/>
                <a:gd name="connsiteY4" fmla="*/ 387688 h 1098143"/>
                <a:gd name="connsiteX0" fmla="*/ 0 w 479012"/>
                <a:gd name="connsiteY0" fmla="*/ 0 h 1100145"/>
                <a:gd name="connsiteX1" fmla="*/ 98215 w 479012"/>
                <a:gd name="connsiteY1" fmla="*/ 1627 h 1100145"/>
                <a:gd name="connsiteX2" fmla="*/ 97218 w 479012"/>
                <a:gd name="connsiteY2" fmla="*/ 353527 h 1100145"/>
                <a:gd name="connsiteX3" fmla="*/ 114859 w 479012"/>
                <a:gd name="connsiteY3" fmla="*/ 1097948 h 1100145"/>
                <a:gd name="connsiteX4" fmla="*/ 458370 w 479012"/>
                <a:gd name="connsiteY4" fmla="*/ 387688 h 1100145"/>
                <a:gd name="connsiteX0" fmla="*/ 0 w 458370"/>
                <a:gd name="connsiteY0" fmla="*/ 0 h 1204192"/>
                <a:gd name="connsiteX1" fmla="*/ 98215 w 458370"/>
                <a:gd name="connsiteY1" fmla="*/ 1627 h 1204192"/>
                <a:gd name="connsiteX2" fmla="*/ 97218 w 458370"/>
                <a:gd name="connsiteY2" fmla="*/ 353527 h 1204192"/>
                <a:gd name="connsiteX3" fmla="*/ 114859 w 458370"/>
                <a:gd name="connsiteY3" fmla="*/ 1097948 h 1204192"/>
                <a:gd name="connsiteX4" fmla="*/ 458370 w 458370"/>
                <a:gd name="connsiteY4" fmla="*/ 387688 h 1204192"/>
                <a:gd name="connsiteX0" fmla="*/ 0 w 458370"/>
                <a:gd name="connsiteY0" fmla="*/ 0 h 1204192"/>
                <a:gd name="connsiteX1" fmla="*/ 97218 w 458370"/>
                <a:gd name="connsiteY1" fmla="*/ 353527 h 1204192"/>
                <a:gd name="connsiteX2" fmla="*/ 114859 w 458370"/>
                <a:gd name="connsiteY2" fmla="*/ 1097948 h 1204192"/>
                <a:gd name="connsiteX3" fmla="*/ 458370 w 458370"/>
                <a:gd name="connsiteY3" fmla="*/ 387688 h 1204192"/>
                <a:gd name="connsiteX0" fmla="*/ 0 w 458370"/>
                <a:gd name="connsiteY0" fmla="*/ 0 h 1204192"/>
                <a:gd name="connsiteX1" fmla="*/ 114859 w 458370"/>
                <a:gd name="connsiteY1" fmla="*/ 1097948 h 1204192"/>
                <a:gd name="connsiteX2" fmla="*/ 458370 w 458370"/>
                <a:gd name="connsiteY2" fmla="*/ 387688 h 1204192"/>
                <a:gd name="connsiteX0" fmla="*/ 0 w 458370"/>
                <a:gd name="connsiteY0" fmla="*/ 0 h 1236601"/>
                <a:gd name="connsiteX1" fmla="*/ 13259 w 458370"/>
                <a:gd name="connsiteY1" fmla="*/ 1136048 h 1236601"/>
                <a:gd name="connsiteX2" fmla="*/ 458370 w 458370"/>
                <a:gd name="connsiteY2" fmla="*/ 387688 h 1236601"/>
                <a:gd name="connsiteX0" fmla="*/ 0 w 458370"/>
                <a:gd name="connsiteY0" fmla="*/ 0 h 1194651"/>
                <a:gd name="connsiteX1" fmla="*/ 13259 w 458370"/>
                <a:gd name="connsiteY1" fmla="*/ 1136048 h 1194651"/>
                <a:gd name="connsiteX2" fmla="*/ 325645 w 458370"/>
                <a:gd name="connsiteY2" fmla="*/ 964431 h 1194651"/>
                <a:gd name="connsiteX3" fmla="*/ 458370 w 458370"/>
                <a:gd name="connsiteY3" fmla="*/ 387688 h 1194651"/>
                <a:gd name="connsiteX0" fmla="*/ 0 w 487444"/>
                <a:gd name="connsiteY0" fmla="*/ 0 h 1232741"/>
                <a:gd name="connsiteX1" fmla="*/ 13259 w 487444"/>
                <a:gd name="connsiteY1" fmla="*/ 1136048 h 1232741"/>
                <a:gd name="connsiteX2" fmla="*/ 458995 w 487444"/>
                <a:gd name="connsiteY2" fmla="*/ 1110481 h 1232741"/>
                <a:gd name="connsiteX3" fmla="*/ 458370 w 487444"/>
                <a:gd name="connsiteY3" fmla="*/ 387688 h 1232741"/>
                <a:gd name="connsiteX0" fmla="*/ 0 w 458995"/>
                <a:gd name="connsiteY0" fmla="*/ 0 h 1232741"/>
                <a:gd name="connsiteX1" fmla="*/ 13259 w 458995"/>
                <a:gd name="connsiteY1" fmla="*/ 1136048 h 1232741"/>
                <a:gd name="connsiteX2" fmla="*/ 458995 w 458995"/>
                <a:gd name="connsiteY2" fmla="*/ 1110481 h 1232741"/>
                <a:gd name="connsiteX3" fmla="*/ 458370 w 458995"/>
                <a:gd name="connsiteY3" fmla="*/ 387688 h 1232741"/>
                <a:gd name="connsiteX0" fmla="*/ 0 w 462225"/>
                <a:gd name="connsiteY0" fmla="*/ 0 h 1232741"/>
                <a:gd name="connsiteX1" fmla="*/ 13259 w 462225"/>
                <a:gd name="connsiteY1" fmla="*/ 1136048 h 1232741"/>
                <a:gd name="connsiteX2" fmla="*/ 458995 w 462225"/>
                <a:gd name="connsiteY2" fmla="*/ 1110481 h 1232741"/>
                <a:gd name="connsiteX3" fmla="*/ 458370 w 462225"/>
                <a:gd name="connsiteY3" fmla="*/ 387688 h 1232741"/>
                <a:gd name="connsiteX0" fmla="*/ 0 w 462225"/>
                <a:gd name="connsiteY0" fmla="*/ 0 h 1200388"/>
                <a:gd name="connsiteX1" fmla="*/ 13259 w 462225"/>
                <a:gd name="connsiteY1" fmla="*/ 1136048 h 1200388"/>
                <a:gd name="connsiteX2" fmla="*/ 458995 w 462225"/>
                <a:gd name="connsiteY2" fmla="*/ 1110481 h 1200388"/>
                <a:gd name="connsiteX3" fmla="*/ 458370 w 462225"/>
                <a:gd name="connsiteY3" fmla="*/ 387688 h 1200388"/>
                <a:gd name="connsiteX0" fmla="*/ 0 w 462225"/>
                <a:gd name="connsiteY0" fmla="*/ 0 h 1136554"/>
                <a:gd name="connsiteX1" fmla="*/ 13259 w 462225"/>
                <a:gd name="connsiteY1" fmla="*/ 1136048 h 1136554"/>
                <a:gd name="connsiteX2" fmla="*/ 458995 w 462225"/>
                <a:gd name="connsiteY2" fmla="*/ 1110481 h 1136554"/>
                <a:gd name="connsiteX3" fmla="*/ 458370 w 462225"/>
                <a:gd name="connsiteY3" fmla="*/ 387688 h 1136554"/>
                <a:gd name="connsiteX0" fmla="*/ 0 w 462225"/>
                <a:gd name="connsiteY0" fmla="*/ 0 h 1136648"/>
                <a:gd name="connsiteX1" fmla="*/ 13259 w 462225"/>
                <a:gd name="connsiteY1" fmla="*/ 1136048 h 1136648"/>
                <a:gd name="connsiteX2" fmla="*/ 458995 w 462225"/>
                <a:gd name="connsiteY2" fmla="*/ 1110481 h 1136648"/>
                <a:gd name="connsiteX3" fmla="*/ 458370 w 462225"/>
                <a:gd name="connsiteY3" fmla="*/ 387688 h 1136648"/>
                <a:gd name="connsiteX0" fmla="*/ 0 w 465178"/>
                <a:gd name="connsiteY0" fmla="*/ 0 h 1137831"/>
                <a:gd name="connsiteX1" fmla="*/ 13259 w 465178"/>
                <a:gd name="connsiteY1" fmla="*/ 1136048 h 1137831"/>
                <a:gd name="connsiteX2" fmla="*/ 462170 w 465178"/>
                <a:gd name="connsiteY2" fmla="*/ 1132706 h 1137831"/>
                <a:gd name="connsiteX3" fmla="*/ 458370 w 465178"/>
                <a:gd name="connsiteY3" fmla="*/ 387688 h 1137831"/>
                <a:gd name="connsiteX0" fmla="*/ 0 w 462206"/>
                <a:gd name="connsiteY0" fmla="*/ 0 h 1137831"/>
                <a:gd name="connsiteX1" fmla="*/ 13259 w 462206"/>
                <a:gd name="connsiteY1" fmla="*/ 1136048 h 1137831"/>
                <a:gd name="connsiteX2" fmla="*/ 462170 w 462206"/>
                <a:gd name="connsiteY2" fmla="*/ 1132706 h 1137831"/>
                <a:gd name="connsiteX3" fmla="*/ 458370 w 462206"/>
                <a:gd name="connsiteY3" fmla="*/ 387688 h 1137831"/>
                <a:gd name="connsiteX0" fmla="*/ 0 w 462348"/>
                <a:gd name="connsiteY0" fmla="*/ 0 h 1137831"/>
                <a:gd name="connsiteX1" fmla="*/ 13259 w 462348"/>
                <a:gd name="connsiteY1" fmla="*/ 1136048 h 1137831"/>
                <a:gd name="connsiteX2" fmla="*/ 462170 w 462348"/>
                <a:gd name="connsiteY2" fmla="*/ 1132706 h 1137831"/>
                <a:gd name="connsiteX3" fmla="*/ 458370 w 462348"/>
                <a:gd name="connsiteY3" fmla="*/ 387688 h 1137831"/>
                <a:gd name="connsiteX0" fmla="*/ 0 w 462348"/>
                <a:gd name="connsiteY0" fmla="*/ 0 h 1136048"/>
                <a:gd name="connsiteX1" fmla="*/ 13259 w 462348"/>
                <a:gd name="connsiteY1" fmla="*/ 1136048 h 1136048"/>
                <a:gd name="connsiteX2" fmla="*/ 462170 w 462348"/>
                <a:gd name="connsiteY2" fmla="*/ 1132706 h 1136048"/>
                <a:gd name="connsiteX3" fmla="*/ 458370 w 462348"/>
                <a:gd name="connsiteY3" fmla="*/ 387688 h 1136048"/>
                <a:gd name="connsiteX0" fmla="*/ 0 w 462348"/>
                <a:gd name="connsiteY0" fmla="*/ 0 h 1136048"/>
                <a:gd name="connsiteX1" fmla="*/ 13259 w 462348"/>
                <a:gd name="connsiteY1" fmla="*/ 1136048 h 1136048"/>
                <a:gd name="connsiteX2" fmla="*/ 462170 w 462348"/>
                <a:gd name="connsiteY2" fmla="*/ 1132706 h 1136048"/>
                <a:gd name="connsiteX3" fmla="*/ 458370 w 462348"/>
                <a:gd name="connsiteY3" fmla="*/ 387688 h 1136048"/>
              </a:gdLst>
              <a:ahLst/>
              <a:cxnLst>
                <a:cxn ang="0">
                  <a:pos x="connsiteX0" y="connsiteY0"/>
                </a:cxn>
                <a:cxn ang="0">
                  <a:pos x="connsiteX1" y="connsiteY1"/>
                </a:cxn>
                <a:cxn ang="0">
                  <a:pos x="connsiteX2" y="connsiteY2"/>
                </a:cxn>
                <a:cxn ang="0">
                  <a:pos x="connsiteX3" y="connsiteY3"/>
                </a:cxn>
              </a:cxnLst>
              <a:rect l="l" t="t" r="r" b="b"/>
              <a:pathLst>
                <a:path w="462348" h="1136048">
                  <a:moveTo>
                    <a:pt x="0" y="0"/>
                  </a:moveTo>
                  <a:lnTo>
                    <a:pt x="13259" y="1136048"/>
                  </a:lnTo>
                  <a:cubicBezTo>
                    <a:pt x="242158" y="1131687"/>
                    <a:pt x="168910" y="1136783"/>
                    <a:pt x="462170" y="1132706"/>
                  </a:cubicBezTo>
                  <a:cubicBezTo>
                    <a:pt x="463330" y="1001629"/>
                    <a:pt x="458474" y="563187"/>
                    <a:pt x="458370" y="387688"/>
                  </a:cubicBezTo>
                </a:path>
              </a:pathLst>
            </a:custGeom>
            <a:noFill/>
            <a:ln w="15875" cap="flat" cmpd="sng" algn="ctr">
              <a:solidFill>
                <a:srgbClr val="FF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nvGrpSpPr>
            <p:cNvPr id="13" name="Group 12">
              <a:extLst>
                <a:ext uri="{FF2B5EF4-FFF2-40B4-BE49-F238E27FC236}">
                  <a16:creationId xmlns:a16="http://schemas.microsoft.com/office/drawing/2014/main" id="{FEA0DF5D-72B7-465E-9376-48D784CDC691}"/>
                </a:ext>
              </a:extLst>
            </p:cNvPr>
            <p:cNvGrpSpPr/>
            <p:nvPr/>
          </p:nvGrpSpPr>
          <p:grpSpPr>
            <a:xfrm>
              <a:off x="9084775" y="2640394"/>
              <a:ext cx="748518" cy="417369"/>
              <a:chOff x="5118027" y="2697950"/>
              <a:chExt cx="748518" cy="417369"/>
            </a:xfrm>
          </p:grpSpPr>
          <p:sp>
            <p:nvSpPr>
              <p:cNvPr id="28" name="Rounded Rectangle 22">
                <a:extLst>
                  <a:ext uri="{FF2B5EF4-FFF2-40B4-BE49-F238E27FC236}">
                    <a16:creationId xmlns:a16="http://schemas.microsoft.com/office/drawing/2014/main" id="{3F1E07AF-1F50-45AF-A5FE-2C5A44B04E06}"/>
                  </a:ext>
                </a:extLst>
              </p:cNvPr>
              <p:cNvSpPr>
                <a:spLocks noChangeAspect="1"/>
              </p:cNvSpPr>
              <p:nvPr/>
            </p:nvSpPr>
            <p:spPr>
              <a:xfrm>
                <a:off x="5592225" y="2697950"/>
                <a:ext cx="274320" cy="274320"/>
              </a:xfrm>
              <a:prstGeom prst="roundRect">
                <a:avLst/>
              </a:prstGeom>
              <a:solidFill>
                <a:srgbClr val="C0504D"/>
              </a:solidFill>
              <a:ln w="25400" cap="flat" cmpd="sng" algn="ctr">
                <a:solidFill>
                  <a:srgbClr val="C0504D"/>
                </a:solidFill>
                <a:prstDash val="solid"/>
              </a:ln>
              <a:effectLst/>
              <a:scene3d>
                <a:camera prst="isometricOffAxis2Right">
                  <a:rot lat="20266652" lon="18255692" rev="199384"/>
                </a:camera>
                <a:lightRig rig="threePt" dir="t"/>
              </a:scene3d>
              <a:sp3d extrusionH="190500">
                <a:bevelT w="63500" h="63500"/>
                <a:bevelB w="63500" h="635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42647846-34AD-4800-BC65-ECAC280C2FE7}"/>
                  </a:ext>
                </a:extLst>
              </p:cNvPr>
              <p:cNvSpPr/>
              <p:nvPr/>
            </p:nvSpPr>
            <p:spPr>
              <a:xfrm>
                <a:off x="5118027" y="2970028"/>
                <a:ext cx="640080" cy="145291"/>
              </a:xfrm>
              <a:prstGeom prst="rect">
                <a:avLst/>
              </a:prstGeom>
              <a:solidFill>
                <a:srgbClr val="9BBB59"/>
              </a:solidFill>
              <a:ln w="25400" cap="flat" cmpd="sng" algn="ctr">
                <a:solidFill>
                  <a:srgbClr val="9BBB59"/>
                </a:solidFill>
                <a:prstDash val="solid"/>
              </a:ln>
              <a:effectLst/>
              <a:scene3d>
                <a:camera prst="isometricOffAxis1Top">
                  <a:rot lat="19262532" lon="6789613" rev="15174032"/>
                </a:camera>
                <a:lightRig rig="threePt" dir="t"/>
              </a:scene3d>
              <a:sp3d extrusionH="25400"/>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sp>
          <p:nvSpPr>
            <p:cNvPr id="14" name="Freeform 24">
              <a:extLst>
                <a:ext uri="{FF2B5EF4-FFF2-40B4-BE49-F238E27FC236}">
                  <a16:creationId xmlns:a16="http://schemas.microsoft.com/office/drawing/2014/main" id="{6AF9EEA3-FC83-4624-9205-B2C215B1C4C8}"/>
                </a:ext>
              </a:extLst>
            </p:cNvPr>
            <p:cNvSpPr/>
            <p:nvPr/>
          </p:nvSpPr>
          <p:spPr>
            <a:xfrm>
              <a:off x="9184870" y="2959942"/>
              <a:ext cx="371448" cy="2098385"/>
            </a:xfrm>
            <a:custGeom>
              <a:avLst/>
              <a:gdLst>
                <a:gd name="connsiteX0" fmla="*/ 0 w 1080654"/>
                <a:gd name="connsiteY0" fmla="*/ 0 h 3483788"/>
                <a:gd name="connsiteX1" fmla="*/ 0 w 1080654"/>
                <a:gd name="connsiteY1" fmla="*/ 347623 h 3483788"/>
                <a:gd name="connsiteX2" fmla="*/ 748145 w 1080654"/>
                <a:gd name="connsiteY2" fmla="*/ 491207 h 3483788"/>
                <a:gd name="connsiteX3" fmla="*/ 763259 w 1080654"/>
                <a:gd name="connsiteY3" fmla="*/ 3483788 h 3483788"/>
                <a:gd name="connsiteX4" fmla="*/ 1080654 w 1080654"/>
                <a:gd name="connsiteY4" fmla="*/ 3468674 h 3483788"/>
                <a:gd name="connsiteX5" fmla="*/ 1080654 w 1080654"/>
                <a:gd name="connsiteY5" fmla="*/ 2728086 h 3483788"/>
                <a:gd name="connsiteX0" fmla="*/ 24 w 1080678"/>
                <a:gd name="connsiteY0" fmla="*/ 0 h 3483788"/>
                <a:gd name="connsiteX1" fmla="*/ 188950 w 1080678"/>
                <a:gd name="connsiteY1" fmla="*/ 15114 h 3483788"/>
                <a:gd name="connsiteX2" fmla="*/ 24 w 1080678"/>
                <a:gd name="connsiteY2" fmla="*/ 347623 h 3483788"/>
                <a:gd name="connsiteX3" fmla="*/ 748169 w 1080678"/>
                <a:gd name="connsiteY3" fmla="*/ 491207 h 3483788"/>
                <a:gd name="connsiteX4" fmla="*/ 763283 w 1080678"/>
                <a:gd name="connsiteY4" fmla="*/ 3483788 h 3483788"/>
                <a:gd name="connsiteX5" fmla="*/ 1080678 w 1080678"/>
                <a:gd name="connsiteY5" fmla="*/ 3468674 h 3483788"/>
                <a:gd name="connsiteX6" fmla="*/ 1080678 w 1080678"/>
                <a:gd name="connsiteY6" fmla="*/ 2728086 h 3483788"/>
                <a:gd name="connsiteX0" fmla="*/ 15 w 1194024"/>
                <a:gd name="connsiteY0" fmla="*/ 0 h 3498902"/>
                <a:gd name="connsiteX1" fmla="*/ 302296 w 1194024"/>
                <a:gd name="connsiteY1" fmla="*/ 30228 h 3498902"/>
                <a:gd name="connsiteX2" fmla="*/ 113370 w 1194024"/>
                <a:gd name="connsiteY2" fmla="*/ 362737 h 3498902"/>
                <a:gd name="connsiteX3" fmla="*/ 861515 w 1194024"/>
                <a:gd name="connsiteY3" fmla="*/ 506321 h 3498902"/>
                <a:gd name="connsiteX4" fmla="*/ 876629 w 1194024"/>
                <a:gd name="connsiteY4" fmla="*/ 3498902 h 3498902"/>
                <a:gd name="connsiteX5" fmla="*/ 1194024 w 1194024"/>
                <a:gd name="connsiteY5" fmla="*/ 3483788 h 3498902"/>
                <a:gd name="connsiteX6" fmla="*/ 1194024 w 1194024"/>
                <a:gd name="connsiteY6" fmla="*/ 2743200 h 3498902"/>
                <a:gd name="connsiteX0" fmla="*/ 39 w 1194048"/>
                <a:gd name="connsiteY0" fmla="*/ 0 h 3498902"/>
                <a:gd name="connsiteX1" fmla="*/ 113394 w 1194048"/>
                <a:gd name="connsiteY1" fmla="*/ 37785 h 3498902"/>
                <a:gd name="connsiteX2" fmla="*/ 113394 w 1194048"/>
                <a:gd name="connsiteY2" fmla="*/ 362737 h 3498902"/>
                <a:gd name="connsiteX3" fmla="*/ 861539 w 1194048"/>
                <a:gd name="connsiteY3" fmla="*/ 506321 h 3498902"/>
                <a:gd name="connsiteX4" fmla="*/ 876653 w 1194048"/>
                <a:gd name="connsiteY4" fmla="*/ 3498902 h 3498902"/>
                <a:gd name="connsiteX5" fmla="*/ 1194048 w 1194048"/>
                <a:gd name="connsiteY5" fmla="*/ 3483788 h 3498902"/>
                <a:gd name="connsiteX6" fmla="*/ 1194048 w 1194048"/>
                <a:gd name="connsiteY6" fmla="*/ 2743200 h 3498902"/>
                <a:gd name="connsiteX0" fmla="*/ 34 w 1194043"/>
                <a:gd name="connsiteY0" fmla="*/ 11634 h 3510536"/>
                <a:gd name="connsiteX1" fmla="*/ 136060 w 1194043"/>
                <a:gd name="connsiteY1" fmla="*/ 11634 h 3510536"/>
                <a:gd name="connsiteX2" fmla="*/ 113389 w 1194043"/>
                <a:gd name="connsiteY2" fmla="*/ 374371 h 3510536"/>
                <a:gd name="connsiteX3" fmla="*/ 861534 w 1194043"/>
                <a:gd name="connsiteY3" fmla="*/ 517955 h 3510536"/>
                <a:gd name="connsiteX4" fmla="*/ 876648 w 1194043"/>
                <a:gd name="connsiteY4" fmla="*/ 3510536 h 3510536"/>
                <a:gd name="connsiteX5" fmla="*/ 1194043 w 1194043"/>
                <a:gd name="connsiteY5" fmla="*/ 3495422 h 3510536"/>
                <a:gd name="connsiteX6" fmla="*/ 1194043 w 1194043"/>
                <a:gd name="connsiteY6" fmla="*/ 2754834 h 3510536"/>
                <a:gd name="connsiteX0" fmla="*/ 32 w 1194041"/>
                <a:gd name="connsiteY0" fmla="*/ 0 h 3498902"/>
                <a:gd name="connsiteX1" fmla="*/ 143615 w 1194041"/>
                <a:gd name="connsiteY1" fmla="*/ 22671 h 3498902"/>
                <a:gd name="connsiteX2" fmla="*/ 113387 w 1194041"/>
                <a:gd name="connsiteY2" fmla="*/ 362737 h 3498902"/>
                <a:gd name="connsiteX3" fmla="*/ 861532 w 1194041"/>
                <a:gd name="connsiteY3" fmla="*/ 506321 h 3498902"/>
                <a:gd name="connsiteX4" fmla="*/ 876646 w 1194041"/>
                <a:gd name="connsiteY4" fmla="*/ 3498902 h 3498902"/>
                <a:gd name="connsiteX5" fmla="*/ 1194041 w 1194041"/>
                <a:gd name="connsiteY5" fmla="*/ 3483788 h 3498902"/>
                <a:gd name="connsiteX6" fmla="*/ 1194041 w 1194041"/>
                <a:gd name="connsiteY6" fmla="*/ 2743200 h 3498902"/>
                <a:gd name="connsiteX0" fmla="*/ 37 w 1194046"/>
                <a:gd name="connsiteY0" fmla="*/ 0 h 3498902"/>
                <a:gd name="connsiteX1" fmla="*/ 120949 w 1194046"/>
                <a:gd name="connsiteY1" fmla="*/ 37785 h 3498902"/>
                <a:gd name="connsiteX2" fmla="*/ 113392 w 1194046"/>
                <a:gd name="connsiteY2" fmla="*/ 362737 h 3498902"/>
                <a:gd name="connsiteX3" fmla="*/ 861537 w 1194046"/>
                <a:gd name="connsiteY3" fmla="*/ 506321 h 3498902"/>
                <a:gd name="connsiteX4" fmla="*/ 876651 w 1194046"/>
                <a:gd name="connsiteY4" fmla="*/ 3498902 h 3498902"/>
                <a:gd name="connsiteX5" fmla="*/ 1194046 w 1194046"/>
                <a:gd name="connsiteY5" fmla="*/ 3483788 h 3498902"/>
                <a:gd name="connsiteX6" fmla="*/ 1194046 w 1194046"/>
                <a:gd name="connsiteY6" fmla="*/ 2743200 h 3498902"/>
                <a:gd name="connsiteX0" fmla="*/ 40 w 1186492"/>
                <a:gd name="connsiteY0" fmla="*/ 0 h 3476231"/>
                <a:gd name="connsiteX1" fmla="*/ 113395 w 1186492"/>
                <a:gd name="connsiteY1" fmla="*/ 15114 h 3476231"/>
                <a:gd name="connsiteX2" fmla="*/ 105838 w 1186492"/>
                <a:gd name="connsiteY2" fmla="*/ 340066 h 3476231"/>
                <a:gd name="connsiteX3" fmla="*/ 853983 w 1186492"/>
                <a:gd name="connsiteY3" fmla="*/ 483650 h 3476231"/>
                <a:gd name="connsiteX4" fmla="*/ 869097 w 1186492"/>
                <a:gd name="connsiteY4" fmla="*/ 3476231 h 3476231"/>
                <a:gd name="connsiteX5" fmla="*/ 1186492 w 1186492"/>
                <a:gd name="connsiteY5" fmla="*/ 3461117 h 3476231"/>
                <a:gd name="connsiteX6" fmla="*/ 1186492 w 1186492"/>
                <a:gd name="connsiteY6" fmla="*/ 2720529 h 3476231"/>
                <a:gd name="connsiteX0" fmla="*/ 43 w 1178938"/>
                <a:gd name="connsiteY0" fmla="*/ 0 h 3710499"/>
                <a:gd name="connsiteX1" fmla="*/ 105841 w 1178938"/>
                <a:gd name="connsiteY1" fmla="*/ 249382 h 3710499"/>
                <a:gd name="connsiteX2" fmla="*/ 98284 w 1178938"/>
                <a:gd name="connsiteY2" fmla="*/ 574334 h 3710499"/>
                <a:gd name="connsiteX3" fmla="*/ 846429 w 1178938"/>
                <a:gd name="connsiteY3" fmla="*/ 717918 h 3710499"/>
                <a:gd name="connsiteX4" fmla="*/ 861543 w 1178938"/>
                <a:gd name="connsiteY4" fmla="*/ 3710499 h 3710499"/>
                <a:gd name="connsiteX5" fmla="*/ 1178938 w 1178938"/>
                <a:gd name="connsiteY5" fmla="*/ 3695385 h 3710499"/>
                <a:gd name="connsiteX6" fmla="*/ 1178938 w 1178938"/>
                <a:gd name="connsiteY6" fmla="*/ 2954797 h 3710499"/>
                <a:gd name="connsiteX0" fmla="*/ 35 w 1201601"/>
                <a:gd name="connsiteY0" fmla="*/ 0 h 3514016"/>
                <a:gd name="connsiteX1" fmla="*/ 128504 w 1201601"/>
                <a:gd name="connsiteY1" fmla="*/ 52899 h 3514016"/>
                <a:gd name="connsiteX2" fmla="*/ 120947 w 1201601"/>
                <a:gd name="connsiteY2" fmla="*/ 377851 h 3514016"/>
                <a:gd name="connsiteX3" fmla="*/ 869092 w 1201601"/>
                <a:gd name="connsiteY3" fmla="*/ 521435 h 3514016"/>
                <a:gd name="connsiteX4" fmla="*/ 884206 w 1201601"/>
                <a:gd name="connsiteY4" fmla="*/ 3514016 h 3514016"/>
                <a:gd name="connsiteX5" fmla="*/ 1201601 w 1201601"/>
                <a:gd name="connsiteY5" fmla="*/ 3498902 h 3514016"/>
                <a:gd name="connsiteX6" fmla="*/ 1201601 w 1201601"/>
                <a:gd name="connsiteY6" fmla="*/ 2758314 h 3514016"/>
                <a:gd name="connsiteX0" fmla="*/ 35 w 1201601"/>
                <a:gd name="connsiteY0" fmla="*/ 0 h 3483788"/>
                <a:gd name="connsiteX1" fmla="*/ 128504 w 1201601"/>
                <a:gd name="connsiteY1" fmla="*/ 22671 h 3483788"/>
                <a:gd name="connsiteX2" fmla="*/ 120947 w 1201601"/>
                <a:gd name="connsiteY2" fmla="*/ 347623 h 3483788"/>
                <a:gd name="connsiteX3" fmla="*/ 869092 w 1201601"/>
                <a:gd name="connsiteY3" fmla="*/ 491207 h 3483788"/>
                <a:gd name="connsiteX4" fmla="*/ 884206 w 1201601"/>
                <a:gd name="connsiteY4" fmla="*/ 3483788 h 3483788"/>
                <a:gd name="connsiteX5" fmla="*/ 1201601 w 1201601"/>
                <a:gd name="connsiteY5" fmla="*/ 3468674 h 3483788"/>
                <a:gd name="connsiteX6" fmla="*/ 1201601 w 1201601"/>
                <a:gd name="connsiteY6" fmla="*/ 2728086 h 3483788"/>
                <a:gd name="connsiteX0" fmla="*/ 35 w 1201601"/>
                <a:gd name="connsiteY0" fmla="*/ 0 h 3506459"/>
                <a:gd name="connsiteX1" fmla="*/ 128504 w 1201601"/>
                <a:gd name="connsiteY1" fmla="*/ 45342 h 3506459"/>
                <a:gd name="connsiteX2" fmla="*/ 120947 w 1201601"/>
                <a:gd name="connsiteY2" fmla="*/ 370294 h 3506459"/>
                <a:gd name="connsiteX3" fmla="*/ 869092 w 1201601"/>
                <a:gd name="connsiteY3" fmla="*/ 513878 h 3506459"/>
                <a:gd name="connsiteX4" fmla="*/ 884206 w 1201601"/>
                <a:gd name="connsiteY4" fmla="*/ 3506459 h 3506459"/>
                <a:gd name="connsiteX5" fmla="*/ 1201601 w 1201601"/>
                <a:gd name="connsiteY5" fmla="*/ 3491345 h 3506459"/>
                <a:gd name="connsiteX6" fmla="*/ 1201601 w 1201601"/>
                <a:gd name="connsiteY6" fmla="*/ 2750757 h 3506459"/>
                <a:gd name="connsiteX0" fmla="*/ 35 w 1201601"/>
                <a:gd name="connsiteY0" fmla="*/ 0 h 3474709"/>
                <a:gd name="connsiteX1" fmla="*/ 128504 w 1201601"/>
                <a:gd name="connsiteY1" fmla="*/ 13592 h 3474709"/>
                <a:gd name="connsiteX2" fmla="*/ 120947 w 1201601"/>
                <a:gd name="connsiteY2" fmla="*/ 338544 h 3474709"/>
                <a:gd name="connsiteX3" fmla="*/ 869092 w 1201601"/>
                <a:gd name="connsiteY3" fmla="*/ 482128 h 3474709"/>
                <a:gd name="connsiteX4" fmla="*/ 884206 w 1201601"/>
                <a:gd name="connsiteY4" fmla="*/ 3474709 h 3474709"/>
                <a:gd name="connsiteX5" fmla="*/ 1201601 w 1201601"/>
                <a:gd name="connsiteY5" fmla="*/ 3459595 h 3474709"/>
                <a:gd name="connsiteX6" fmla="*/ 1201601 w 1201601"/>
                <a:gd name="connsiteY6" fmla="*/ 2719007 h 3474709"/>
                <a:gd name="connsiteX0" fmla="*/ 64 w 1141305"/>
                <a:gd name="connsiteY0" fmla="*/ 2564 h 3474098"/>
                <a:gd name="connsiteX1" fmla="*/ 68208 w 1141305"/>
                <a:gd name="connsiteY1" fmla="*/ 12981 h 3474098"/>
                <a:gd name="connsiteX2" fmla="*/ 60651 w 1141305"/>
                <a:gd name="connsiteY2" fmla="*/ 337933 h 3474098"/>
                <a:gd name="connsiteX3" fmla="*/ 808796 w 1141305"/>
                <a:gd name="connsiteY3" fmla="*/ 481517 h 3474098"/>
                <a:gd name="connsiteX4" fmla="*/ 823910 w 1141305"/>
                <a:gd name="connsiteY4" fmla="*/ 3474098 h 3474098"/>
                <a:gd name="connsiteX5" fmla="*/ 1141305 w 1141305"/>
                <a:gd name="connsiteY5" fmla="*/ 3458984 h 3474098"/>
                <a:gd name="connsiteX6" fmla="*/ 1141305 w 1141305"/>
                <a:gd name="connsiteY6" fmla="*/ 2718396 h 3474098"/>
                <a:gd name="connsiteX0" fmla="*/ 69328 w 1210569"/>
                <a:gd name="connsiteY0" fmla="*/ 12923 h 3484457"/>
                <a:gd name="connsiteX1" fmla="*/ 137472 w 1210569"/>
                <a:gd name="connsiteY1" fmla="*/ 23340 h 3484457"/>
                <a:gd name="connsiteX2" fmla="*/ 129915 w 1210569"/>
                <a:gd name="connsiteY2" fmla="*/ 348292 h 3484457"/>
                <a:gd name="connsiteX3" fmla="*/ 878060 w 1210569"/>
                <a:gd name="connsiteY3" fmla="*/ 491876 h 3484457"/>
                <a:gd name="connsiteX4" fmla="*/ 893174 w 1210569"/>
                <a:gd name="connsiteY4" fmla="*/ 3484457 h 3484457"/>
                <a:gd name="connsiteX5" fmla="*/ 1210569 w 1210569"/>
                <a:gd name="connsiteY5" fmla="*/ 3469343 h 3484457"/>
                <a:gd name="connsiteX6" fmla="*/ 1210569 w 1210569"/>
                <a:gd name="connsiteY6" fmla="*/ 2728755 h 3484457"/>
                <a:gd name="connsiteX0" fmla="*/ 7557 w 1080654"/>
                <a:gd name="connsiteY0" fmla="*/ 0 h 3461117"/>
                <a:gd name="connsiteX1" fmla="*/ 0 w 1080654"/>
                <a:gd name="connsiteY1" fmla="*/ 324952 h 3461117"/>
                <a:gd name="connsiteX2" fmla="*/ 748145 w 1080654"/>
                <a:gd name="connsiteY2" fmla="*/ 468536 h 3461117"/>
                <a:gd name="connsiteX3" fmla="*/ 763259 w 1080654"/>
                <a:gd name="connsiteY3" fmla="*/ 3461117 h 3461117"/>
                <a:gd name="connsiteX4" fmla="*/ 1080654 w 1080654"/>
                <a:gd name="connsiteY4" fmla="*/ 3446003 h 3461117"/>
                <a:gd name="connsiteX5" fmla="*/ 1080654 w 1080654"/>
                <a:gd name="connsiteY5" fmla="*/ 2705415 h 3461117"/>
                <a:gd name="connsiteX0" fmla="*/ 7557 w 1080654"/>
                <a:gd name="connsiteY0" fmla="*/ 0 h 3461117"/>
                <a:gd name="connsiteX1" fmla="*/ 4172 w 1080654"/>
                <a:gd name="connsiteY1" fmla="*/ 77827 h 3461117"/>
                <a:gd name="connsiteX2" fmla="*/ 0 w 1080654"/>
                <a:gd name="connsiteY2" fmla="*/ 324952 h 3461117"/>
                <a:gd name="connsiteX3" fmla="*/ 748145 w 1080654"/>
                <a:gd name="connsiteY3" fmla="*/ 468536 h 3461117"/>
                <a:gd name="connsiteX4" fmla="*/ 763259 w 1080654"/>
                <a:gd name="connsiteY4" fmla="*/ 3461117 h 3461117"/>
                <a:gd name="connsiteX5" fmla="*/ 1080654 w 1080654"/>
                <a:gd name="connsiteY5" fmla="*/ 3446003 h 3461117"/>
                <a:gd name="connsiteX6" fmla="*/ 1080654 w 1080654"/>
                <a:gd name="connsiteY6" fmla="*/ 2705415 h 3461117"/>
                <a:gd name="connsiteX0" fmla="*/ 0 w 1228672"/>
                <a:gd name="connsiteY0" fmla="*/ 0 h 3486517"/>
                <a:gd name="connsiteX1" fmla="*/ 152190 w 1228672"/>
                <a:gd name="connsiteY1" fmla="*/ 103227 h 3486517"/>
                <a:gd name="connsiteX2" fmla="*/ 148018 w 1228672"/>
                <a:gd name="connsiteY2" fmla="*/ 350352 h 3486517"/>
                <a:gd name="connsiteX3" fmla="*/ 896163 w 1228672"/>
                <a:gd name="connsiteY3" fmla="*/ 493936 h 3486517"/>
                <a:gd name="connsiteX4" fmla="*/ 911277 w 1228672"/>
                <a:gd name="connsiteY4" fmla="*/ 3486517 h 3486517"/>
                <a:gd name="connsiteX5" fmla="*/ 1228672 w 1228672"/>
                <a:gd name="connsiteY5" fmla="*/ 3471403 h 3486517"/>
                <a:gd name="connsiteX6" fmla="*/ 1228672 w 1228672"/>
                <a:gd name="connsiteY6" fmla="*/ 2730815 h 3486517"/>
                <a:gd name="connsiteX0" fmla="*/ 0 w 1228672"/>
                <a:gd name="connsiteY0" fmla="*/ 4723 h 3491240"/>
                <a:gd name="connsiteX1" fmla="*/ 145840 w 1228672"/>
                <a:gd name="connsiteY1" fmla="*/ 0 h 3491240"/>
                <a:gd name="connsiteX2" fmla="*/ 148018 w 1228672"/>
                <a:gd name="connsiteY2" fmla="*/ 355075 h 3491240"/>
                <a:gd name="connsiteX3" fmla="*/ 896163 w 1228672"/>
                <a:gd name="connsiteY3" fmla="*/ 498659 h 3491240"/>
                <a:gd name="connsiteX4" fmla="*/ 911277 w 1228672"/>
                <a:gd name="connsiteY4" fmla="*/ 3491240 h 3491240"/>
                <a:gd name="connsiteX5" fmla="*/ 1228672 w 1228672"/>
                <a:gd name="connsiteY5" fmla="*/ 3476126 h 3491240"/>
                <a:gd name="connsiteX6" fmla="*/ 1228672 w 1228672"/>
                <a:gd name="connsiteY6" fmla="*/ 2735538 h 3491240"/>
                <a:gd name="connsiteX0" fmla="*/ 0 w 1177872"/>
                <a:gd name="connsiteY0" fmla="*/ 1548 h 3491240"/>
                <a:gd name="connsiteX1" fmla="*/ 95040 w 1177872"/>
                <a:gd name="connsiteY1" fmla="*/ 0 h 3491240"/>
                <a:gd name="connsiteX2" fmla="*/ 97218 w 1177872"/>
                <a:gd name="connsiteY2" fmla="*/ 355075 h 3491240"/>
                <a:gd name="connsiteX3" fmla="*/ 845363 w 1177872"/>
                <a:gd name="connsiteY3" fmla="*/ 498659 h 3491240"/>
                <a:gd name="connsiteX4" fmla="*/ 860477 w 1177872"/>
                <a:gd name="connsiteY4" fmla="*/ 3491240 h 3491240"/>
                <a:gd name="connsiteX5" fmla="*/ 1177872 w 1177872"/>
                <a:gd name="connsiteY5" fmla="*/ 3476126 h 3491240"/>
                <a:gd name="connsiteX6" fmla="*/ 1177872 w 1177872"/>
                <a:gd name="connsiteY6" fmla="*/ 2735538 h 3491240"/>
                <a:gd name="connsiteX0" fmla="*/ 0 w 1177872"/>
                <a:gd name="connsiteY0" fmla="*/ 0 h 3489692"/>
                <a:gd name="connsiteX1" fmla="*/ 98215 w 1177872"/>
                <a:gd name="connsiteY1" fmla="*/ 1627 h 3489692"/>
                <a:gd name="connsiteX2" fmla="*/ 97218 w 1177872"/>
                <a:gd name="connsiteY2" fmla="*/ 353527 h 3489692"/>
                <a:gd name="connsiteX3" fmla="*/ 845363 w 1177872"/>
                <a:gd name="connsiteY3" fmla="*/ 497111 h 3489692"/>
                <a:gd name="connsiteX4" fmla="*/ 860477 w 1177872"/>
                <a:gd name="connsiteY4" fmla="*/ 3489692 h 3489692"/>
                <a:gd name="connsiteX5" fmla="*/ 1177872 w 1177872"/>
                <a:gd name="connsiteY5" fmla="*/ 3474578 h 3489692"/>
                <a:gd name="connsiteX6" fmla="*/ 1177872 w 1177872"/>
                <a:gd name="connsiteY6" fmla="*/ 2733990 h 3489692"/>
                <a:gd name="connsiteX0" fmla="*/ 0 w 1177872"/>
                <a:gd name="connsiteY0" fmla="*/ 0 h 3489692"/>
                <a:gd name="connsiteX1" fmla="*/ 98215 w 1177872"/>
                <a:gd name="connsiteY1" fmla="*/ 1627 h 3489692"/>
                <a:gd name="connsiteX2" fmla="*/ 97218 w 1177872"/>
                <a:gd name="connsiteY2" fmla="*/ 353527 h 3489692"/>
                <a:gd name="connsiteX3" fmla="*/ 699059 w 1177872"/>
                <a:gd name="connsiteY3" fmla="*/ 478823 h 3489692"/>
                <a:gd name="connsiteX4" fmla="*/ 860477 w 1177872"/>
                <a:gd name="connsiteY4" fmla="*/ 3489692 h 3489692"/>
                <a:gd name="connsiteX5" fmla="*/ 1177872 w 1177872"/>
                <a:gd name="connsiteY5" fmla="*/ 3474578 h 3489692"/>
                <a:gd name="connsiteX6" fmla="*/ 1177872 w 1177872"/>
                <a:gd name="connsiteY6" fmla="*/ 2733990 h 3489692"/>
                <a:gd name="connsiteX0" fmla="*/ 0 w 1177872"/>
                <a:gd name="connsiteY0" fmla="*/ 0 h 3489692"/>
                <a:gd name="connsiteX1" fmla="*/ 98215 w 1177872"/>
                <a:gd name="connsiteY1" fmla="*/ 1627 h 3489692"/>
                <a:gd name="connsiteX2" fmla="*/ 97218 w 1177872"/>
                <a:gd name="connsiteY2" fmla="*/ 353527 h 3489692"/>
                <a:gd name="connsiteX3" fmla="*/ 699059 w 1177872"/>
                <a:gd name="connsiteY3" fmla="*/ 478823 h 3489692"/>
                <a:gd name="connsiteX4" fmla="*/ 718745 w 1177872"/>
                <a:gd name="connsiteY4" fmla="*/ 3489692 h 3489692"/>
                <a:gd name="connsiteX5" fmla="*/ 1177872 w 1177872"/>
                <a:gd name="connsiteY5" fmla="*/ 3474578 h 3489692"/>
                <a:gd name="connsiteX6" fmla="*/ 1177872 w 1177872"/>
                <a:gd name="connsiteY6" fmla="*/ 2733990 h 3489692"/>
                <a:gd name="connsiteX0" fmla="*/ 0 w 1177872"/>
                <a:gd name="connsiteY0" fmla="*/ 0 h 3475976"/>
                <a:gd name="connsiteX1" fmla="*/ 98215 w 1177872"/>
                <a:gd name="connsiteY1" fmla="*/ 1627 h 3475976"/>
                <a:gd name="connsiteX2" fmla="*/ 97218 w 1177872"/>
                <a:gd name="connsiteY2" fmla="*/ 353527 h 3475976"/>
                <a:gd name="connsiteX3" fmla="*/ 699059 w 1177872"/>
                <a:gd name="connsiteY3" fmla="*/ 478823 h 3475976"/>
                <a:gd name="connsiteX4" fmla="*/ 718745 w 1177872"/>
                <a:gd name="connsiteY4" fmla="*/ 3475976 h 3475976"/>
                <a:gd name="connsiteX5" fmla="*/ 1177872 w 1177872"/>
                <a:gd name="connsiteY5" fmla="*/ 3474578 h 3475976"/>
                <a:gd name="connsiteX6" fmla="*/ 1177872 w 1177872"/>
                <a:gd name="connsiteY6" fmla="*/ 2733990 h 3475976"/>
                <a:gd name="connsiteX0" fmla="*/ 0 w 1177872"/>
                <a:gd name="connsiteY0" fmla="*/ 0 h 3474578"/>
                <a:gd name="connsiteX1" fmla="*/ 98215 w 1177872"/>
                <a:gd name="connsiteY1" fmla="*/ 1627 h 3474578"/>
                <a:gd name="connsiteX2" fmla="*/ 97218 w 1177872"/>
                <a:gd name="connsiteY2" fmla="*/ 353527 h 3474578"/>
                <a:gd name="connsiteX3" fmla="*/ 699059 w 1177872"/>
                <a:gd name="connsiteY3" fmla="*/ 478823 h 3474578"/>
                <a:gd name="connsiteX4" fmla="*/ 1177872 w 1177872"/>
                <a:gd name="connsiteY4" fmla="*/ 3474578 h 3474578"/>
                <a:gd name="connsiteX5" fmla="*/ 1177872 w 1177872"/>
                <a:gd name="connsiteY5" fmla="*/ 2733990 h 3474578"/>
                <a:gd name="connsiteX0" fmla="*/ 0 w 1177872"/>
                <a:gd name="connsiteY0" fmla="*/ 0 h 2733990"/>
                <a:gd name="connsiteX1" fmla="*/ 98215 w 1177872"/>
                <a:gd name="connsiteY1" fmla="*/ 1627 h 2733990"/>
                <a:gd name="connsiteX2" fmla="*/ 97218 w 1177872"/>
                <a:gd name="connsiteY2" fmla="*/ 353527 h 2733990"/>
                <a:gd name="connsiteX3" fmla="*/ 699059 w 1177872"/>
                <a:gd name="connsiteY3" fmla="*/ 478823 h 2733990"/>
                <a:gd name="connsiteX4" fmla="*/ 1177872 w 1177872"/>
                <a:gd name="connsiteY4" fmla="*/ 2733990 h 2733990"/>
                <a:gd name="connsiteX0" fmla="*/ 0 w 699059"/>
                <a:gd name="connsiteY0" fmla="*/ 0 h 2000532"/>
                <a:gd name="connsiteX1" fmla="*/ 98215 w 699059"/>
                <a:gd name="connsiteY1" fmla="*/ 1627 h 2000532"/>
                <a:gd name="connsiteX2" fmla="*/ 97218 w 699059"/>
                <a:gd name="connsiteY2" fmla="*/ 353527 h 2000532"/>
                <a:gd name="connsiteX3" fmla="*/ 699059 w 699059"/>
                <a:gd name="connsiteY3" fmla="*/ 478823 h 2000532"/>
                <a:gd name="connsiteX4" fmla="*/ 693208 w 699059"/>
                <a:gd name="connsiteY4" fmla="*/ 2000532 h 2000532"/>
                <a:gd name="connsiteX0" fmla="*/ 0 w 700170"/>
                <a:gd name="connsiteY0" fmla="*/ 0 h 2003763"/>
                <a:gd name="connsiteX1" fmla="*/ 98215 w 700170"/>
                <a:gd name="connsiteY1" fmla="*/ 1627 h 2003763"/>
                <a:gd name="connsiteX2" fmla="*/ 97218 w 700170"/>
                <a:gd name="connsiteY2" fmla="*/ 353527 h 2003763"/>
                <a:gd name="connsiteX3" fmla="*/ 699059 w 700170"/>
                <a:gd name="connsiteY3" fmla="*/ 478823 h 2003763"/>
                <a:gd name="connsiteX4" fmla="*/ 699670 w 700170"/>
                <a:gd name="connsiteY4" fmla="*/ 2003763 h 2003763"/>
                <a:gd name="connsiteX0" fmla="*/ 0 w 1169508"/>
                <a:gd name="connsiteY0" fmla="*/ 6465 h 2002136"/>
                <a:gd name="connsiteX1" fmla="*/ 567553 w 1169508"/>
                <a:gd name="connsiteY1" fmla="*/ 0 h 2002136"/>
                <a:gd name="connsiteX2" fmla="*/ 566556 w 1169508"/>
                <a:gd name="connsiteY2" fmla="*/ 351900 h 2002136"/>
                <a:gd name="connsiteX3" fmla="*/ 1168397 w 1169508"/>
                <a:gd name="connsiteY3" fmla="*/ 477196 h 2002136"/>
                <a:gd name="connsiteX4" fmla="*/ 1169008 w 1169508"/>
                <a:gd name="connsiteY4" fmla="*/ 2002136 h 2002136"/>
                <a:gd name="connsiteX0" fmla="*/ 0 w 1193784"/>
                <a:gd name="connsiteY0" fmla="*/ 144030 h 2002136"/>
                <a:gd name="connsiteX1" fmla="*/ 591829 w 1193784"/>
                <a:gd name="connsiteY1" fmla="*/ 0 h 2002136"/>
                <a:gd name="connsiteX2" fmla="*/ 590832 w 1193784"/>
                <a:gd name="connsiteY2" fmla="*/ 351900 h 2002136"/>
                <a:gd name="connsiteX3" fmla="*/ 1192673 w 1193784"/>
                <a:gd name="connsiteY3" fmla="*/ 477196 h 2002136"/>
                <a:gd name="connsiteX4" fmla="*/ 1193284 w 1193784"/>
                <a:gd name="connsiteY4" fmla="*/ 2002136 h 2002136"/>
                <a:gd name="connsiteX0" fmla="*/ 0 w 999576"/>
                <a:gd name="connsiteY0" fmla="*/ 95478 h 2002136"/>
                <a:gd name="connsiteX1" fmla="*/ 397621 w 999576"/>
                <a:gd name="connsiteY1" fmla="*/ 0 h 2002136"/>
                <a:gd name="connsiteX2" fmla="*/ 396624 w 999576"/>
                <a:gd name="connsiteY2" fmla="*/ 351900 h 2002136"/>
                <a:gd name="connsiteX3" fmla="*/ 998465 w 999576"/>
                <a:gd name="connsiteY3" fmla="*/ 477196 h 2002136"/>
                <a:gd name="connsiteX4" fmla="*/ 999076 w 999576"/>
                <a:gd name="connsiteY4" fmla="*/ 2002136 h 2002136"/>
                <a:gd name="connsiteX0" fmla="*/ 0 w 975299"/>
                <a:gd name="connsiteY0" fmla="*/ 95478 h 2002136"/>
                <a:gd name="connsiteX1" fmla="*/ 373344 w 975299"/>
                <a:gd name="connsiteY1" fmla="*/ 0 h 2002136"/>
                <a:gd name="connsiteX2" fmla="*/ 372347 w 975299"/>
                <a:gd name="connsiteY2" fmla="*/ 351900 h 2002136"/>
                <a:gd name="connsiteX3" fmla="*/ 974188 w 975299"/>
                <a:gd name="connsiteY3" fmla="*/ 477196 h 2002136"/>
                <a:gd name="connsiteX4" fmla="*/ 974799 w 975299"/>
                <a:gd name="connsiteY4" fmla="*/ 2002136 h 2002136"/>
                <a:gd name="connsiteX0" fmla="*/ 0 w 813459"/>
                <a:gd name="connsiteY0" fmla="*/ 71202 h 2002136"/>
                <a:gd name="connsiteX1" fmla="*/ 211504 w 813459"/>
                <a:gd name="connsiteY1" fmla="*/ 0 h 2002136"/>
                <a:gd name="connsiteX2" fmla="*/ 210507 w 813459"/>
                <a:gd name="connsiteY2" fmla="*/ 351900 h 2002136"/>
                <a:gd name="connsiteX3" fmla="*/ 812348 w 813459"/>
                <a:gd name="connsiteY3" fmla="*/ 477196 h 2002136"/>
                <a:gd name="connsiteX4" fmla="*/ 812959 w 813459"/>
                <a:gd name="connsiteY4" fmla="*/ 2002136 h 2002136"/>
                <a:gd name="connsiteX0" fmla="*/ 0 w 797275"/>
                <a:gd name="connsiteY0" fmla="*/ 63110 h 2002136"/>
                <a:gd name="connsiteX1" fmla="*/ 195320 w 797275"/>
                <a:gd name="connsiteY1" fmla="*/ 0 h 2002136"/>
                <a:gd name="connsiteX2" fmla="*/ 194323 w 797275"/>
                <a:gd name="connsiteY2" fmla="*/ 351900 h 2002136"/>
                <a:gd name="connsiteX3" fmla="*/ 796164 w 797275"/>
                <a:gd name="connsiteY3" fmla="*/ 477196 h 2002136"/>
                <a:gd name="connsiteX4" fmla="*/ 796775 w 797275"/>
                <a:gd name="connsiteY4" fmla="*/ 2002136 h 2002136"/>
                <a:gd name="connsiteX0" fmla="*/ 0 w 834346"/>
                <a:gd name="connsiteY0" fmla="*/ 63110 h 2002136"/>
                <a:gd name="connsiteX1" fmla="*/ 232391 w 834346"/>
                <a:gd name="connsiteY1" fmla="*/ 0 h 2002136"/>
                <a:gd name="connsiteX2" fmla="*/ 231394 w 834346"/>
                <a:gd name="connsiteY2" fmla="*/ 351900 h 2002136"/>
                <a:gd name="connsiteX3" fmla="*/ 833235 w 834346"/>
                <a:gd name="connsiteY3" fmla="*/ 477196 h 2002136"/>
                <a:gd name="connsiteX4" fmla="*/ 833846 w 834346"/>
                <a:gd name="connsiteY4" fmla="*/ 2002136 h 2002136"/>
                <a:gd name="connsiteX0" fmla="*/ 0 w 834346"/>
                <a:gd name="connsiteY0" fmla="*/ 63110 h 2002136"/>
                <a:gd name="connsiteX1" fmla="*/ 10801 w 834346"/>
                <a:gd name="connsiteY1" fmla="*/ 55376 h 2002136"/>
                <a:gd name="connsiteX2" fmla="*/ 232391 w 834346"/>
                <a:gd name="connsiteY2" fmla="*/ 0 h 2002136"/>
                <a:gd name="connsiteX3" fmla="*/ 231394 w 834346"/>
                <a:gd name="connsiteY3" fmla="*/ 351900 h 2002136"/>
                <a:gd name="connsiteX4" fmla="*/ 833235 w 834346"/>
                <a:gd name="connsiteY4" fmla="*/ 477196 h 2002136"/>
                <a:gd name="connsiteX5" fmla="*/ 833846 w 834346"/>
                <a:gd name="connsiteY5" fmla="*/ 2002136 h 2002136"/>
                <a:gd name="connsiteX0" fmla="*/ 0 w 834346"/>
                <a:gd name="connsiteY0" fmla="*/ 63110 h 2002136"/>
                <a:gd name="connsiteX1" fmla="*/ 93928 w 834346"/>
                <a:gd name="connsiteY1" fmla="*/ 83085 h 2002136"/>
                <a:gd name="connsiteX2" fmla="*/ 232391 w 834346"/>
                <a:gd name="connsiteY2" fmla="*/ 0 h 2002136"/>
                <a:gd name="connsiteX3" fmla="*/ 231394 w 834346"/>
                <a:gd name="connsiteY3" fmla="*/ 351900 h 2002136"/>
                <a:gd name="connsiteX4" fmla="*/ 833235 w 834346"/>
                <a:gd name="connsiteY4" fmla="*/ 477196 h 2002136"/>
                <a:gd name="connsiteX5" fmla="*/ 833846 w 834346"/>
                <a:gd name="connsiteY5" fmla="*/ 2002136 h 2002136"/>
                <a:gd name="connsiteX0" fmla="*/ 507755 w 740418"/>
                <a:gd name="connsiteY0" fmla="*/ 0 h 2077572"/>
                <a:gd name="connsiteX1" fmla="*/ 0 w 740418"/>
                <a:gd name="connsiteY1" fmla="*/ 158521 h 2077572"/>
                <a:gd name="connsiteX2" fmla="*/ 138463 w 740418"/>
                <a:gd name="connsiteY2" fmla="*/ 75436 h 2077572"/>
                <a:gd name="connsiteX3" fmla="*/ 137466 w 740418"/>
                <a:gd name="connsiteY3" fmla="*/ 427336 h 2077572"/>
                <a:gd name="connsiteX4" fmla="*/ 739307 w 740418"/>
                <a:gd name="connsiteY4" fmla="*/ 552632 h 2077572"/>
                <a:gd name="connsiteX5" fmla="*/ 739918 w 740418"/>
                <a:gd name="connsiteY5" fmla="*/ 2077572 h 2077572"/>
                <a:gd name="connsiteX0" fmla="*/ 606716 w 839379"/>
                <a:gd name="connsiteY0" fmla="*/ 0 h 2077572"/>
                <a:gd name="connsiteX1" fmla="*/ 0 w 839379"/>
                <a:gd name="connsiteY1" fmla="*/ 142687 h 2077572"/>
                <a:gd name="connsiteX2" fmla="*/ 237424 w 839379"/>
                <a:gd name="connsiteY2" fmla="*/ 75436 h 2077572"/>
                <a:gd name="connsiteX3" fmla="*/ 236427 w 839379"/>
                <a:gd name="connsiteY3" fmla="*/ 427336 h 2077572"/>
                <a:gd name="connsiteX4" fmla="*/ 838268 w 839379"/>
                <a:gd name="connsiteY4" fmla="*/ 552632 h 2077572"/>
                <a:gd name="connsiteX5" fmla="*/ 838879 w 839379"/>
                <a:gd name="connsiteY5" fmla="*/ 2077572 h 2077572"/>
                <a:gd name="connsiteX0" fmla="*/ 606716 w 839379"/>
                <a:gd name="connsiteY0" fmla="*/ 0 h 2077572"/>
                <a:gd name="connsiteX1" fmla="*/ 0 w 839379"/>
                <a:gd name="connsiteY1" fmla="*/ 142687 h 2077572"/>
                <a:gd name="connsiteX2" fmla="*/ 237424 w 839379"/>
                <a:gd name="connsiteY2" fmla="*/ 75436 h 2077572"/>
                <a:gd name="connsiteX3" fmla="*/ 236427 w 839379"/>
                <a:gd name="connsiteY3" fmla="*/ 427336 h 2077572"/>
                <a:gd name="connsiteX4" fmla="*/ 838268 w 839379"/>
                <a:gd name="connsiteY4" fmla="*/ 552632 h 2077572"/>
                <a:gd name="connsiteX5" fmla="*/ 838879 w 839379"/>
                <a:gd name="connsiteY5" fmla="*/ 2077572 h 2077572"/>
                <a:gd name="connsiteX0" fmla="*/ 606716 w 839379"/>
                <a:gd name="connsiteY0" fmla="*/ 0 h 2077572"/>
                <a:gd name="connsiteX1" fmla="*/ 0 w 839379"/>
                <a:gd name="connsiteY1" fmla="*/ 142687 h 2077572"/>
                <a:gd name="connsiteX2" fmla="*/ 237424 w 839379"/>
                <a:gd name="connsiteY2" fmla="*/ 75436 h 2077572"/>
                <a:gd name="connsiteX3" fmla="*/ 236427 w 839379"/>
                <a:gd name="connsiteY3" fmla="*/ 427336 h 2077572"/>
                <a:gd name="connsiteX4" fmla="*/ 838268 w 839379"/>
                <a:gd name="connsiteY4" fmla="*/ 552632 h 2077572"/>
                <a:gd name="connsiteX5" fmla="*/ 838879 w 839379"/>
                <a:gd name="connsiteY5" fmla="*/ 2077572 h 2077572"/>
                <a:gd name="connsiteX0" fmla="*/ 606716 w 839379"/>
                <a:gd name="connsiteY0" fmla="*/ 0 h 2077572"/>
                <a:gd name="connsiteX1" fmla="*/ 0 w 839379"/>
                <a:gd name="connsiteY1" fmla="*/ 142687 h 2077572"/>
                <a:gd name="connsiteX2" fmla="*/ 237424 w 839379"/>
                <a:gd name="connsiteY2" fmla="*/ 75436 h 2077572"/>
                <a:gd name="connsiteX3" fmla="*/ 236427 w 839379"/>
                <a:gd name="connsiteY3" fmla="*/ 427336 h 2077572"/>
                <a:gd name="connsiteX4" fmla="*/ 838268 w 839379"/>
                <a:gd name="connsiteY4" fmla="*/ 552632 h 2077572"/>
                <a:gd name="connsiteX5" fmla="*/ 838879 w 839379"/>
                <a:gd name="connsiteY5" fmla="*/ 2077572 h 2077572"/>
                <a:gd name="connsiteX0" fmla="*/ 606716 w 839379"/>
                <a:gd name="connsiteY0" fmla="*/ 0 h 2077572"/>
                <a:gd name="connsiteX1" fmla="*/ 0 w 839379"/>
                <a:gd name="connsiteY1" fmla="*/ 142687 h 2077572"/>
                <a:gd name="connsiteX2" fmla="*/ 237424 w 839379"/>
                <a:gd name="connsiteY2" fmla="*/ 75436 h 2077572"/>
                <a:gd name="connsiteX3" fmla="*/ 236427 w 839379"/>
                <a:gd name="connsiteY3" fmla="*/ 427336 h 2077572"/>
                <a:gd name="connsiteX4" fmla="*/ 838268 w 839379"/>
                <a:gd name="connsiteY4" fmla="*/ 552632 h 2077572"/>
                <a:gd name="connsiteX5" fmla="*/ 838879 w 839379"/>
                <a:gd name="connsiteY5" fmla="*/ 2077572 h 2077572"/>
                <a:gd name="connsiteX0" fmla="*/ 598799 w 839379"/>
                <a:gd name="connsiteY0" fmla="*/ 0 h 2081530"/>
                <a:gd name="connsiteX1" fmla="*/ 0 w 839379"/>
                <a:gd name="connsiteY1" fmla="*/ 146645 h 2081530"/>
                <a:gd name="connsiteX2" fmla="*/ 237424 w 839379"/>
                <a:gd name="connsiteY2" fmla="*/ 79394 h 2081530"/>
                <a:gd name="connsiteX3" fmla="*/ 236427 w 839379"/>
                <a:gd name="connsiteY3" fmla="*/ 431294 h 2081530"/>
                <a:gd name="connsiteX4" fmla="*/ 838268 w 839379"/>
                <a:gd name="connsiteY4" fmla="*/ 556590 h 2081530"/>
                <a:gd name="connsiteX5" fmla="*/ 838879 w 839379"/>
                <a:gd name="connsiteY5" fmla="*/ 2081530 h 2081530"/>
                <a:gd name="connsiteX0" fmla="*/ 682689 w 839379"/>
                <a:gd name="connsiteY0" fmla="*/ 0 h 2106697"/>
                <a:gd name="connsiteX1" fmla="*/ 0 w 839379"/>
                <a:gd name="connsiteY1" fmla="*/ 171812 h 2106697"/>
                <a:gd name="connsiteX2" fmla="*/ 237424 w 839379"/>
                <a:gd name="connsiteY2" fmla="*/ 104561 h 2106697"/>
                <a:gd name="connsiteX3" fmla="*/ 236427 w 839379"/>
                <a:gd name="connsiteY3" fmla="*/ 456461 h 2106697"/>
                <a:gd name="connsiteX4" fmla="*/ 838268 w 839379"/>
                <a:gd name="connsiteY4" fmla="*/ 581757 h 2106697"/>
                <a:gd name="connsiteX5" fmla="*/ 838879 w 839379"/>
                <a:gd name="connsiteY5" fmla="*/ 2106697 h 2106697"/>
                <a:gd name="connsiteX0" fmla="*/ 682689 w 839379"/>
                <a:gd name="connsiteY0" fmla="*/ 0 h 2106697"/>
                <a:gd name="connsiteX1" fmla="*/ 0 w 839379"/>
                <a:gd name="connsiteY1" fmla="*/ 171812 h 2106697"/>
                <a:gd name="connsiteX2" fmla="*/ 237424 w 839379"/>
                <a:gd name="connsiteY2" fmla="*/ 104561 h 2106697"/>
                <a:gd name="connsiteX3" fmla="*/ 236427 w 839379"/>
                <a:gd name="connsiteY3" fmla="*/ 456461 h 2106697"/>
                <a:gd name="connsiteX4" fmla="*/ 838268 w 839379"/>
                <a:gd name="connsiteY4" fmla="*/ 581757 h 2106697"/>
                <a:gd name="connsiteX5" fmla="*/ 838879 w 839379"/>
                <a:gd name="connsiteY5" fmla="*/ 2106697 h 2106697"/>
                <a:gd name="connsiteX0" fmla="*/ 446262 w 602952"/>
                <a:gd name="connsiteY0" fmla="*/ 0 h 2106697"/>
                <a:gd name="connsiteX1" fmla="*/ 997 w 602952"/>
                <a:gd name="connsiteY1" fmla="*/ 104561 h 2106697"/>
                <a:gd name="connsiteX2" fmla="*/ 0 w 602952"/>
                <a:gd name="connsiteY2" fmla="*/ 456461 h 2106697"/>
                <a:gd name="connsiteX3" fmla="*/ 601841 w 602952"/>
                <a:gd name="connsiteY3" fmla="*/ 581757 h 2106697"/>
                <a:gd name="connsiteX4" fmla="*/ 602452 w 602952"/>
                <a:gd name="connsiteY4" fmla="*/ 2106697 h 2106697"/>
                <a:gd name="connsiteX0" fmla="*/ 445269 w 601959"/>
                <a:gd name="connsiteY0" fmla="*/ 0 h 2106697"/>
                <a:gd name="connsiteX1" fmla="*/ 4 w 601959"/>
                <a:gd name="connsiteY1" fmla="*/ 104561 h 2106697"/>
                <a:gd name="connsiteX2" fmla="*/ 373079 w 601959"/>
                <a:gd name="connsiteY2" fmla="*/ 539588 h 2106697"/>
                <a:gd name="connsiteX3" fmla="*/ 600848 w 601959"/>
                <a:gd name="connsiteY3" fmla="*/ 581757 h 2106697"/>
                <a:gd name="connsiteX4" fmla="*/ 601459 w 601959"/>
                <a:gd name="connsiteY4" fmla="*/ 2106697 h 2106697"/>
                <a:gd name="connsiteX0" fmla="*/ 79637 w 236327"/>
                <a:gd name="connsiteY0" fmla="*/ 0 h 2106697"/>
                <a:gd name="connsiteX1" fmla="*/ 132 w 236327"/>
                <a:gd name="connsiteY1" fmla="*/ 191845 h 2106697"/>
                <a:gd name="connsiteX2" fmla="*/ 7447 w 236327"/>
                <a:gd name="connsiteY2" fmla="*/ 539588 h 2106697"/>
                <a:gd name="connsiteX3" fmla="*/ 235216 w 236327"/>
                <a:gd name="connsiteY3" fmla="*/ 581757 h 2106697"/>
                <a:gd name="connsiteX4" fmla="*/ 235827 w 236327"/>
                <a:gd name="connsiteY4" fmla="*/ 2106697 h 2106697"/>
                <a:gd name="connsiteX0" fmla="*/ 462022 w 462022"/>
                <a:gd name="connsiteY0" fmla="*/ 0 h 2069290"/>
                <a:gd name="connsiteX1" fmla="*/ 132 w 462022"/>
                <a:gd name="connsiteY1" fmla="*/ 154438 h 2069290"/>
                <a:gd name="connsiteX2" fmla="*/ 7447 w 462022"/>
                <a:gd name="connsiteY2" fmla="*/ 502181 h 2069290"/>
                <a:gd name="connsiteX3" fmla="*/ 235216 w 462022"/>
                <a:gd name="connsiteY3" fmla="*/ 544350 h 2069290"/>
                <a:gd name="connsiteX4" fmla="*/ 235827 w 462022"/>
                <a:gd name="connsiteY4" fmla="*/ 2069290 h 2069290"/>
                <a:gd name="connsiteX0" fmla="*/ 454575 w 454575"/>
                <a:gd name="connsiteY0" fmla="*/ 0 h 2069290"/>
                <a:gd name="connsiteX1" fmla="*/ 13466 w 454575"/>
                <a:gd name="connsiteY1" fmla="*/ 141969 h 2069290"/>
                <a:gd name="connsiteX2" fmla="*/ 0 w 454575"/>
                <a:gd name="connsiteY2" fmla="*/ 502181 h 2069290"/>
                <a:gd name="connsiteX3" fmla="*/ 227769 w 454575"/>
                <a:gd name="connsiteY3" fmla="*/ 544350 h 2069290"/>
                <a:gd name="connsiteX4" fmla="*/ 228380 w 454575"/>
                <a:gd name="connsiteY4" fmla="*/ 2069290 h 2069290"/>
                <a:gd name="connsiteX0" fmla="*/ 457947 w 457947"/>
                <a:gd name="connsiteY0" fmla="*/ 0 h 2069290"/>
                <a:gd name="connsiteX1" fmla="*/ 212 w 457947"/>
                <a:gd name="connsiteY1" fmla="*/ 137813 h 2069290"/>
                <a:gd name="connsiteX2" fmla="*/ 3372 w 457947"/>
                <a:gd name="connsiteY2" fmla="*/ 502181 h 2069290"/>
                <a:gd name="connsiteX3" fmla="*/ 231141 w 457947"/>
                <a:gd name="connsiteY3" fmla="*/ 544350 h 2069290"/>
                <a:gd name="connsiteX4" fmla="*/ 231752 w 457947"/>
                <a:gd name="connsiteY4" fmla="*/ 2069290 h 2069290"/>
                <a:gd name="connsiteX0" fmla="*/ 457947 w 457947"/>
                <a:gd name="connsiteY0" fmla="*/ 0 h 2069290"/>
                <a:gd name="connsiteX1" fmla="*/ 212 w 457947"/>
                <a:gd name="connsiteY1" fmla="*/ 137813 h 2069290"/>
                <a:gd name="connsiteX2" fmla="*/ 3372 w 457947"/>
                <a:gd name="connsiteY2" fmla="*/ 502181 h 2069290"/>
                <a:gd name="connsiteX3" fmla="*/ 231141 w 457947"/>
                <a:gd name="connsiteY3" fmla="*/ 544350 h 2069290"/>
                <a:gd name="connsiteX4" fmla="*/ 231752 w 457947"/>
                <a:gd name="connsiteY4" fmla="*/ 2069290 h 2069290"/>
                <a:gd name="connsiteX0" fmla="*/ 457947 w 457947"/>
                <a:gd name="connsiteY0" fmla="*/ 0 h 2069290"/>
                <a:gd name="connsiteX1" fmla="*/ 212 w 457947"/>
                <a:gd name="connsiteY1" fmla="*/ 137813 h 2069290"/>
                <a:gd name="connsiteX2" fmla="*/ 3372 w 457947"/>
                <a:gd name="connsiteY2" fmla="*/ 502181 h 2069290"/>
                <a:gd name="connsiteX3" fmla="*/ 231141 w 457947"/>
                <a:gd name="connsiteY3" fmla="*/ 544350 h 2069290"/>
                <a:gd name="connsiteX4" fmla="*/ 231752 w 457947"/>
                <a:gd name="connsiteY4" fmla="*/ 2069290 h 2069290"/>
                <a:gd name="connsiteX0" fmla="*/ 457735 w 457735"/>
                <a:gd name="connsiteY0" fmla="*/ 0 h 2069290"/>
                <a:gd name="connsiteX1" fmla="*/ 0 w 457735"/>
                <a:gd name="connsiteY1" fmla="*/ 137813 h 2069290"/>
                <a:gd name="connsiteX2" fmla="*/ 3160 w 457735"/>
                <a:gd name="connsiteY2" fmla="*/ 502181 h 2069290"/>
                <a:gd name="connsiteX3" fmla="*/ 230929 w 457735"/>
                <a:gd name="connsiteY3" fmla="*/ 544350 h 2069290"/>
                <a:gd name="connsiteX4" fmla="*/ 231540 w 457735"/>
                <a:gd name="connsiteY4" fmla="*/ 2069290 h 2069290"/>
                <a:gd name="connsiteX0" fmla="*/ 382921 w 382921"/>
                <a:gd name="connsiteY0" fmla="*/ 0 h 2044351"/>
                <a:gd name="connsiteX1" fmla="*/ 0 w 382921"/>
                <a:gd name="connsiteY1" fmla="*/ 112874 h 2044351"/>
                <a:gd name="connsiteX2" fmla="*/ 3160 w 382921"/>
                <a:gd name="connsiteY2" fmla="*/ 477242 h 2044351"/>
                <a:gd name="connsiteX3" fmla="*/ 230929 w 382921"/>
                <a:gd name="connsiteY3" fmla="*/ 519411 h 2044351"/>
                <a:gd name="connsiteX4" fmla="*/ 231540 w 382921"/>
                <a:gd name="connsiteY4" fmla="*/ 2044351 h 2044351"/>
                <a:gd name="connsiteX0" fmla="*/ 382921 w 382921"/>
                <a:gd name="connsiteY0" fmla="*/ 0 h 2044351"/>
                <a:gd name="connsiteX1" fmla="*/ 0 w 382921"/>
                <a:gd name="connsiteY1" fmla="*/ 112874 h 2044351"/>
                <a:gd name="connsiteX2" fmla="*/ 3160 w 382921"/>
                <a:gd name="connsiteY2" fmla="*/ 477242 h 2044351"/>
                <a:gd name="connsiteX3" fmla="*/ 230929 w 382921"/>
                <a:gd name="connsiteY3" fmla="*/ 519411 h 2044351"/>
                <a:gd name="connsiteX4" fmla="*/ 231540 w 382921"/>
                <a:gd name="connsiteY4" fmla="*/ 2044351 h 2044351"/>
                <a:gd name="connsiteX0" fmla="*/ 382921 w 382921"/>
                <a:gd name="connsiteY0" fmla="*/ 0 h 2048508"/>
                <a:gd name="connsiteX1" fmla="*/ 0 w 382921"/>
                <a:gd name="connsiteY1" fmla="*/ 117031 h 2048508"/>
                <a:gd name="connsiteX2" fmla="*/ 3160 w 382921"/>
                <a:gd name="connsiteY2" fmla="*/ 481399 h 2048508"/>
                <a:gd name="connsiteX3" fmla="*/ 230929 w 382921"/>
                <a:gd name="connsiteY3" fmla="*/ 523568 h 2048508"/>
                <a:gd name="connsiteX4" fmla="*/ 231540 w 382921"/>
                <a:gd name="connsiteY4" fmla="*/ 2048508 h 2048508"/>
                <a:gd name="connsiteX0" fmla="*/ 541859 w 541859"/>
                <a:gd name="connsiteY0" fmla="*/ 0 h 2048508"/>
                <a:gd name="connsiteX1" fmla="*/ 158938 w 541859"/>
                <a:gd name="connsiteY1" fmla="*/ 117031 h 2048508"/>
                <a:gd name="connsiteX2" fmla="*/ 0 w 541859"/>
                <a:gd name="connsiteY2" fmla="*/ 423210 h 2048508"/>
                <a:gd name="connsiteX3" fmla="*/ 389867 w 541859"/>
                <a:gd name="connsiteY3" fmla="*/ 523568 h 2048508"/>
                <a:gd name="connsiteX4" fmla="*/ 390478 w 541859"/>
                <a:gd name="connsiteY4" fmla="*/ 2048508 h 2048508"/>
                <a:gd name="connsiteX0" fmla="*/ 541859 w 541859"/>
                <a:gd name="connsiteY0" fmla="*/ 0 h 2048508"/>
                <a:gd name="connsiteX1" fmla="*/ 30091 w 541859"/>
                <a:gd name="connsiteY1" fmla="*/ 62998 h 2048508"/>
                <a:gd name="connsiteX2" fmla="*/ 0 w 541859"/>
                <a:gd name="connsiteY2" fmla="*/ 423210 h 2048508"/>
                <a:gd name="connsiteX3" fmla="*/ 389867 w 541859"/>
                <a:gd name="connsiteY3" fmla="*/ 523568 h 2048508"/>
                <a:gd name="connsiteX4" fmla="*/ 390478 w 541859"/>
                <a:gd name="connsiteY4" fmla="*/ 2048508 h 2048508"/>
                <a:gd name="connsiteX0" fmla="*/ 404699 w 404699"/>
                <a:gd name="connsiteY0" fmla="*/ 0 h 2098385"/>
                <a:gd name="connsiteX1" fmla="*/ 30091 w 404699"/>
                <a:gd name="connsiteY1" fmla="*/ 112875 h 2098385"/>
                <a:gd name="connsiteX2" fmla="*/ 0 w 404699"/>
                <a:gd name="connsiteY2" fmla="*/ 473087 h 2098385"/>
                <a:gd name="connsiteX3" fmla="*/ 389867 w 404699"/>
                <a:gd name="connsiteY3" fmla="*/ 573445 h 2098385"/>
                <a:gd name="connsiteX4" fmla="*/ 390478 w 404699"/>
                <a:gd name="connsiteY4" fmla="*/ 2098385 h 2098385"/>
                <a:gd name="connsiteX0" fmla="*/ 374608 w 374608"/>
                <a:gd name="connsiteY0" fmla="*/ 0 h 2098385"/>
                <a:gd name="connsiteX1" fmla="*/ 0 w 374608"/>
                <a:gd name="connsiteY1" fmla="*/ 112875 h 2098385"/>
                <a:gd name="connsiteX2" fmla="*/ 3160 w 374608"/>
                <a:gd name="connsiteY2" fmla="*/ 477244 h 2098385"/>
                <a:gd name="connsiteX3" fmla="*/ 359776 w 374608"/>
                <a:gd name="connsiteY3" fmla="*/ 573445 h 2098385"/>
                <a:gd name="connsiteX4" fmla="*/ 360387 w 374608"/>
                <a:gd name="connsiteY4" fmla="*/ 2098385 h 2098385"/>
                <a:gd name="connsiteX0" fmla="*/ 371448 w 371448"/>
                <a:gd name="connsiteY0" fmla="*/ 0 h 2098385"/>
                <a:gd name="connsiteX1" fmla="*/ 5153 w 371448"/>
                <a:gd name="connsiteY1" fmla="*/ 121188 h 2098385"/>
                <a:gd name="connsiteX2" fmla="*/ 0 w 371448"/>
                <a:gd name="connsiteY2" fmla="*/ 477244 h 2098385"/>
                <a:gd name="connsiteX3" fmla="*/ 356616 w 371448"/>
                <a:gd name="connsiteY3" fmla="*/ 573445 h 2098385"/>
                <a:gd name="connsiteX4" fmla="*/ 357227 w 371448"/>
                <a:gd name="connsiteY4" fmla="*/ 2098385 h 2098385"/>
                <a:gd name="connsiteX0" fmla="*/ 371448 w 371448"/>
                <a:gd name="connsiteY0" fmla="*/ 0 h 2098385"/>
                <a:gd name="connsiteX1" fmla="*/ 5153 w 371448"/>
                <a:gd name="connsiteY1" fmla="*/ 121188 h 2098385"/>
                <a:gd name="connsiteX2" fmla="*/ 0 w 371448"/>
                <a:gd name="connsiteY2" fmla="*/ 477244 h 2098385"/>
                <a:gd name="connsiteX3" fmla="*/ 356616 w 371448"/>
                <a:gd name="connsiteY3" fmla="*/ 573445 h 2098385"/>
                <a:gd name="connsiteX4" fmla="*/ 357227 w 371448"/>
                <a:gd name="connsiteY4" fmla="*/ 2098385 h 2098385"/>
                <a:gd name="connsiteX0" fmla="*/ 371448 w 371448"/>
                <a:gd name="connsiteY0" fmla="*/ 0 h 2098385"/>
                <a:gd name="connsiteX1" fmla="*/ 5153 w 371448"/>
                <a:gd name="connsiteY1" fmla="*/ 121188 h 2098385"/>
                <a:gd name="connsiteX2" fmla="*/ 0 w 371448"/>
                <a:gd name="connsiteY2" fmla="*/ 477244 h 2098385"/>
                <a:gd name="connsiteX3" fmla="*/ 356616 w 371448"/>
                <a:gd name="connsiteY3" fmla="*/ 573445 h 2098385"/>
                <a:gd name="connsiteX4" fmla="*/ 357227 w 371448"/>
                <a:gd name="connsiteY4" fmla="*/ 2098385 h 2098385"/>
                <a:gd name="connsiteX0" fmla="*/ 371448 w 371448"/>
                <a:gd name="connsiteY0" fmla="*/ 0 h 2098385"/>
                <a:gd name="connsiteX1" fmla="*/ 5153 w 371448"/>
                <a:gd name="connsiteY1" fmla="*/ 121188 h 2098385"/>
                <a:gd name="connsiteX2" fmla="*/ 0 w 371448"/>
                <a:gd name="connsiteY2" fmla="*/ 477244 h 2098385"/>
                <a:gd name="connsiteX3" fmla="*/ 356616 w 371448"/>
                <a:gd name="connsiteY3" fmla="*/ 573445 h 2098385"/>
                <a:gd name="connsiteX4" fmla="*/ 357227 w 371448"/>
                <a:gd name="connsiteY4" fmla="*/ 2098385 h 2098385"/>
                <a:gd name="connsiteX0" fmla="*/ 371448 w 371448"/>
                <a:gd name="connsiteY0" fmla="*/ 0 h 2098385"/>
                <a:gd name="connsiteX1" fmla="*/ 5153 w 371448"/>
                <a:gd name="connsiteY1" fmla="*/ 121188 h 2098385"/>
                <a:gd name="connsiteX2" fmla="*/ 0 w 371448"/>
                <a:gd name="connsiteY2" fmla="*/ 477244 h 2098385"/>
                <a:gd name="connsiteX3" fmla="*/ 356616 w 371448"/>
                <a:gd name="connsiteY3" fmla="*/ 573445 h 2098385"/>
                <a:gd name="connsiteX4" fmla="*/ 357227 w 371448"/>
                <a:gd name="connsiteY4" fmla="*/ 2098385 h 2098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48" h="2098385">
                  <a:moveTo>
                    <a:pt x="371448" y="0"/>
                  </a:moveTo>
                  <a:cubicBezTo>
                    <a:pt x="29303" y="109068"/>
                    <a:pt x="175127" y="61736"/>
                    <a:pt x="5153" y="121188"/>
                  </a:cubicBezTo>
                  <a:cubicBezTo>
                    <a:pt x="3762" y="274221"/>
                    <a:pt x="1391" y="394869"/>
                    <a:pt x="0" y="477244"/>
                  </a:cubicBezTo>
                  <a:lnTo>
                    <a:pt x="356616" y="573445"/>
                  </a:lnTo>
                  <a:cubicBezTo>
                    <a:pt x="354666" y="1080681"/>
                    <a:pt x="359177" y="1591149"/>
                    <a:pt x="357227" y="2098385"/>
                  </a:cubicBezTo>
                </a:path>
              </a:pathLst>
            </a:custGeom>
            <a:noFill/>
            <a:ln w="19050" cap="flat" cmpd="sng" algn="ctr">
              <a:solidFill>
                <a:srgbClr val="C0504D"/>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15" name="Group 14">
              <a:extLst>
                <a:ext uri="{FF2B5EF4-FFF2-40B4-BE49-F238E27FC236}">
                  <a16:creationId xmlns:a16="http://schemas.microsoft.com/office/drawing/2014/main" id="{7CFC8500-08C3-42AD-85D3-C5932A75DE43}"/>
                </a:ext>
              </a:extLst>
            </p:cNvPr>
            <p:cNvGrpSpPr/>
            <p:nvPr/>
          </p:nvGrpSpPr>
          <p:grpSpPr>
            <a:xfrm>
              <a:off x="10155226" y="2898950"/>
              <a:ext cx="707243" cy="417369"/>
              <a:chOff x="5118027" y="2697950"/>
              <a:chExt cx="707243" cy="417369"/>
            </a:xfrm>
          </p:grpSpPr>
          <p:sp>
            <p:nvSpPr>
              <p:cNvPr id="26" name="Rounded Rectangle 26">
                <a:extLst>
                  <a:ext uri="{FF2B5EF4-FFF2-40B4-BE49-F238E27FC236}">
                    <a16:creationId xmlns:a16="http://schemas.microsoft.com/office/drawing/2014/main" id="{CBF6C333-CC8C-4A14-B396-DBEDA0CFDFB3}"/>
                  </a:ext>
                </a:extLst>
              </p:cNvPr>
              <p:cNvSpPr>
                <a:spLocks noChangeAspect="1"/>
              </p:cNvSpPr>
              <p:nvPr/>
            </p:nvSpPr>
            <p:spPr>
              <a:xfrm>
                <a:off x="5550950" y="2697950"/>
                <a:ext cx="274320" cy="274320"/>
              </a:xfrm>
              <a:prstGeom prst="roundRect">
                <a:avLst/>
              </a:prstGeom>
              <a:solidFill>
                <a:srgbClr val="C0504D"/>
              </a:solidFill>
              <a:ln w="25400" cap="flat" cmpd="sng" algn="ctr">
                <a:solidFill>
                  <a:srgbClr val="C0504D"/>
                </a:solidFill>
                <a:prstDash val="solid"/>
              </a:ln>
              <a:effectLst/>
              <a:scene3d>
                <a:camera prst="isometricOffAxis2Right">
                  <a:rot lat="20266652" lon="18255692" rev="199384"/>
                </a:camera>
                <a:lightRig rig="threePt" dir="t"/>
              </a:scene3d>
              <a:sp3d extrusionH="190500">
                <a:bevelT w="63500" h="63500"/>
                <a:bevelB w="63500" h="635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771F6EF9-F9A6-4003-B964-3A06DE72810E}"/>
                  </a:ext>
                </a:extLst>
              </p:cNvPr>
              <p:cNvSpPr/>
              <p:nvPr/>
            </p:nvSpPr>
            <p:spPr>
              <a:xfrm>
                <a:off x="5118027" y="2970028"/>
                <a:ext cx="594360" cy="145291"/>
              </a:xfrm>
              <a:prstGeom prst="rect">
                <a:avLst/>
              </a:prstGeom>
              <a:solidFill>
                <a:srgbClr val="9BBB59"/>
              </a:solidFill>
              <a:ln w="25400" cap="flat" cmpd="sng" algn="ctr">
                <a:solidFill>
                  <a:srgbClr val="9BBB59"/>
                </a:solidFill>
                <a:prstDash val="solid"/>
              </a:ln>
              <a:effectLst/>
              <a:scene3d>
                <a:camera prst="isometricOffAxis1Top">
                  <a:rot lat="19262532" lon="6789613" rev="15174032"/>
                </a:camera>
                <a:lightRig rig="threePt" dir="t"/>
              </a:scene3d>
              <a:sp3d extrusionH="25400"/>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804B99D4-DFA8-414F-8500-D869E1039691}"/>
                </a:ext>
              </a:extLst>
            </p:cNvPr>
            <p:cNvGrpSpPr/>
            <p:nvPr/>
          </p:nvGrpSpPr>
          <p:grpSpPr>
            <a:xfrm>
              <a:off x="11193244" y="3167689"/>
              <a:ext cx="674178" cy="409935"/>
              <a:chOff x="5118027" y="2705384"/>
              <a:chExt cx="674178" cy="409935"/>
            </a:xfrm>
          </p:grpSpPr>
          <p:sp>
            <p:nvSpPr>
              <p:cNvPr id="24" name="Rounded Rectangle 29">
                <a:extLst>
                  <a:ext uri="{FF2B5EF4-FFF2-40B4-BE49-F238E27FC236}">
                    <a16:creationId xmlns:a16="http://schemas.microsoft.com/office/drawing/2014/main" id="{BB4647BD-7704-4FBD-A14B-19ABACB4CDA9}"/>
                  </a:ext>
                </a:extLst>
              </p:cNvPr>
              <p:cNvSpPr>
                <a:spLocks noChangeAspect="1"/>
              </p:cNvSpPr>
              <p:nvPr/>
            </p:nvSpPr>
            <p:spPr>
              <a:xfrm>
                <a:off x="5517885" y="2705384"/>
                <a:ext cx="274320" cy="274320"/>
              </a:xfrm>
              <a:prstGeom prst="roundRect">
                <a:avLst/>
              </a:prstGeom>
              <a:solidFill>
                <a:srgbClr val="C0504D"/>
              </a:solidFill>
              <a:ln w="25400" cap="flat" cmpd="sng" algn="ctr">
                <a:solidFill>
                  <a:srgbClr val="C0504D"/>
                </a:solidFill>
                <a:prstDash val="solid"/>
              </a:ln>
              <a:effectLst/>
              <a:scene3d>
                <a:camera prst="isometricOffAxis2Right">
                  <a:rot lat="20266652" lon="18255692" rev="199384"/>
                </a:camera>
                <a:lightRig rig="threePt" dir="t"/>
              </a:scene3d>
              <a:sp3d extrusionH="190500">
                <a:bevelT w="63500" h="63500"/>
                <a:bevelB w="63500" h="635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5" name="Rectangle 24">
                <a:extLst>
                  <a:ext uri="{FF2B5EF4-FFF2-40B4-BE49-F238E27FC236}">
                    <a16:creationId xmlns:a16="http://schemas.microsoft.com/office/drawing/2014/main" id="{1E69411A-C75D-44E6-B740-E358832F09AB}"/>
                  </a:ext>
                </a:extLst>
              </p:cNvPr>
              <p:cNvSpPr/>
              <p:nvPr/>
            </p:nvSpPr>
            <p:spPr>
              <a:xfrm>
                <a:off x="5118027" y="2970028"/>
                <a:ext cx="548640" cy="145291"/>
              </a:xfrm>
              <a:prstGeom prst="rect">
                <a:avLst/>
              </a:prstGeom>
              <a:solidFill>
                <a:srgbClr val="9BBB59"/>
              </a:solidFill>
              <a:ln w="25400" cap="flat" cmpd="sng" algn="ctr">
                <a:solidFill>
                  <a:srgbClr val="9BBB59"/>
                </a:solidFill>
                <a:prstDash val="solid"/>
              </a:ln>
              <a:effectLst/>
              <a:scene3d>
                <a:camera prst="isometricOffAxis1Top">
                  <a:rot lat="19262532" lon="6789613" rev="15174032"/>
                </a:camera>
                <a:lightRig rig="threePt" dir="t"/>
              </a:scene3d>
              <a:sp3d extrusionH="25400"/>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sp>
          <p:nvSpPr>
            <p:cNvPr id="17" name="Freeform 31">
              <a:extLst>
                <a:ext uri="{FF2B5EF4-FFF2-40B4-BE49-F238E27FC236}">
                  <a16:creationId xmlns:a16="http://schemas.microsoft.com/office/drawing/2014/main" id="{530F7431-9B22-4525-B477-80E8C05C562E}"/>
                </a:ext>
              </a:extLst>
            </p:cNvPr>
            <p:cNvSpPr/>
            <p:nvPr/>
          </p:nvSpPr>
          <p:spPr>
            <a:xfrm rot="5400000">
              <a:off x="9763247" y="2502533"/>
              <a:ext cx="261243" cy="1418000"/>
            </a:xfrm>
            <a:custGeom>
              <a:avLst/>
              <a:gdLst>
                <a:gd name="connsiteX0" fmla="*/ 0 w 1080654"/>
                <a:gd name="connsiteY0" fmla="*/ 0 h 3483788"/>
                <a:gd name="connsiteX1" fmla="*/ 0 w 1080654"/>
                <a:gd name="connsiteY1" fmla="*/ 347623 h 3483788"/>
                <a:gd name="connsiteX2" fmla="*/ 748145 w 1080654"/>
                <a:gd name="connsiteY2" fmla="*/ 491207 h 3483788"/>
                <a:gd name="connsiteX3" fmla="*/ 763259 w 1080654"/>
                <a:gd name="connsiteY3" fmla="*/ 3483788 h 3483788"/>
                <a:gd name="connsiteX4" fmla="*/ 1080654 w 1080654"/>
                <a:gd name="connsiteY4" fmla="*/ 3468674 h 3483788"/>
                <a:gd name="connsiteX5" fmla="*/ 1080654 w 1080654"/>
                <a:gd name="connsiteY5" fmla="*/ 2728086 h 3483788"/>
                <a:gd name="connsiteX0" fmla="*/ 24 w 1080678"/>
                <a:gd name="connsiteY0" fmla="*/ 0 h 3483788"/>
                <a:gd name="connsiteX1" fmla="*/ 188950 w 1080678"/>
                <a:gd name="connsiteY1" fmla="*/ 15114 h 3483788"/>
                <a:gd name="connsiteX2" fmla="*/ 24 w 1080678"/>
                <a:gd name="connsiteY2" fmla="*/ 347623 h 3483788"/>
                <a:gd name="connsiteX3" fmla="*/ 748169 w 1080678"/>
                <a:gd name="connsiteY3" fmla="*/ 491207 h 3483788"/>
                <a:gd name="connsiteX4" fmla="*/ 763283 w 1080678"/>
                <a:gd name="connsiteY4" fmla="*/ 3483788 h 3483788"/>
                <a:gd name="connsiteX5" fmla="*/ 1080678 w 1080678"/>
                <a:gd name="connsiteY5" fmla="*/ 3468674 h 3483788"/>
                <a:gd name="connsiteX6" fmla="*/ 1080678 w 1080678"/>
                <a:gd name="connsiteY6" fmla="*/ 2728086 h 3483788"/>
                <a:gd name="connsiteX0" fmla="*/ 15 w 1194024"/>
                <a:gd name="connsiteY0" fmla="*/ 0 h 3498902"/>
                <a:gd name="connsiteX1" fmla="*/ 302296 w 1194024"/>
                <a:gd name="connsiteY1" fmla="*/ 30228 h 3498902"/>
                <a:gd name="connsiteX2" fmla="*/ 113370 w 1194024"/>
                <a:gd name="connsiteY2" fmla="*/ 362737 h 3498902"/>
                <a:gd name="connsiteX3" fmla="*/ 861515 w 1194024"/>
                <a:gd name="connsiteY3" fmla="*/ 506321 h 3498902"/>
                <a:gd name="connsiteX4" fmla="*/ 876629 w 1194024"/>
                <a:gd name="connsiteY4" fmla="*/ 3498902 h 3498902"/>
                <a:gd name="connsiteX5" fmla="*/ 1194024 w 1194024"/>
                <a:gd name="connsiteY5" fmla="*/ 3483788 h 3498902"/>
                <a:gd name="connsiteX6" fmla="*/ 1194024 w 1194024"/>
                <a:gd name="connsiteY6" fmla="*/ 2743200 h 3498902"/>
                <a:gd name="connsiteX0" fmla="*/ 39 w 1194048"/>
                <a:gd name="connsiteY0" fmla="*/ 0 h 3498902"/>
                <a:gd name="connsiteX1" fmla="*/ 113394 w 1194048"/>
                <a:gd name="connsiteY1" fmla="*/ 37785 h 3498902"/>
                <a:gd name="connsiteX2" fmla="*/ 113394 w 1194048"/>
                <a:gd name="connsiteY2" fmla="*/ 362737 h 3498902"/>
                <a:gd name="connsiteX3" fmla="*/ 861539 w 1194048"/>
                <a:gd name="connsiteY3" fmla="*/ 506321 h 3498902"/>
                <a:gd name="connsiteX4" fmla="*/ 876653 w 1194048"/>
                <a:gd name="connsiteY4" fmla="*/ 3498902 h 3498902"/>
                <a:gd name="connsiteX5" fmla="*/ 1194048 w 1194048"/>
                <a:gd name="connsiteY5" fmla="*/ 3483788 h 3498902"/>
                <a:gd name="connsiteX6" fmla="*/ 1194048 w 1194048"/>
                <a:gd name="connsiteY6" fmla="*/ 2743200 h 3498902"/>
                <a:gd name="connsiteX0" fmla="*/ 34 w 1194043"/>
                <a:gd name="connsiteY0" fmla="*/ 11634 h 3510536"/>
                <a:gd name="connsiteX1" fmla="*/ 136060 w 1194043"/>
                <a:gd name="connsiteY1" fmla="*/ 11634 h 3510536"/>
                <a:gd name="connsiteX2" fmla="*/ 113389 w 1194043"/>
                <a:gd name="connsiteY2" fmla="*/ 374371 h 3510536"/>
                <a:gd name="connsiteX3" fmla="*/ 861534 w 1194043"/>
                <a:gd name="connsiteY3" fmla="*/ 517955 h 3510536"/>
                <a:gd name="connsiteX4" fmla="*/ 876648 w 1194043"/>
                <a:gd name="connsiteY4" fmla="*/ 3510536 h 3510536"/>
                <a:gd name="connsiteX5" fmla="*/ 1194043 w 1194043"/>
                <a:gd name="connsiteY5" fmla="*/ 3495422 h 3510536"/>
                <a:gd name="connsiteX6" fmla="*/ 1194043 w 1194043"/>
                <a:gd name="connsiteY6" fmla="*/ 2754834 h 3510536"/>
                <a:gd name="connsiteX0" fmla="*/ 32 w 1194041"/>
                <a:gd name="connsiteY0" fmla="*/ 0 h 3498902"/>
                <a:gd name="connsiteX1" fmla="*/ 143615 w 1194041"/>
                <a:gd name="connsiteY1" fmla="*/ 22671 h 3498902"/>
                <a:gd name="connsiteX2" fmla="*/ 113387 w 1194041"/>
                <a:gd name="connsiteY2" fmla="*/ 362737 h 3498902"/>
                <a:gd name="connsiteX3" fmla="*/ 861532 w 1194041"/>
                <a:gd name="connsiteY3" fmla="*/ 506321 h 3498902"/>
                <a:gd name="connsiteX4" fmla="*/ 876646 w 1194041"/>
                <a:gd name="connsiteY4" fmla="*/ 3498902 h 3498902"/>
                <a:gd name="connsiteX5" fmla="*/ 1194041 w 1194041"/>
                <a:gd name="connsiteY5" fmla="*/ 3483788 h 3498902"/>
                <a:gd name="connsiteX6" fmla="*/ 1194041 w 1194041"/>
                <a:gd name="connsiteY6" fmla="*/ 2743200 h 3498902"/>
                <a:gd name="connsiteX0" fmla="*/ 37 w 1194046"/>
                <a:gd name="connsiteY0" fmla="*/ 0 h 3498902"/>
                <a:gd name="connsiteX1" fmla="*/ 120949 w 1194046"/>
                <a:gd name="connsiteY1" fmla="*/ 37785 h 3498902"/>
                <a:gd name="connsiteX2" fmla="*/ 113392 w 1194046"/>
                <a:gd name="connsiteY2" fmla="*/ 362737 h 3498902"/>
                <a:gd name="connsiteX3" fmla="*/ 861537 w 1194046"/>
                <a:gd name="connsiteY3" fmla="*/ 506321 h 3498902"/>
                <a:gd name="connsiteX4" fmla="*/ 876651 w 1194046"/>
                <a:gd name="connsiteY4" fmla="*/ 3498902 h 3498902"/>
                <a:gd name="connsiteX5" fmla="*/ 1194046 w 1194046"/>
                <a:gd name="connsiteY5" fmla="*/ 3483788 h 3498902"/>
                <a:gd name="connsiteX6" fmla="*/ 1194046 w 1194046"/>
                <a:gd name="connsiteY6" fmla="*/ 2743200 h 3498902"/>
                <a:gd name="connsiteX0" fmla="*/ 40 w 1186492"/>
                <a:gd name="connsiteY0" fmla="*/ 0 h 3476231"/>
                <a:gd name="connsiteX1" fmla="*/ 113395 w 1186492"/>
                <a:gd name="connsiteY1" fmla="*/ 15114 h 3476231"/>
                <a:gd name="connsiteX2" fmla="*/ 105838 w 1186492"/>
                <a:gd name="connsiteY2" fmla="*/ 340066 h 3476231"/>
                <a:gd name="connsiteX3" fmla="*/ 853983 w 1186492"/>
                <a:gd name="connsiteY3" fmla="*/ 483650 h 3476231"/>
                <a:gd name="connsiteX4" fmla="*/ 869097 w 1186492"/>
                <a:gd name="connsiteY4" fmla="*/ 3476231 h 3476231"/>
                <a:gd name="connsiteX5" fmla="*/ 1186492 w 1186492"/>
                <a:gd name="connsiteY5" fmla="*/ 3461117 h 3476231"/>
                <a:gd name="connsiteX6" fmla="*/ 1186492 w 1186492"/>
                <a:gd name="connsiteY6" fmla="*/ 2720529 h 3476231"/>
                <a:gd name="connsiteX0" fmla="*/ 43 w 1178938"/>
                <a:gd name="connsiteY0" fmla="*/ 0 h 3710499"/>
                <a:gd name="connsiteX1" fmla="*/ 105841 w 1178938"/>
                <a:gd name="connsiteY1" fmla="*/ 249382 h 3710499"/>
                <a:gd name="connsiteX2" fmla="*/ 98284 w 1178938"/>
                <a:gd name="connsiteY2" fmla="*/ 574334 h 3710499"/>
                <a:gd name="connsiteX3" fmla="*/ 846429 w 1178938"/>
                <a:gd name="connsiteY3" fmla="*/ 717918 h 3710499"/>
                <a:gd name="connsiteX4" fmla="*/ 861543 w 1178938"/>
                <a:gd name="connsiteY4" fmla="*/ 3710499 h 3710499"/>
                <a:gd name="connsiteX5" fmla="*/ 1178938 w 1178938"/>
                <a:gd name="connsiteY5" fmla="*/ 3695385 h 3710499"/>
                <a:gd name="connsiteX6" fmla="*/ 1178938 w 1178938"/>
                <a:gd name="connsiteY6" fmla="*/ 2954797 h 3710499"/>
                <a:gd name="connsiteX0" fmla="*/ 35 w 1201601"/>
                <a:gd name="connsiteY0" fmla="*/ 0 h 3514016"/>
                <a:gd name="connsiteX1" fmla="*/ 128504 w 1201601"/>
                <a:gd name="connsiteY1" fmla="*/ 52899 h 3514016"/>
                <a:gd name="connsiteX2" fmla="*/ 120947 w 1201601"/>
                <a:gd name="connsiteY2" fmla="*/ 377851 h 3514016"/>
                <a:gd name="connsiteX3" fmla="*/ 869092 w 1201601"/>
                <a:gd name="connsiteY3" fmla="*/ 521435 h 3514016"/>
                <a:gd name="connsiteX4" fmla="*/ 884206 w 1201601"/>
                <a:gd name="connsiteY4" fmla="*/ 3514016 h 3514016"/>
                <a:gd name="connsiteX5" fmla="*/ 1201601 w 1201601"/>
                <a:gd name="connsiteY5" fmla="*/ 3498902 h 3514016"/>
                <a:gd name="connsiteX6" fmla="*/ 1201601 w 1201601"/>
                <a:gd name="connsiteY6" fmla="*/ 2758314 h 3514016"/>
                <a:gd name="connsiteX0" fmla="*/ 35 w 1201601"/>
                <a:gd name="connsiteY0" fmla="*/ 0 h 3483788"/>
                <a:gd name="connsiteX1" fmla="*/ 128504 w 1201601"/>
                <a:gd name="connsiteY1" fmla="*/ 22671 h 3483788"/>
                <a:gd name="connsiteX2" fmla="*/ 120947 w 1201601"/>
                <a:gd name="connsiteY2" fmla="*/ 347623 h 3483788"/>
                <a:gd name="connsiteX3" fmla="*/ 869092 w 1201601"/>
                <a:gd name="connsiteY3" fmla="*/ 491207 h 3483788"/>
                <a:gd name="connsiteX4" fmla="*/ 884206 w 1201601"/>
                <a:gd name="connsiteY4" fmla="*/ 3483788 h 3483788"/>
                <a:gd name="connsiteX5" fmla="*/ 1201601 w 1201601"/>
                <a:gd name="connsiteY5" fmla="*/ 3468674 h 3483788"/>
                <a:gd name="connsiteX6" fmla="*/ 1201601 w 1201601"/>
                <a:gd name="connsiteY6" fmla="*/ 2728086 h 3483788"/>
                <a:gd name="connsiteX0" fmla="*/ 35 w 1201601"/>
                <a:gd name="connsiteY0" fmla="*/ 0 h 3506459"/>
                <a:gd name="connsiteX1" fmla="*/ 128504 w 1201601"/>
                <a:gd name="connsiteY1" fmla="*/ 45342 h 3506459"/>
                <a:gd name="connsiteX2" fmla="*/ 120947 w 1201601"/>
                <a:gd name="connsiteY2" fmla="*/ 370294 h 3506459"/>
                <a:gd name="connsiteX3" fmla="*/ 869092 w 1201601"/>
                <a:gd name="connsiteY3" fmla="*/ 513878 h 3506459"/>
                <a:gd name="connsiteX4" fmla="*/ 884206 w 1201601"/>
                <a:gd name="connsiteY4" fmla="*/ 3506459 h 3506459"/>
                <a:gd name="connsiteX5" fmla="*/ 1201601 w 1201601"/>
                <a:gd name="connsiteY5" fmla="*/ 3491345 h 3506459"/>
                <a:gd name="connsiteX6" fmla="*/ 1201601 w 1201601"/>
                <a:gd name="connsiteY6" fmla="*/ 2750757 h 3506459"/>
                <a:gd name="connsiteX0" fmla="*/ 35 w 1201601"/>
                <a:gd name="connsiteY0" fmla="*/ 0 h 3474709"/>
                <a:gd name="connsiteX1" fmla="*/ 128504 w 1201601"/>
                <a:gd name="connsiteY1" fmla="*/ 13592 h 3474709"/>
                <a:gd name="connsiteX2" fmla="*/ 120947 w 1201601"/>
                <a:gd name="connsiteY2" fmla="*/ 338544 h 3474709"/>
                <a:gd name="connsiteX3" fmla="*/ 869092 w 1201601"/>
                <a:gd name="connsiteY3" fmla="*/ 482128 h 3474709"/>
                <a:gd name="connsiteX4" fmla="*/ 884206 w 1201601"/>
                <a:gd name="connsiteY4" fmla="*/ 3474709 h 3474709"/>
                <a:gd name="connsiteX5" fmla="*/ 1201601 w 1201601"/>
                <a:gd name="connsiteY5" fmla="*/ 3459595 h 3474709"/>
                <a:gd name="connsiteX6" fmla="*/ 1201601 w 1201601"/>
                <a:gd name="connsiteY6" fmla="*/ 2719007 h 3474709"/>
                <a:gd name="connsiteX0" fmla="*/ 64 w 1141305"/>
                <a:gd name="connsiteY0" fmla="*/ 2564 h 3474098"/>
                <a:gd name="connsiteX1" fmla="*/ 68208 w 1141305"/>
                <a:gd name="connsiteY1" fmla="*/ 12981 h 3474098"/>
                <a:gd name="connsiteX2" fmla="*/ 60651 w 1141305"/>
                <a:gd name="connsiteY2" fmla="*/ 337933 h 3474098"/>
                <a:gd name="connsiteX3" fmla="*/ 808796 w 1141305"/>
                <a:gd name="connsiteY3" fmla="*/ 481517 h 3474098"/>
                <a:gd name="connsiteX4" fmla="*/ 823910 w 1141305"/>
                <a:gd name="connsiteY4" fmla="*/ 3474098 h 3474098"/>
                <a:gd name="connsiteX5" fmla="*/ 1141305 w 1141305"/>
                <a:gd name="connsiteY5" fmla="*/ 3458984 h 3474098"/>
                <a:gd name="connsiteX6" fmla="*/ 1141305 w 1141305"/>
                <a:gd name="connsiteY6" fmla="*/ 2718396 h 3474098"/>
                <a:gd name="connsiteX0" fmla="*/ 69328 w 1210569"/>
                <a:gd name="connsiteY0" fmla="*/ 12923 h 3484457"/>
                <a:gd name="connsiteX1" fmla="*/ 137472 w 1210569"/>
                <a:gd name="connsiteY1" fmla="*/ 23340 h 3484457"/>
                <a:gd name="connsiteX2" fmla="*/ 129915 w 1210569"/>
                <a:gd name="connsiteY2" fmla="*/ 348292 h 3484457"/>
                <a:gd name="connsiteX3" fmla="*/ 878060 w 1210569"/>
                <a:gd name="connsiteY3" fmla="*/ 491876 h 3484457"/>
                <a:gd name="connsiteX4" fmla="*/ 893174 w 1210569"/>
                <a:gd name="connsiteY4" fmla="*/ 3484457 h 3484457"/>
                <a:gd name="connsiteX5" fmla="*/ 1210569 w 1210569"/>
                <a:gd name="connsiteY5" fmla="*/ 3469343 h 3484457"/>
                <a:gd name="connsiteX6" fmla="*/ 1210569 w 1210569"/>
                <a:gd name="connsiteY6" fmla="*/ 2728755 h 3484457"/>
                <a:gd name="connsiteX0" fmla="*/ 7557 w 1080654"/>
                <a:gd name="connsiteY0" fmla="*/ 0 h 3461117"/>
                <a:gd name="connsiteX1" fmla="*/ 0 w 1080654"/>
                <a:gd name="connsiteY1" fmla="*/ 324952 h 3461117"/>
                <a:gd name="connsiteX2" fmla="*/ 748145 w 1080654"/>
                <a:gd name="connsiteY2" fmla="*/ 468536 h 3461117"/>
                <a:gd name="connsiteX3" fmla="*/ 763259 w 1080654"/>
                <a:gd name="connsiteY3" fmla="*/ 3461117 h 3461117"/>
                <a:gd name="connsiteX4" fmla="*/ 1080654 w 1080654"/>
                <a:gd name="connsiteY4" fmla="*/ 3446003 h 3461117"/>
                <a:gd name="connsiteX5" fmla="*/ 1080654 w 1080654"/>
                <a:gd name="connsiteY5" fmla="*/ 2705415 h 3461117"/>
                <a:gd name="connsiteX0" fmla="*/ 7557 w 1080654"/>
                <a:gd name="connsiteY0" fmla="*/ 0 h 3461117"/>
                <a:gd name="connsiteX1" fmla="*/ 4172 w 1080654"/>
                <a:gd name="connsiteY1" fmla="*/ 77827 h 3461117"/>
                <a:gd name="connsiteX2" fmla="*/ 0 w 1080654"/>
                <a:gd name="connsiteY2" fmla="*/ 324952 h 3461117"/>
                <a:gd name="connsiteX3" fmla="*/ 748145 w 1080654"/>
                <a:gd name="connsiteY3" fmla="*/ 468536 h 3461117"/>
                <a:gd name="connsiteX4" fmla="*/ 763259 w 1080654"/>
                <a:gd name="connsiteY4" fmla="*/ 3461117 h 3461117"/>
                <a:gd name="connsiteX5" fmla="*/ 1080654 w 1080654"/>
                <a:gd name="connsiteY5" fmla="*/ 3446003 h 3461117"/>
                <a:gd name="connsiteX6" fmla="*/ 1080654 w 1080654"/>
                <a:gd name="connsiteY6" fmla="*/ 2705415 h 3461117"/>
                <a:gd name="connsiteX0" fmla="*/ 0 w 1228672"/>
                <a:gd name="connsiteY0" fmla="*/ 0 h 3486517"/>
                <a:gd name="connsiteX1" fmla="*/ 152190 w 1228672"/>
                <a:gd name="connsiteY1" fmla="*/ 103227 h 3486517"/>
                <a:gd name="connsiteX2" fmla="*/ 148018 w 1228672"/>
                <a:gd name="connsiteY2" fmla="*/ 350352 h 3486517"/>
                <a:gd name="connsiteX3" fmla="*/ 896163 w 1228672"/>
                <a:gd name="connsiteY3" fmla="*/ 493936 h 3486517"/>
                <a:gd name="connsiteX4" fmla="*/ 911277 w 1228672"/>
                <a:gd name="connsiteY4" fmla="*/ 3486517 h 3486517"/>
                <a:gd name="connsiteX5" fmla="*/ 1228672 w 1228672"/>
                <a:gd name="connsiteY5" fmla="*/ 3471403 h 3486517"/>
                <a:gd name="connsiteX6" fmla="*/ 1228672 w 1228672"/>
                <a:gd name="connsiteY6" fmla="*/ 2730815 h 3486517"/>
                <a:gd name="connsiteX0" fmla="*/ 0 w 1228672"/>
                <a:gd name="connsiteY0" fmla="*/ 4723 h 3491240"/>
                <a:gd name="connsiteX1" fmla="*/ 145840 w 1228672"/>
                <a:gd name="connsiteY1" fmla="*/ 0 h 3491240"/>
                <a:gd name="connsiteX2" fmla="*/ 148018 w 1228672"/>
                <a:gd name="connsiteY2" fmla="*/ 355075 h 3491240"/>
                <a:gd name="connsiteX3" fmla="*/ 896163 w 1228672"/>
                <a:gd name="connsiteY3" fmla="*/ 498659 h 3491240"/>
                <a:gd name="connsiteX4" fmla="*/ 911277 w 1228672"/>
                <a:gd name="connsiteY4" fmla="*/ 3491240 h 3491240"/>
                <a:gd name="connsiteX5" fmla="*/ 1228672 w 1228672"/>
                <a:gd name="connsiteY5" fmla="*/ 3476126 h 3491240"/>
                <a:gd name="connsiteX6" fmla="*/ 1228672 w 1228672"/>
                <a:gd name="connsiteY6" fmla="*/ 2735538 h 3491240"/>
                <a:gd name="connsiteX0" fmla="*/ 0 w 1177872"/>
                <a:gd name="connsiteY0" fmla="*/ 1548 h 3491240"/>
                <a:gd name="connsiteX1" fmla="*/ 95040 w 1177872"/>
                <a:gd name="connsiteY1" fmla="*/ 0 h 3491240"/>
                <a:gd name="connsiteX2" fmla="*/ 97218 w 1177872"/>
                <a:gd name="connsiteY2" fmla="*/ 355075 h 3491240"/>
                <a:gd name="connsiteX3" fmla="*/ 845363 w 1177872"/>
                <a:gd name="connsiteY3" fmla="*/ 498659 h 3491240"/>
                <a:gd name="connsiteX4" fmla="*/ 860477 w 1177872"/>
                <a:gd name="connsiteY4" fmla="*/ 3491240 h 3491240"/>
                <a:gd name="connsiteX5" fmla="*/ 1177872 w 1177872"/>
                <a:gd name="connsiteY5" fmla="*/ 3476126 h 3491240"/>
                <a:gd name="connsiteX6" fmla="*/ 1177872 w 1177872"/>
                <a:gd name="connsiteY6" fmla="*/ 2735538 h 3491240"/>
                <a:gd name="connsiteX0" fmla="*/ 0 w 1177872"/>
                <a:gd name="connsiteY0" fmla="*/ 0 h 3489692"/>
                <a:gd name="connsiteX1" fmla="*/ 98215 w 1177872"/>
                <a:gd name="connsiteY1" fmla="*/ 1627 h 3489692"/>
                <a:gd name="connsiteX2" fmla="*/ 97218 w 1177872"/>
                <a:gd name="connsiteY2" fmla="*/ 353527 h 3489692"/>
                <a:gd name="connsiteX3" fmla="*/ 845363 w 1177872"/>
                <a:gd name="connsiteY3" fmla="*/ 497111 h 3489692"/>
                <a:gd name="connsiteX4" fmla="*/ 860477 w 1177872"/>
                <a:gd name="connsiteY4" fmla="*/ 3489692 h 3489692"/>
                <a:gd name="connsiteX5" fmla="*/ 1177872 w 1177872"/>
                <a:gd name="connsiteY5" fmla="*/ 3474578 h 3489692"/>
                <a:gd name="connsiteX6" fmla="*/ 1177872 w 1177872"/>
                <a:gd name="connsiteY6" fmla="*/ 2733990 h 3489692"/>
                <a:gd name="connsiteX0" fmla="*/ 0 w 1177872"/>
                <a:gd name="connsiteY0" fmla="*/ 0 h 3489692"/>
                <a:gd name="connsiteX1" fmla="*/ 98215 w 1177872"/>
                <a:gd name="connsiteY1" fmla="*/ 1627 h 3489692"/>
                <a:gd name="connsiteX2" fmla="*/ 97218 w 1177872"/>
                <a:gd name="connsiteY2" fmla="*/ 353527 h 3489692"/>
                <a:gd name="connsiteX3" fmla="*/ 699059 w 1177872"/>
                <a:gd name="connsiteY3" fmla="*/ 478823 h 3489692"/>
                <a:gd name="connsiteX4" fmla="*/ 860477 w 1177872"/>
                <a:gd name="connsiteY4" fmla="*/ 3489692 h 3489692"/>
                <a:gd name="connsiteX5" fmla="*/ 1177872 w 1177872"/>
                <a:gd name="connsiteY5" fmla="*/ 3474578 h 3489692"/>
                <a:gd name="connsiteX6" fmla="*/ 1177872 w 1177872"/>
                <a:gd name="connsiteY6" fmla="*/ 2733990 h 3489692"/>
                <a:gd name="connsiteX0" fmla="*/ 0 w 1177872"/>
                <a:gd name="connsiteY0" fmla="*/ 0 h 3489692"/>
                <a:gd name="connsiteX1" fmla="*/ 98215 w 1177872"/>
                <a:gd name="connsiteY1" fmla="*/ 1627 h 3489692"/>
                <a:gd name="connsiteX2" fmla="*/ 97218 w 1177872"/>
                <a:gd name="connsiteY2" fmla="*/ 353527 h 3489692"/>
                <a:gd name="connsiteX3" fmla="*/ 699059 w 1177872"/>
                <a:gd name="connsiteY3" fmla="*/ 478823 h 3489692"/>
                <a:gd name="connsiteX4" fmla="*/ 718745 w 1177872"/>
                <a:gd name="connsiteY4" fmla="*/ 3489692 h 3489692"/>
                <a:gd name="connsiteX5" fmla="*/ 1177872 w 1177872"/>
                <a:gd name="connsiteY5" fmla="*/ 3474578 h 3489692"/>
                <a:gd name="connsiteX6" fmla="*/ 1177872 w 1177872"/>
                <a:gd name="connsiteY6" fmla="*/ 2733990 h 3489692"/>
                <a:gd name="connsiteX0" fmla="*/ 0 w 1177872"/>
                <a:gd name="connsiteY0" fmla="*/ 0 h 3475976"/>
                <a:gd name="connsiteX1" fmla="*/ 98215 w 1177872"/>
                <a:gd name="connsiteY1" fmla="*/ 1627 h 3475976"/>
                <a:gd name="connsiteX2" fmla="*/ 97218 w 1177872"/>
                <a:gd name="connsiteY2" fmla="*/ 353527 h 3475976"/>
                <a:gd name="connsiteX3" fmla="*/ 699059 w 1177872"/>
                <a:gd name="connsiteY3" fmla="*/ 478823 h 3475976"/>
                <a:gd name="connsiteX4" fmla="*/ 718745 w 1177872"/>
                <a:gd name="connsiteY4" fmla="*/ 3475976 h 3475976"/>
                <a:gd name="connsiteX5" fmla="*/ 1177872 w 1177872"/>
                <a:gd name="connsiteY5" fmla="*/ 3474578 h 3475976"/>
                <a:gd name="connsiteX6" fmla="*/ 1177872 w 1177872"/>
                <a:gd name="connsiteY6" fmla="*/ 2733990 h 3475976"/>
                <a:gd name="connsiteX0" fmla="*/ 0 w 1177872"/>
                <a:gd name="connsiteY0" fmla="*/ 0 h 3474578"/>
                <a:gd name="connsiteX1" fmla="*/ 98215 w 1177872"/>
                <a:gd name="connsiteY1" fmla="*/ 1627 h 3474578"/>
                <a:gd name="connsiteX2" fmla="*/ 97218 w 1177872"/>
                <a:gd name="connsiteY2" fmla="*/ 353527 h 3474578"/>
                <a:gd name="connsiteX3" fmla="*/ 699059 w 1177872"/>
                <a:gd name="connsiteY3" fmla="*/ 478823 h 3474578"/>
                <a:gd name="connsiteX4" fmla="*/ 1177872 w 1177872"/>
                <a:gd name="connsiteY4" fmla="*/ 3474578 h 3474578"/>
                <a:gd name="connsiteX5" fmla="*/ 1177872 w 1177872"/>
                <a:gd name="connsiteY5" fmla="*/ 2733990 h 3474578"/>
                <a:gd name="connsiteX0" fmla="*/ 0 w 1177872"/>
                <a:gd name="connsiteY0" fmla="*/ 0 h 2733990"/>
                <a:gd name="connsiteX1" fmla="*/ 98215 w 1177872"/>
                <a:gd name="connsiteY1" fmla="*/ 1627 h 2733990"/>
                <a:gd name="connsiteX2" fmla="*/ 97218 w 1177872"/>
                <a:gd name="connsiteY2" fmla="*/ 353527 h 2733990"/>
                <a:gd name="connsiteX3" fmla="*/ 699059 w 1177872"/>
                <a:gd name="connsiteY3" fmla="*/ 478823 h 2733990"/>
                <a:gd name="connsiteX4" fmla="*/ 1177872 w 1177872"/>
                <a:gd name="connsiteY4" fmla="*/ 2733990 h 2733990"/>
                <a:gd name="connsiteX0" fmla="*/ 0 w 699059"/>
                <a:gd name="connsiteY0" fmla="*/ 0 h 2000532"/>
                <a:gd name="connsiteX1" fmla="*/ 98215 w 699059"/>
                <a:gd name="connsiteY1" fmla="*/ 1627 h 2000532"/>
                <a:gd name="connsiteX2" fmla="*/ 97218 w 699059"/>
                <a:gd name="connsiteY2" fmla="*/ 353527 h 2000532"/>
                <a:gd name="connsiteX3" fmla="*/ 699059 w 699059"/>
                <a:gd name="connsiteY3" fmla="*/ 478823 h 2000532"/>
                <a:gd name="connsiteX4" fmla="*/ 693208 w 699059"/>
                <a:gd name="connsiteY4" fmla="*/ 2000532 h 2000532"/>
                <a:gd name="connsiteX0" fmla="*/ 0 w 700170"/>
                <a:gd name="connsiteY0" fmla="*/ 0 h 2003763"/>
                <a:gd name="connsiteX1" fmla="*/ 98215 w 700170"/>
                <a:gd name="connsiteY1" fmla="*/ 1627 h 2003763"/>
                <a:gd name="connsiteX2" fmla="*/ 97218 w 700170"/>
                <a:gd name="connsiteY2" fmla="*/ 353527 h 2003763"/>
                <a:gd name="connsiteX3" fmla="*/ 699059 w 700170"/>
                <a:gd name="connsiteY3" fmla="*/ 478823 h 2003763"/>
                <a:gd name="connsiteX4" fmla="*/ 699670 w 700170"/>
                <a:gd name="connsiteY4" fmla="*/ 2003763 h 2003763"/>
                <a:gd name="connsiteX0" fmla="*/ 0 w 1169508"/>
                <a:gd name="connsiteY0" fmla="*/ 6465 h 2002136"/>
                <a:gd name="connsiteX1" fmla="*/ 567553 w 1169508"/>
                <a:gd name="connsiteY1" fmla="*/ 0 h 2002136"/>
                <a:gd name="connsiteX2" fmla="*/ 566556 w 1169508"/>
                <a:gd name="connsiteY2" fmla="*/ 351900 h 2002136"/>
                <a:gd name="connsiteX3" fmla="*/ 1168397 w 1169508"/>
                <a:gd name="connsiteY3" fmla="*/ 477196 h 2002136"/>
                <a:gd name="connsiteX4" fmla="*/ 1169008 w 1169508"/>
                <a:gd name="connsiteY4" fmla="*/ 2002136 h 2002136"/>
                <a:gd name="connsiteX0" fmla="*/ 0 w 1193784"/>
                <a:gd name="connsiteY0" fmla="*/ 144030 h 2002136"/>
                <a:gd name="connsiteX1" fmla="*/ 591829 w 1193784"/>
                <a:gd name="connsiteY1" fmla="*/ 0 h 2002136"/>
                <a:gd name="connsiteX2" fmla="*/ 590832 w 1193784"/>
                <a:gd name="connsiteY2" fmla="*/ 351900 h 2002136"/>
                <a:gd name="connsiteX3" fmla="*/ 1192673 w 1193784"/>
                <a:gd name="connsiteY3" fmla="*/ 477196 h 2002136"/>
                <a:gd name="connsiteX4" fmla="*/ 1193284 w 1193784"/>
                <a:gd name="connsiteY4" fmla="*/ 2002136 h 2002136"/>
                <a:gd name="connsiteX0" fmla="*/ 0 w 999576"/>
                <a:gd name="connsiteY0" fmla="*/ 95478 h 2002136"/>
                <a:gd name="connsiteX1" fmla="*/ 397621 w 999576"/>
                <a:gd name="connsiteY1" fmla="*/ 0 h 2002136"/>
                <a:gd name="connsiteX2" fmla="*/ 396624 w 999576"/>
                <a:gd name="connsiteY2" fmla="*/ 351900 h 2002136"/>
                <a:gd name="connsiteX3" fmla="*/ 998465 w 999576"/>
                <a:gd name="connsiteY3" fmla="*/ 477196 h 2002136"/>
                <a:gd name="connsiteX4" fmla="*/ 999076 w 999576"/>
                <a:gd name="connsiteY4" fmla="*/ 2002136 h 2002136"/>
                <a:gd name="connsiteX0" fmla="*/ 0 w 975299"/>
                <a:gd name="connsiteY0" fmla="*/ 95478 h 2002136"/>
                <a:gd name="connsiteX1" fmla="*/ 373344 w 975299"/>
                <a:gd name="connsiteY1" fmla="*/ 0 h 2002136"/>
                <a:gd name="connsiteX2" fmla="*/ 372347 w 975299"/>
                <a:gd name="connsiteY2" fmla="*/ 351900 h 2002136"/>
                <a:gd name="connsiteX3" fmla="*/ 974188 w 975299"/>
                <a:gd name="connsiteY3" fmla="*/ 477196 h 2002136"/>
                <a:gd name="connsiteX4" fmla="*/ 974799 w 975299"/>
                <a:gd name="connsiteY4" fmla="*/ 2002136 h 2002136"/>
                <a:gd name="connsiteX0" fmla="*/ 0 w 813459"/>
                <a:gd name="connsiteY0" fmla="*/ 71202 h 2002136"/>
                <a:gd name="connsiteX1" fmla="*/ 211504 w 813459"/>
                <a:gd name="connsiteY1" fmla="*/ 0 h 2002136"/>
                <a:gd name="connsiteX2" fmla="*/ 210507 w 813459"/>
                <a:gd name="connsiteY2" fmla="*/ 351900 h 2002136"/>
                <a:gd name="connsiteX3" fmla="*/ 812348 w 813459"/>
                <a:gd name="connsiteY3" fmla="*/ 477196 h 2002136"/>
                <a:gd name="connsiteX4" fmla="*/ 812959 w 813459"/>
                <a:gd name="connsiteY4" fmla="*/ 2002136 h 2002136"/>
                <a:gd name="connsiteX0" fmla="*/ 0 w 797275"/>
                <a:gd name="connsiteY0" fmla="*/ 63110 h 2002136"/>
                <a:gd name="connsiteX1" fmla="*/ 195320 w 797275"/>
                <a:gd name="connsiteY1" fmla="*/ 0 h 2002136"/>
                <a:gd name="connsiteX2" fmla="*/ 194323 w 797275"/>
                <a:gd name="connsiteY2" fmla="*/ 351900 h 2002136"/>
                <a:gd name="connsiteX3" fmla="*/ 796164 w 797275"/>
                <a:gd name="connsiteY3" fmla="*/ 477196 h 2002136"/>
                <a:gd name="connsiteX4" fmla="*/ 796775 w 797275"/>
                <a:gd name="connsiteY4" fmla="*/ 2002136 h 2002136"/>
                <a:gd name="connsiteX0" fmla="*/ 0 w 834346"/>
                <a:gd name="connsiteY0" fmla="*/ 63110 h 2002136"/>
                <a:gd name="connsiteX1" fmla="*/ 232391 w 834346"/>
                <a:gd name="connsiteY1" fmla="*/ 0 h 2002136"/>
                <a:gd name="connsiteX2" fmla="*/ 231394 w 834346"/>
                <a:gd name="connsiteY2" fmla="*/ 351900 h 2002136"/>
                <a:gd name="connsiteX3" fmla="*/ 833235 w 834346"/>
                <a:gd name="connsiteY3" fmla="*/ 477196 h 2002136"/>
                <a:gd name="connsiteX4" fmla="*/ 833846 w 834346"/>
                <a:gd name="connsiteY4" fmla="*/ 2002136 h 2002136"/>
                <a:gd name="connsiteX0" fmla="*/ 0 w 834346"/>
                <a:gd name="connsiteY0" fmla="*/ 63110 h 2002136"/>
                <a:gd name="connsiteX1" fmla="*/ 10801 w 834346"/>
                <a:gd name="connsiteY1" fmla="*/ 55376 h 2002136"/>
                <a:gd name="connsiteX2" fmla="*/ 232391 w 834346"/>
                <a:gd name="connsiteY2" fmla="*/ 0 h 2002136"/>
                <a:gd name="connsiteX3" fmla="*/ 231394 w 834346"/>
                <a:gd name="connsiteY3" fmla="*/ 351900 h 2002136"/>
                <a:gd name="connsiteX4" fmla="*/ 833235 w 834346"/>
                <a:gd name="connsiteY4" fmla="*/ 477196 h 2002136"/>
                <a:gd name="connsiteX5" fmla="*/ 833846 w 834346"/>
                <a:gd name="connsiteY5" fmla="*/ 2002136 h 2002136"/>
                <a:gd name="connsiteX0" fmla="*/ 0 w 834346"/>
                <a:gd name="connsiteY0" fmla="*/ 63110 h 2002136"/>
                <a:gd name="connsiteX1" fmla="*/ 93928 w 834346"/>
                <a:gd name="connsiteY1" fmla="*/ 83085 h 2002136"/>
                <a:gd name="connsiteX2" fmla="*/ 232391 w 834346"/>
                <a:gd name="connsiteY2" fmla="*/ 0 h 2002136"/>
                <a:gd name="connsiteX3" fmla="*/ 231394 w 834346"/>
                <a:gd name="connsiteY3" fmla="*/ 351900 h 2002136"/>
                <a:gd name="connsiteX4" fmla="*/ 833235 w 834346"/>
                <a:gd name="connsiteY4" fmla="*/ 477196 h 2002136"/>
                <a:gd name="connsiteX5" fmla="*/ 833846 w 834346"/>
                <a:gd name="connsiteY5" fmla="*/ 2002136 h 2002136"/>
                <a:gd name="connsiteX0" fmla="*/ 507755 w 740418"/>
                <a:gd name="connsiteY0" fmla="*/ 0 h 2077572"/>
                <a:gd name="connsiteX1" fmla="*/ 0 w 740418"/>
                <a:gd name="connsiteY1" fmla="*/ 158521 h 2077572"/>
                <a:gd name="connsiteX2" fmla="*/ 138463 w 740418"/>
                <a:gd name="connsiteY2" fmla="*/ 75436 h 2077572"/>
                <a:gd name="connsiteX3" fmla="*/ 137466 w 740418"/>
                <a:gd name="connsiteY3" fmla="*/ 427336 h 2077572"/>
                <a:gd name="connsiteX4" fmla="*/ 739307 w 740418"/>
                <a:gd name="connsiteY4" fmla="*/ 552632 h 2077572"/>
                <a:gd name="connsiteX5" fmla="*/ 739918 w 740418"/>
                <a:gd name="connsiteY5" fmla="*/ 2077572 h 2077572"/>
                <a:gd name="connsiteX0" fmla="*/ 606716 w 839379"/>
                <a:gd name="connsiteY0" fmla="*/ 0 h 2077572"/>
                <a:gd name="connsiteX1" fmla="*/ 0 w 839379"/>
                <a:gd name="connsiteY1" fmla="*/ 142687 h 2077572"/>
                <a:gd name="connsiteX2" fmla="*/ 237424 w 839379"/>
                <a:gd name="connsiteY2" fmla="*/ 75436 h 2077572"/>
                <a:gd name="connsiteX3" fmla="*/ 236427 w 839379"/>
                <a:gd name="connsiteY3" fmla="*/ 427336 h 2077572"/>
                <a:gd name="connsiteX4" fmla="*/ 838268 w 839379"/>
                <a:gd name="connsiteY4" fmla="*/ 552632 h 2077572"/>
                <a:gd name="connsiteX5" fmla="*/ 838879 w 839379"/>
                <a:gd name="connsiteY5" fmla="*/ 2077572 h 2077572"/>
                <a:gd name="connsiteX0" fmla="*/ 606716 w 839379"/>
                <a:gd name="connsiteY0" fmla="*/ 0 h 2077572"/>
                <a:gd name="connsiteX1" fmla="*/ 0 w 839379"/>
                <a:gd name="connsiteY1" fmla="*/ 142687 h 2077572"/>
                <a:gd name="connsiteX2" fmla="*/ 237424 w 839379"/>
                <a:gd name="connsiteY2" fmla="*/ 75436 h 2077572"/>
                <a:gd name="connsiteX3" fmla="*/ 236427 w 839379"/>
                <a:gd name="connsiteY3" fmla="*/ 427336 h 2077572"/>
                <a:gd name="connsiteX4" fmla="*/ 838268 w 839379"/>
                <a:gd name="connsiteY4" fmla="*/ 552632 h 2077572"/>
                <a:gd name="connsiteX5" fmla="*/ 838879 w 839379"/>
                <a:gd name="connsiteY5" fmla="*/ 2077572 h 2077572"/>
                <a:gd name="connsiteX0" fmla="*/ 606716 w 839379"/>
                <a:gd name="connsiteY0" fmla="*/ 0 h 2077572"/>
                <a:gd name="connsiteX1" fmla="*/ 0 w 839379"/>
                <a:gd name="connsiteY1" fmla="*/ 142687 h 2077572"/>
                <a:gd name="connsiteX2" fmla="*/ 237424 w 839379"/>
                <a:gd name="connsiteY2" fmla="*/ 75436 h 2077572"/>
                <a:gd name="connsiteX3" fmla="*/ 236427 w 839379"/>
                <a:gd name="connsiteY3" fmla="*/ 427336 h 2077572"/>
                <a:gd name="connsiteX4" fmla="*/ 838268 w 839379"/>
                <a:gd name="connsiteY4" fmla="*/ 552632 h 2077572"/>
                <a:gd name="connsiteX5" fmla="*/ 838879 w 839379"/>
                <a:gd name="connsiteY5" fmla="*/ 2077572 h 2077572"/>
                <a:gd name="connsiteX0" fmla="*/ 606716 w 839379"/>
                <a:gd name="connsiteY0" fmla="*/ 0 h 2077572"/>
                <a:gd name="connsiteX1" fmla="*/ 0 w 839379"/>
                <a:gd name="connsiteY1" fmla="*/ 142687 h 2077572"/>
                <a:gd name="connsiteX2" fmla="*/ 237424 w 839379"/>
                <a:gd name="connsiteY2" fmla="*/ 75436 h 2077572"/>
                <a:gd name="connsiteX3" fmla="*/ 236427 w 839379"/>
                <a:gd name="connsiteY3" fmla="*/ 427336 h 2077572"/>
                <a:gd name="connsiteX4" fmla="*/ 838268 w 839379"/>
                <a:gd name="connsiteY4" fmla="*/ 552632 h 2077572"/>
                <a:gd name="connsiteX5" fmla="*/ 838879 w 839379"/>
                <a:gd name="connsiteY5" fmla="*/ 2077572 h 2077572"/>
                <a:gd name="connsiteX0" fmla="*/ 606716 w 839379"/>
                <a:gd name="connsiteY0" fmla="*/ 0 h 2077572"/>
                <a:gd name="connsiteX1" fmla="*/ 0 w 839379"/>
                <a:gd name="connsiteY1" fmla="*/ 142687 h 2077572"/>
                <a:gd name="connsiteX2" fmla="*/ 237424 w 839379"/>
                <a:gd name="connsiteY2" fmla="*/ 75436 h 2077572"/>
                <a:gd name="connsiteX3" fmla="*/ 236427 w 839379"/>
                <a:gd name="connsiteY3" fmla="*/ 427336 h 2077572"/>
                <a:gd name="connsiteX4" fmla="*/ 838268 w 839379"/>
                <a:gd name="connsiteY4" fmla="*/ 552632 h 2077572"/>
                <a:gd name="connsiteX5" fmla="*/ 838879 w 839379"/>
                <a:gd name="connsiteY5" fmla="*/ 2077572 h 2077572"/>
                <a:gd name="connsiteX0" fmla="*/ 598799 w 839379"/>
                <a:gd name="connsiteY0" fmla="*/ 0 h 2081530"/>
                <a:gd name="connsiteX1" fmla="*/ 0 w 839379"/>
                <a:gd name="connsiteY1" fmla="*/ 146645 h 2081530"/>
                <a:gd name="connsiteX2" fmla="*/ 237424 w 839379"/>
                <a:gd name="connsiteY2" fmla="*/ 79394 h 2081530"/>
                <a:gd name="connsiteX3" fmla="*/ 236427 w 839379"/>
                <a:gd name="connsiteY3" fmla="*/ 431294 h 2081530"/>
                <a:gd name="connsiteX4" fmla="*/ 838268 w 839379"/>
                <a:gd name="connsiteY4" fmla="*/ 556590 h 2081530"/>
                <a:gd name="connsiteX5" fmla="*/ 838879 w 839379"/>
                <a:gd name="connsiteY5" fmla="*/ 2081530 h 2081530"/>
                <a:gd name="connsiteX0" fmla="*/ 682689 w 839379"/>
                <a:gd name="connsiteY0" fmla="*/ 0 h 2106697"/>
                <a:gd name="connsiteX1" fmla="*/ 0 w 839379"/>
                <a:gd name="connsiteY1" fmla="*/ 171812 h 2106697"/>
                <a:gd name="connsiteX2" fmla="*/ 237424 w 839379"/>
                <a:gd name="connsiteY2" fmla="*/ 104561 h 2106697"/>
                <a:gd name="connsiteX3" fmla="*/ 236427 w 839379"/>
                <a:gd name="connsiteY3" fmla="*/ 456461 h 2106697"/>
                <a:gd name="connsiteX4" fmla="*/ 838268 w 839379"/>
                <a:gd name="connsiteY4" fmla="*/ 581757 h 2106697"/>
                <a:gd name="connsiteX5" fmla="*/ 838879 w 839379"/>
                <a:gd name="connsiteY5" fmla="*/ 2106697 h 2106697"/>
                <a:gd name="connsiteX0" fmla="*/ 682689 w 839379"/>
                <a:gd name="connsiteY0" fmla="*/ 0 h 2106697"/>
                <a:gd name="connsiteX1" fmla="*/ 0 w 839379"/>
                <a:gd name="connsiteY1" fmla="*/ 171812 h 2106697"/>
                <a:gd name="connsiteX2" fmla="*/ 237424 w 839379"/>
                <a:gd name="connsiteY2" fmla="*/ 104561 h 2106697"/>
                <a:gd name="connsiteX3" fmla="*/ 236427 w 839379"/>
                <a:gd name="connsiteY3" fmla="*/ 456461 h 2106697"/>
                <a:gd name="connsiteX4" fmla="*/ 838268 w 839379"/>
                <a:gd name="connsiteY4" fmla="*/ 581757 h 2106697"/>
                <a:gd name="connsiteX5" fmla="*/ 838879 w 839379"/>
                <a:gd name="connsiteY5" fmla="*/ 2106697 h 2106697"/>
                <a:gd name="connsiteX0" fmla="*/ 446262 w 602952"/>
                <a:gd name="connsiteY0" fmla="*/ 0 h 2106697"/>
                <a:gd name="connsiteX1" fmla="*/ 997 w 602952"/>
                <a:gd name="connsiteY1" fmla="*/ 104561 h 2106697"/>
                <a:gd name="connsiteX2" fmla="*/ 0 w 602952"/>
                <a:gd name="connsiteY2" fmla="*/ 456461 h 2106697"/>
                <a:gd name="connsiteX3" fmla="*/ 601841 w 602952"/>
                <a:gd name="connsiteY3" fmla="*/ 581757 h 2106697"/>
                <a:gd name="connsiteX4" fmla="*/ 602452 w 602952"/>
                <a:gd name="connsiteY4" fmla="*/ 2106697 h 2106697"/>
                <a:gd name="connsiteX0" fmla="*/ 445269 w 601959"/>
                <a:gd name="connsiteY0" fmla="*/ 0 h 2106697"/>
                <a:gd name="connsiteX1" fmla="*/ 4 w 601959"/>
                <a:gd name="connsiteY1" fmla="*/ 104561 h 2106697"/>
                <a:gd name="connsiteX2" fmla="*/ 373079 w 601959"/>
                <a:gd name="connsiteY2" fmla="*/ 539588 h 2106697"/>
                <a:gd name="connsiteX3" fmla="*/ 600848 w 601959"/>
                <a:gd name="connsiteY3" fmla="*/ 581757 h 2106697"/>
                <a:gd name="connsiteX4" fmla="*/ 601459 w 601959"/>
                <a:gd name="connsiteY4" fmla="*/ 2106697 h 2106697"/>
                <a:gd name="connsiteX0" fmla="*/ 79637 w 236327"/>
                <a:gd name="connsiteY0" fmla="*/ 0 h 2106697"/>
                <a:gd name="connsiteX1" fmla="*/ 132 w 236327"/>
                <a:gd name="connsiteY1" fmla="*/ 191845 h 2106697"/>
                <a:gd name="connsiteX2" fmla="*/ 7447 w 236327"/>
                <a:gd name="connsiteY2" fmla="*/ 539588 h 2106697"/>
                <a:gd name="connsiteX3" fmla="*/ 235216 w 236327"/>
                <a:gd name="connsiteY3" fmla="*/ 581757 h 2106697"/>
                <a:gd name="connsiteX4" fmla="*/ 235827 w 236327"/>
                <a:gd name="connsiteY4" fmla="*/ 2106697 h 2106697"/>
                <a:gd name="connsiteX0" fmla="*/ 462022 w 462022"/>
                <a:gd name="connsiteY0" fmla="*/ 0 h 2069290"/>
                <a:gd name="connsiteX1" fmla="*/ 132 w 462022"/>
                <a:gd name="connsiteY1" fmla="*/ 154438 h 2069290"/>
                <a:gd name="connsiteX2" fmla="*/ 7447 w 462022"/>
                <a:gd name="connsiteY2" fmla="*/ 502181 h 2069290"/>
                <a:gd name="connsiteX3" fmla="*/ 235216 w 462022"/>
                <a:gd name="connsiteY3" fmla="*/ 544350 h 2069290"/>
                <a:gd name="connsiteX4" fmla="*/ 235827 w 462022"/>
                <a:gd name="connsiteY4" fmla="*/ 2069290 h 2069290"/>
                <a:gd name="connsiteX0" fmla="*/ 454575 w 454575"/>
                <a:gd name="connsiteY0" fmla="*/ 0 h 2069290"/>
                <a:gd name="connsiteX1" fmla="*/ 13466 w 454575"/>
                <a:gd name="connsiteY1" fmla="*/ 141969 h 2069290"/>
                <a:gd name="connsiteX2" fmla="*/ 0 w 454575"/>
                <a:gd name="connsiteY2" fmla="*/ 502181 h 2069290"/>
                <a:gd name="connsiteX3" fmla="*/ 227769 w 454575"/>
                <a:gd name="connsiteY3" fmla="*/ 544350 h 2069290"/>
                <a:gd name="connsiteX4" fmla="*/ 228380 w 454575"/>
                <a:gd name="connsiteY4" fmla="*/ 2069290 h 2069290"/>
                <a:gd name="connsiteX0" fmla="*/ 457947 w 457947"/>
                <a:gd name="connsiteY0" fmla="*/ 0 h 2069290"/>
                <a:gd name="connsiteX1" fmla="*/ 212 w 457947"/>
                <a:gd name="connsiteY1" fmla="*/ 137813 h 2069290"/>
                <a:gd name="connsiteX2" fmla="*/ 3372 w 457947"/>
                <a:gd name="connsiteY2" fmla="*/ 502181 h 2069290"/>
                <a:gd name="connsiteX3" fmla="*/ 231141 w 457947"/>
                <a:gd name="connsiteY3" fmla="*/ 544350 h 2069290"/>
                <a:gd name="connsiteX4" fmla="*/ 231752 w 457947"/>
                <a:gd name="connsiteY4" fmla="*/ 2069290 h 2069290"/>
                <a:gd name="connsiteX0" fmla="*/ 457947 w 457947"/>
                <a:gd name="connsiteY0" fmla="*/ 0 h 2069290"/>
                <a:gd name="connsiteX1" fmla="*/ 212 w 457947"/>
                <a:gd name="connsiteY1" fmla="*/ 137813 h 2069290"/>
                <a:gd name="connsiteX2" fmla="*/ 3372 w 457947"/>
                <a:gd name="connsiteY2" fmla="*/ 502181 h 2069290"/>
                <a:gd name="connsiteX3" fmla="*/ 231141 w 457947"/>
                <a:gd name="connsiteY3" fmla="*/ 544350 h 2069290"/>
                <a:gd name="connsiteX4" fmla="*/ 231752 w 457947"/>
                <a:gd name="connsiteY4" fmla="*/ 2069290 h 2069290"/>
                <a:gd name="connsiteX0" fmla="*/ 457947 w 457947"/>
                <a:gd name="connsiteY0" fmla="*/ 0 h 2069290"/>
                <a:gd name="connsiteX1" fmla="*/ 212 w 457947"/>
                <a:gd name="connsiteY1" fmla="*/ 137813 h 2069290"/>
                <a:gd name="connsiteX2" fmla="*/ 3372 w 457947"/>
                <a:gd name="connsiteY2" fmla="*/ 502181 h 2069290"/>
                <a:gd name="connsiteX3" fmla="*/ 231141 w 457947"/>
                <a:gd name="connsiteY3" fmla="*/ 544350 h 2069290"/>
                <a:gd name="connsiteX4" fmla="*/ 231752 w 457947"/>
                <a:gd name="connsiteY4" fmla="*/ 2069290 h 2069290"/>
                <a:gd name="connsiteX0" fmla="*/ 457735 w 457735"/>
                <a:gd name="connsiteY0" fmla="*/ 0 h 2069290"/>
                <a:gd name="connsiteX1" fmla="*/ 0 w 457735"/>
                <a:gd name="connsiteY1" fmla="*/ 137813 h 2069290"/>
                <a:gd name="connsiteX2" fmla="*/ 3160 w 457735"/>
                <a:gd name="connsiteY2" fmla="*/ 502181 h 2069290"/>
                <a:gd name="connsiteX3" fmla="*/ 230929 w 457735"/>
                <a:gd name="connsiteY3" fmla="*/ 544350 h 2069290"/>
                <a:gd name="connsiteX4" fmla="*/ 231540 w 457735"/>
                <a:gd name="connsiteY4" fmla="*/ 2069290 h 2069290"/>
                <a:gd name="connsiteX0" fmla="*/ 382921 w 382921"/>
                <a:gd name="connsiteY0" fmla="*/ 0 h 2044351"/>
                <a:gd name="connsiteX1" fmla="*/ 0 w 382921"/>
                <a:gd name="connsiteY1" fmla="*/ 112874 h 2044351"/>
                <a:gd name="connsiteX2" fmla="*/ 3160 w 382921"/>
                <a:gd name="connsiteY2" fmla="*/ 477242 h 2044351"/>
                <a:gd name="connsiteX3" fmla="*/ 230929 w 382921"/>
                <a:gd name="connsiteY3" fmla="*/ 519411 h 2044351"/>
                <a:gd name="connsiteX4" fmla="*/ 231540 w 382921"/>
                <a:gd name="connsiteY4" fmla="*/ 2044351 h 2044351"/>
                <a:gd name="connsiteX0" fmla="*/ 382921 w 382921"/>
                <a:gd name="connsiteY0" fmla="*/ 0 h 2044351"/>
                <a:gd name="connsiteX1" fmla="*/ 0 w 382921"/>
                <a:gd name="connsiteY1" fmla="*/ 112874 h 2044351"/>
                <a:gd name="connsiteX2" fmla="*/ 3160 w 382921"/>
                <a:gd name="connsiteY2" fmla="*/ 477242 h 2044351"/>
                <a:gd name="connsiteX3" fmla="*/ 230929 w 382921"/>
                <a:gd name="connsiteY3" fmla="*/ 519411 h 2044351"/>
                <a:gd name="connsiteX4" fmla="*/ 231540 w 382921"/>
                <a:gd name="connsiteY4" fmla="*/ 2044351 h 2044351"/>
                <a:gd name="connsiteX0" fmla="*/ 382921 w 382921"/>
                <a:gd name="connsiteY0" fmla="*/ 0 h 2048508"/>
                <a:gd name="connsiteX1" fmla="*/ 0 w 382921"/>
                <a:gd name="connsiteY1" fmla="*/ 117031 h 2048508"/>
                <a:gd name="connsiteX2" fmla="*/ 3160 w 382921"/>
                <a:gd name="connsiteY2" fmla="*/ 481399 h 2048508"/>
                <a:gd name="connsiteX3" fmla="*/ 230929 w 382921"/>
                <a:gd name="connsiteY3" fmla="*/ 523568 h 2048508"/>
                <a:gd name="connsiteX4" fmla="*/ 231540 w 382921"/>
                <a:gd name="connsiteY4" fmla="*/ 2048508 h 2048508"/>
                <a:gd name="connsiteX0" fmla="*/ 541859 w 541859"/>
                <a:gd name="connsiteY0" fmla="*/ 0 h 2048508"/>
                <a:gd name="connsiteX1" fmla="*/ 158938 w 541859"/>
                <a:gd name="connsiteY1" fmla="*/ 117031 h 2048508"/>
                <a:gd name="connsiteX2" fmla="*/ 0 w 541859"/>
                <a:gd name="connsiteY2" fmla="*/ 423210 h 2048508"/>
                <a:gd name="connsiteX3" fmla="*/ 389867 w 541859"/>
                <a:gd name="connsiteY3" fmla="*/ 523568 h 2048508"/>
                <a:gd name="connsiteX4" fmla="*/ 390478 w 541859"/>
                <a:gd name="connsiteY4" fmla="*/ 2048508 h 2048508"/>
                <a:gd name="connsiteX0" fmla="*/ 541859 w 541859"/>
                <a:gd name="connsiteY0" fmla="*/ 0 h 2048508"/>
                <a:gd name="connsiteX1" fmla="*/ 30091 w 541859"/>
                <a:gd name="connsiteY1" fmla="*/ 62998 h 2048508"/>
                <a:gd name="connsiteX2" fmla="*/ 0 w 541859"/>
                <a:gd name="connsiteY2" fmla="*/ 423210 h 2048508"/>
                <a:gd name="connsiteX3" fmla="*/ 389867 w 541859"/>
                <a:gd name="connsiteY3" fmla="*/ 523568 h 2048508"/>
                <a:gd name="connsiteX4" fmla="*/ 390478 w 541859"/>
                <a:gd name="connsiteY4" fmla="*/ 2048508 h 2048508"/>
                <a:gd name="connsiteX0" fmla="*/ 404699 w 404699"/>
                <a:gd name="connsiteY0" fmla="*/ 0 h 2098385"/>
                <a:gd name="connsiteX1" fmla="*/ 30091 w 404699"/>
                <a:gd name="connsiteY1" fmla="*/ 112875 h 2098385"/>
                <a:gd name="connsiteX2" fmla="*/ 0 w 404699"/>
                <a:gd name="connsiteY2" fmla="*/ 473087 h 2098385"/>
                <a:gd name="connsiteX3" fmla="*/ 389867 w 404699"/>
                <a:gd name="connsiteY3" fmla="*/ 573445 h 2098385"/>
                <a:gd name="connsiteX4" fmla="*/ 390478 w 404699"/>
                <a:gd name="connsiteY4" fmla="*/ 2098385 h 2098385"/>
                <a:gd name="connsiteX0" fmla="*/ 374608 w 374608"/>
                <a:gd name="connsiteY0" fmla="*/ 0 h 2098385"/>
                <a:gd name="connsiteX1" fmla="*/ 0 w 374608"/>
                <a:gd name="connsiteY1" fmla="*/ 112875 h 2098385"/>
                <a:gd name="connsiteX2" fmla="*/ 3160 w 374608"/>
                <a:gd name="connsiteY2" fmla="*/ 477244 h 2098385"/>
                <a:gd name="connsiteX3" fmla="*/ 359776 w 374608"/>
                <a:gd name="connsiteY3" fmla="*/ 573445 h 2098385"/>
                <a:gd name="connsiteX4" fmla="*/ 360387 w 374608"/>
                <a:gd name="connsiteY4" fmla="*/ 2098385 h 2098385"/>
                <a:gd name="connsiteX0" fmla="*/ 371448 w 371448"/>
                <a:gd name="connsiteY0" fmla="*/ 0 h 2098385"/>
                <a:gd name="connsiteX1" fmla="*/ 5153 w 371448"/>
                <a:gd name="connsiteY1" fmla="*/ 121188 h 2098385"/>
                <a:gd name="connsiteX2" fmla="*/ 0 w 371448"/>
                <a:gd name="connsiteY2" fmla="*/ 477244 h 2098385"/>
                <a:gd name="connsiteX3" fmla="*/ 356616 w 371448"/>
                <a:gd name="connsiteY3" fmla="*/ 573445 h 2098385"/>
                <a:gd name="connsiteX4" fmla="*/ 357227 w 371448"/>
                <a:gd name="connsiteY4" fmla="*/ 2098385 h 2098385"/>
                <a:gd name="connsiteX0" fmla="*/ 371448 w 371448"/>
                <a:gd name="connsiteY0" fmla="*/ 0 h 2098385"/>
                <a:gd name="connsiteX1" fmla="*/ 5153 w 371448"/>
                <a:gd name="connsiteY1" fmla="*/ 121188 h 2098385"/>
                <a:gd name="connsiteX2" fmla="*/ 0 w 371448"/>
                <a:gd name="connsiteY2" fmla="*/ 477244 h 2098385"/>
                <a:gd name="connsiteX3" fmla="*/ 356616 w 371448"/>
                <a:gd name="connsiteY3" fmla="*/ 573445 h 2098385"/>
                <a:gd name="connsiteX4" fmla="*/ 357227 w 371448"/>
                <a:gd name="connsiteY4" fmla="*/ 2098385 h 2098385"/>
                <a:gd name="connsiteX0" fmla="*/ 371448 w 371448"/>
                <a:gd name="connsiteY0" fmla="*/ 0 h 2098385"/>
                <a:gd name="connsiteX1" fmla="*/ 5153 w 371448"/>
                <a:gd name="connsiteY1" fmla="*/ 121188 h 2098385"/>
                <a:gd name="connsiteX2" fmla="*/ 0 w 371448"/>
                <a:gd name="connsiteY2" fmla="*/ 477244 h 2098385"/>
                <a:gd name="connsiteX3" fmla="*/ 356616 w 371448"/>
                <a:gd name="connsiteY3" fmla="*/ 573445 h 2098385"/>
                <a:gd name="connsiteX4" fmla="*/ 357227 w 371448"/>
                <a:gd name="connsiteY4" fmla="*/ 2098385 h 2098385"/>
                <a:gd name="connsiteX0" fmla="*/ 371448 w 371448"/>
                <a:gd name="connsiteY0" fmla="*/ 0 h 2098385"/>
                <a:gd name="connsiteX1" fmla="*/ 5153 w 371448"/>
                <a:gd name="connsiteY1" fmla="*/ 121188 h 2098385"/>
                <a:gd name="connsiteX2" fmla="*/ 0 w 371448"/>
                <a:gd name="connsiteY2" fmla="*/ 477244 h 2098385"/>
                <a:gd name="connsiteX3" fmla="*/ 356616 w 371448"/>
                <a:gd name="connsiteY3" fmla="*/ 573445 h 2098385"/>
                <a:gd name="connsiteX4" fmla="*/ 357227 w 371448"/>
                <a:gd name="connsiteY4" fmla="*/ 2098385 h 2098385"/>
                <a:gd name="connsiteX0" fmla="*/ 371448 w 371448"/>
                <a:gd name="connsiteY0" fmla="*/ 0 h 2098385"/>
                <a:gd name="connsiteX1" fmla="*/ 5153 w 371448"/>
                <a:gd name="connsiteY1" fmla="*/ 121188 h 2098385"/>
                <a:gd name="connsiteX2" fmla="*/ 0 w 371448"/>
                <a:gd name="connsiteY2" fmla="*/ 477244 h 2098385"/>
                <a:gd name="connsiteX3" fmla="*/ 356616 w 371448"/>
                <a:gd name="connsiteY3" fmla="*/ 573445 h 2098385"/>
                <a:gd name="connsiteX4" fmla="*/ 357227 w 371448"/>
                <a:gd name="connsiteY4" fmla="*/ 2098385 h 2098385"/>
                <a:gd name="connsiteX0" fmla="*/ 371448 w 618470"/>
                <a:gd name="connsiteY0" fmla="*/ 0 h 2098385"/>
                <a:gd name="connsiteX1" fmla="*/ 5153 w 618470"/>
                <a:gd name="connsiteY1" fmla="*/ 121188 h 2098385"/>
                <a:gd name="connsiteX2" fmla="*/ 0 w 618470"/>
                <a:gd name="connsiteY2" fmla="*/ 477244 h 2098385"/>
                <a:gd name="connsiteX3" fmla="*/ 618470 w 618470"/>
                <a:gd name="connsiteY3" fmla="*/ 1018176 h 2098385"/>
                <a:gd name="connsiteX4" fmla="*/ 357227 w 618470"/>
                <a:gd name="connsiteY4" fmla="*/ 2098385 h 2098385"/>
                <a:gd name="connsiteX0" fmla="*/ 371448 w 618470"/>
                <a:gd name="connsiteY0" fmla="*/ 0 h 2098385"/>
                <a:gd name="connsiteX1" fmla="*/ 5153 w 618470"/>
                <a:gd name="connsiteY1" fmla="*/ 121188 h 2098385"/>
                <a:gd name="connsiteX2" fmla="*/ 0 w 618470"/>
                <a:gd name="connsiteY2" fmla="*/ 477244 h 2098385"/>
                <a:gd name="connsiteX3" fmla="*/ 618470 w 618470"/>
                <a:gd name="connsiteY3" fmla="*/ 1018176 h 2098385"/>
                <a:gd name="connsiteX4" fmla="*/ 357227 w 618470"/>
                <a:gd name="connsiteY4" fmla="*/ 2098385 h 2098385"/>
                <a:gd name="connsiteX0" fmla="*/ 371448 w 618470"/>
                <a:gd name="connsiteY0" fmla="*/ 0 h 2098385"/>
                <a:gd name="connsiteX1" fmla="*/ 5153 w 618470"/>
                <a:gd name="connsiteY1" fmla="*/ 121188 h 2098385"/>
                <a:gd name="connsiteX2" fmla="*/ 0 w 618470"/>
                <a:gd name="connsiteY2" fmla="*/ 477244 h 2098385"/>
                <a:gd name="connsiteX3" fmla="*/ 618470 w 618470"/>
                <a:gd name="connsiteY3" fmla="*/ 1018176 h 2098385"/>
                <a:gd name="connsiteX4" fmla="*/ 357227 w 618470"/>
                <a:gd name="connsiteY4" fmla="*/ 2098385 h 2098385"/>
                <a:gd name="connsiteX0" fmla="*/ 366298 w 613320"/>
                <a:gd name="connsiteY0" fmla="*/ 0 h 2098385"/>
                <a:gd name="connsiteX1" fmla="*/ 3 w 613320"/>
                <a:gd name="connsiteY1" fmla="*/ 121188 h 2098385"/>
                <a:gd name="connsiteX2" fmla="*/ 493617 w 613320"/>
                <a:gd name="connsiteY2" fmla="*/ 651811 h 2098385"/>
                <a:gd name="connsiteX3" fmla="*/ 613320 w 613320"/>
                <a:gd name="connsiteY3" fmla="*/ 1018176 h 2098385"/>
                <a:gd name="connsiteX4" fmla="*/ 352077 w 613320"/>
                <a:gd name="connsiteY4" fmla="*/ 2098385 h 2098385"/>
                <a:gd name="connsiteX0" fmla="*/ 3 w 613320"/>
                <a:gd name="connsiteY0" fmla="*/ 0 h 1977197"/>
                <a:gd name="connsiteX1" fmla="*/ 493617 w 613320"/>
                <a:gd name="connsiteY1" fmla="*/ 530623 h 1977197"/>
                <a:gd name="connsiteX2" fmla="*/ 613320 w 613320"/>
                <a:gd name="connsiteY2" fmla="*/ 896988 h 1977197"/>
                <a:gd name="connsiteX3" fmla="*/ 352077 w 613320"/>
                <a:gd name="connsiteY3" fmla="*/ 1977197 h 1977197"/>
                <a:gd name="connsiteX0" fmla="*/ 141540 w 261243"/>
                <a:gd name="connsiteY0" fmla="*/ 0 h 1446574"/>
                <a:gd name="connsiteX1" fmla="*/ 261243 w 261243"/>
                <a:gd name="connsiteY1" fmla="*/ 366365 h 1446574"/>
                <a:gd name="connsiteX2" fmla="*/ 0 w 261243"/>
                <a:gd name="connsiteY2" fmla="*/ 1446574 h 1446574"/>
                <a:gd name="connsiteX0" fmla="*/ 157418 w 261243"/>
                <a:gd name="connsiteY0" fmla="*/ 0 h 1402124"/>
                <a:gd name="connsiteX1" fmla="*/ 261243 w 261243"/>
                <a:gd name="connsiteY1" fmla="*/ 321915 h 1402124"/>
                <a:gd name="connsiteX2" fmla="*/ 0 w 261243"/>
                <a:gd name="connsiteY2" fmla="*/ 1402124 h 1402124"/>
                <a:gd name="connsiteX0" fmla="*/ 151071 w 261243"/>
                <a:gd name="connsiteY0" fmla="*/ 0 h 1418000"/>
                <a:gd name="connsiteX1" fmla="*/ 261243 w 261243"/>
                <a:gd name="connsiteY1" fmla="*/ 337791 h 1418000"/>
                <a:gd name="connsiteX2" fmla="*/ 0 w 261243"/>
                <a:gd name="connsiteY2" fmla="*/ 1418000 h 1418000"/>
              </a:gdLst>
              <a:ahLst/>
              <a:cxnLst>
                <a:cxn ang="0">
                  <a:pos x="connsiteX0" y="connsiteY0"/>
                </a:cxn>
                <a:cxn ang="0">
                  <a:pos x="connsiteX1" y="connsiteY1"/>
                </a:cxn>
                <a:cxn ang="0">
                  <a:pos x="connsiteX2" y="connsiteY2"/>
                </a:cxn>
              </a:cxnLst>
              <a:rect l="l" t="t" r="r" b="b"/>
              <a:pathLst>
                <a:path w="261243" h="1418000">
                  <a:moveTo>
                    <a:pt x="151071" y="0"/>
                  </a:moveTo>
                  <a:lnTo>
                    <a:pt x="261243" y="337791"/>
                  </a:lnTo>
                  <a:cubicBezTo>
                    <a:pt x="147074" y="799307"/>
                    <a:pt x="126643" y="898295"/>
                    <a:pt x="0" y="1418000"/>
                  </a:cubicBezTo>
                </a:path>
              </a:pathLst>
            </a:custGeom>
            <a:noFill/>
            <a:ln w="19050" cap="flat" cmpd="sng" algn="ctr">
              <a:solidFill>
                <a:srgbClr val="C0504D"/>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8" name="Freeform 32">
              <a:extLst>
                <a:ext uri="{FF2B5EF4-FFF2-40B4-BE49-F238E27FC236}">
                  <a16:creationId xmlns:a16="http://schemas.microsoft.com/office/drawing/2014/main" id="{B470B7F5-36F7-4D68-8940-52A75069A2D0}"/>
                </a:ext>
              </a:extLst>
            </p:cNvPr>
            <p:cNvSpPr/>
            <p:nvPr/>
          </p:nvSpPr>
          <p:spPr>
            <a:xfrm rot="5400000">
              <a:off x="10808745" y="2777612"/>
              <a:ext cx="250112" cy="1373822"/>
            </a:xfrm>
            <a:custGeom>
              <a:avLst/>
              <a:gdLst>
                <a:gd name="connsiteX0" fmla="*/ 0 w 1080654"/>
                <a:gd name="connsiteY0" fmla="*/ 0 h 3483788"/>
                <a:gd name="connsiteX1" fmla="*/ 0 w 1080654"/>
                <a:gd name="connsiteY1" fmla="*/ 347623 h 3483788"/>
                <a:gd name="connsiteX2" fmla="*/ 748145 w 1080654"/>
                <a:gd name="connsiteY2" fmla="*/ 491207 h 3483788"/>
                <a:gd name="connsiteX3" fmla="*/ 763259 w 1080654"/>
                <a:gd name="connsiteY3" fmla="*/ 3483788 h 3483788"/>
                <a:gd name="connsiteX4" fmla="*/ 1080654 w 1080654"/>
                <a:gd name="connsiteY4" fmla="*/ 3468674 h 3483788"/>
                <a:gd name="connsiteX5" fmla="*/ 1080654 w 1080654"/>
                <a:gd name="connsiteY5" fmla="*/ 2728086 h 3483788"/>
                <a:gd name="connsiteX0" fmla="*/ 24 w 1080678"/>
                <a:gd name="connsiteY0" fmla="*/ 0 h 3483788"/>
                <a:gd name="connsiteX1" fmla="*/ 188950 w 1080678"/>
                <a:gd name="connsiteY1" fmla="*/ 15114 h 3483788"/>
                <a:gd name="connsiteX2" fmla="*/ 24 w 1080678"/>
                <a:gd name="connsiteY2" fmla="*/ 347623 h 3483788"/>
                <a:gd name="connsiteX3" fmla="*/ 748169 w 1080678"/>
                <a:gd name="connsiteY3" fmla="*/ 491207 h 3483788"/>
                <a:gd name="connsiteX4" fmla="*/ 763283 w 1080678"/>
                <a:gd name="connsiteY4" fmla="*/ 3483788 h 3483788"/>
                <a:gd name="connsiteX5" fmla="*/ 1080678 w 1080678"/>
                <a:gd name="connsiteY5" fmla="*/ 3468674 h 3483788"/>
                <a:gd name="connsiteX6" fmla="*/ 1080678 w 1080678"/>
                <a:gd name="connsiteY6" fmla="*/ 2728086 h 3483788"/>
                <a:gd name="connsiteX0" fmla="*/ 15 w 1194024"/>
                <a:gd name="connsiteY0" fmla="*/ 0 h 3498902"/>
                <a:gd name="connsiteX1" fmla="*/ 302296 w 1194024"/>
                <a:gd name="connsiteY1" fmla="*/ 30228 h 3498902"/>
                <a:gd name="connsiteX2" fmla="*/ 113370 w 1194024"/>
                <a:gd name="connsiteY2" fmla="*/ 362737 h 3498902"/>
                <a:gd name="connsiteX3" fmla="*/ 861515 w 1194024"/>
                <a:gd name="connsiteY3" fmla="*/ 506321 h 3498902"/>
                <a:gd name="connsiteX4" fmla="*/ 876629 w 1194024"/>
                <a:gd name="connsiteY4" fmla="*/ 3498902 h 3498902"/>
                <a:gd name="connsiteX5" fmla="*/ 1194024 w 1194024"/>
                <a:gd name="connsiteY5" fmla="*/ 3483788 h 3498902"/>
                <a:gd name="connsiteX6" fmla="*/ 1194024 w 1194024"/>
                <a:gd name="connsiteY6" fmla="*/ 2743200 h 3498902"/>
                <a:gd name="connsiteX0" fmla="*/ 39 w 1194048"/>
                <a:gd name="connsiteY0" fmla="*/ 0 h 3498902"/>
                <a:gd name="connsiteX1" fmla="*/ 113394 w 1194048"/>
                <a:gd name="connsiteY1" fmla="*/ 37785 h 3498902"/>
                <a:gd name="connsiteX2" fmla="*/ 113394 w 1194048"/>
                <a:gd name="connsiteY2" fmla="*/ 362737 h 3498902"/>
                <a:gd name="connsiteX3" fmla="*/ 861539 w 1194048"/>
                <a:gd name="connsiteY3" fmla="*/ 506321 h 3498902"/>
                <a:gd name="connsiteX4" fmla="*/ 876653 w 1194048"/>
                <a:gd name="connsiteY4" fmla="*/ 3498902 h 3498902"/>
                <a:gd name="connsiteX5" fmla="*/ 1194048 w 1194048"/>
                <a:gd name="connsiteY5" fmla="*/ 3483788 h 3498902"/>
                <a:gd name="connsiteX6" fmla="*/ 1194048 w 1194048"/>
                <a:gd name="connsiteY6" fmla="*/ 2743200 h 3498902"/>
                <a:gd name="connsiteX0" fmla="*/ 34 w 1194043"/>
                <a:gd name="connsiteY0" fmla="*/ 11634 h 3510536"/>
                <a:gd name="connsiteX1" fmla="*/ 136060 w 1194043"/>
                <a:gd name="connsiteY1" fmla="*/ 11634 h 3510536"/>
                <a:gd name="connsiteX2" fmla="*/ 113389 w 1194043"/>
                <a:gd name="connsiteY2" fmla="*/ 374371 h 3510536"/>
                <a:gd name="connsiteX3" fmla="*/ 861534 w 1194043"/>
                <a:gd name="connsiteY3" fmla="*/ 517955 h 3510536"/>
                <a:gd name="connsiteX4" fmla="*/ 876648 w 1194043"/>
                <a:gd name="connsiteY4" fmla="*/ 3510536 h 3510536"/>
                <a:gd name="connsiteX5" fmla="*/ 1194043 w 1194043"/>
                <a:gd name="connsiteY5" fmla="*/ 3495422 h 3510536"/>
                <a:gd name="connsiteX6" fmla="*/ 1194043 w 1194043"/>
                <a:gd name="connsiteY6" fmla="*/ 2754834 h 3510536"/>
                <a:gd name="connsiteX0" fmla="*/ 32 w 1194041"/>
                <a:gd name="connsiteY0" fmla="*/ 0 h 3498902"/>
                <a:gd name="connsiteX1" fmla="*/ 143615 w 1194041"/>
                <a:gd name="connsiteY1" fmla="*/ 22671 h 3498902"/>
                <a:gd name="connsiteX2" fmla="*/ 113387 w 1194041"/>
                <a:gd name="connsiteY2" fmla="*/ 362737 h 3498902"/>
                <a:gd name="connsiteX3" fmla="*/ 861532 w 1194041"/>
                <a:gd name="connsiteY3" fmla="*/ 506321 h 3498902"/>
                <a:gd name="connsiteX4" fmla="*/ 876646 w 1194041"/>
                <a:gd name="connsiteY4" fmla="*/ 3498902 h 3498902"/>
                <a:gd name="connsiteX5" fmla="*/ 1194041 w 1194041"/>
                <a:gd name="connsiteY5" fmla="*/ 3483788 h 3498902"/>
                <a:gd name="connsiteX6" fmla="*/ 1194041 w 1194041"/>
                <a:gd name="connsiteY6" fmla="*/ 2743200 h 3498902"/>
                <a:gd name="connsiteX0" fmla="*/ 37 w 1194046"/>
                <a:gd name="connsiteY0" fmla="*/ 0 h 3498902"/>
                <a:gd name="connsiteX1" fmla="*/ 120949 w 1194046"/>
                <a:gd name="connsiteY1" fmla="*/ 37785 h 3498902"/>
                <a:gd name="connsiteX2" fmla="*/ 113392 w 1194046"/>
                <a:gd name="connsiteY2" fmla="*/ 362737 h 3498902"/>
                <a:gd name="connsiteX3" fmla="*/ 861537 w 1194046"/>
                <a:gd name="connsiteY3" fmla="*/ 506321 h 3498902"/>
                <a:gd name="connsiteX4" fmla="*/ 876651 w 1194046"/>
                <a:gd name="connsiteY4" fmla="*/ 3498902 h 3498902"/>
                <a:gd name="connsiteX5" fmla="*/ 1194046 w 1194046"/>
                <a:gd name="connsiteY5" fmla="*/ 3483788 h 3498902"/>
                <a:gd name="connsiteX6" fmla="*/ 1194046 w 1194046"/>
                <a:gd name="connsiteY6" fmla="*/ 2743200 h 3498902"/>
                <a:gd name="connsiteX0" fmla="*/ 40 w 1186492"/>
                <a:gd name="connsiteY0" fmla="*/ 0 h 3476231"/>
                <a:gd name="connsiteX1" fmla="*/ 113395 w 1186492"/>
                <a:gd name="connsiteY1" fmla="*/ 15114 h 3476231"/>
                <a:gd name="connsiteX2" fmla="*/ 105838 w 1186492"/>
                <a:gd name="connsiteY2" fmla="*/ 340066 h 3476231"/>
                <a:gd name="connsiteX3" fmla="*/ 853983 w 1186492"/>
                <a:gd name="connsiteY3" fmla="*/ 483650 h 3476231"/>
                <a:gd name="connsiteX4" fmla="*/ 869097 w 1186492"/>
                <a:gd name="connsiteY4" fmla="*/ 3476231 h 3476231"/>
                <a:gd name="connsiteX5" fmla="*/ 1186492 w 1186492"/>
                <a:gd name="connsiteY5" fmla="*/ 3461117 h 3476231"/>
                <a:gd name="connsiteX6" fmla="*/ 1186492 w 1186492"/>
                <a:gd name="connsiteY6" fmla="*/ 2720529 h 3476231"/>
                <a:gd name="connsiteX0" fmla="*/ 43 w 1178938"/>
                <a:gd name="connsiteY0" fmla="*/ 0 h 3710499"/>
                <a:gd name="connsiteX1" fmla="*/ 105841 w 1178938"/>
                <a:gd name="connsiteY1" fmla="*/ 249382 h 3710499"/>
                <a:gd name="connsiteX2" fmla="*/ 98284 w 1178938"/>
                <a:gd name="connsiteY2" fmla="*/ 574334 h 3710499"/>
                <a:gd name="connsiteX3" fmla="*/ 846429 w 1178938"/>
                <a:gd name="connsiteY3" fmla="*/ 717918 h 3710499"/>
                <a:gd name="connsiteX4" fmla="*/ 861543 w 1178938"/>
                <a:gd name="connsiteY4" fmla="*/ 3710499 h 3710499"/>
                <a:gd name="connsiteX5" fmla="*/ 1178938 w 1178938"/>
                <a:gd name="connsiteY5" fmla="*/ 3695385 h 3710499"/>
                <a:gd name="connsiteX6" fmla="*/ 1178938 w 1178938"/>
                <a:gd name="connsiteY6" fmla="*/ 2954797 h 3710499"/>
                <a:gd name="connsiteX0" fmla="*/ 35 w 1201601"/>
                <a:gd name="connsiteY0" fmla="*/ 0 h 3514016"/>
                <a:gd name="connsiteX1" fmla="*/ 128504 w 1201601"/>
                <a:gd name="connsiteY1" fmla="*/ 52899 h 3514016"/>
                <a:gd name="connsiteX2" fmla="*/ 120947 w 1201601"/>
                <a:gd name="connsiteY2" fmla="*/ 377851 h 3514016"/>
                <a:gd name="connsiteX3" fmla="*/ 869092 w 1201601"/>
                <a:gd name="connsiteY3" fmla="*/ 521435 h 3514016"/>
                <a:gd name="connsiteX4" fmla="*/ 884206 w 1201601"/>
                <a:gd name="connsiteY4" fmla="*/ 3514016 h 3514016"/>
                <a:gd name="connsiteX5" fmla="*/ 1201601 w 1201601"/>
                <a:gd name="connsiteY5" fmla="*/ 3498902 h 3514016"/>
                <a:gd name="connsiteX6" fmla="*/ 1201601 w 1201601"/>
                <a:gd name="connsiteY6" fmla="*/ 2758314 h 3514016"/>
                <a:gd name="connsiteX0" fmla="*/ 35 w 1201601"/>
                <a:gd name="connsiteY0" fmla="*/ 0 h 3483788"/>
                <a:gd name="connsiteX1" fmla="*/ 128504 w 1201601"/>
                <a:gd name="connsiteY1" fmla="*/ 22671 h 3483788"/>
                <a:gd name="connsiteX2" fmla="*/ 120947 w 1201601"/>
                <a:gd name="connsiteY2" fmla="*/ 347623 h 3483788"/>
                <a:gd name="connsiteX3" fmla="*/ 869092 w 1201601"/>
                <a:gd name="connsiteY3" fmla="*/ 491207 h 3483788"/>
                <a:gd name="connsiteX4" fmla="*/ 884206 w 1201601"/>
                <a:gd name="connsiteY4" fmla="*/ 3483788 h 3483788"/>
                <a:gd name="connsiteX5" fmla="*/ 1201601 w 1201601"/>
                <a:gd name="connsiteY5" fmla="*/ 3468674 h 3483788"/>
                <a:gd name="connsiteX6" fmla="*/ 1201601 w 1201601"/>
                <a:gd name="connsiteY6" fmla="*/ 2728086 h 3483788"/>
                <a:gd name="connsiteX0" fmla="*/ 35 w 1201601"/>
                <a:gd name="connsiteY0" fmla="*/ 0 h 3506459"/>
                <a:gd name="connsiteX1" fmla="*/ 128504 w 1201601"/>
                <a:gd name="connsiteY1" fmla="*/ 45342 h 3506459"/>
                <a:gd name="connsiteX2" fmla="*/ 120947 w 1201601"/>
                <a:gd name="connsiteY2" fmla="*/ 370294 h 3506459"/>
                <a:gd name="connsiteX3" fmla="*/ 869092 w 1201601"/>
                <a:gd name="connsiteY3" fmla="*/ 513878 h 3506459"/>
                <a:gd name="connsiteX4" fmla="*/ 884206 w 1201601"/>
                <a:gd name="connsiteY4" fmla="*/ 3506459 h 3506459"/>
                <a:gd name="connsiteX5" fmla="*/ 1201601 w 1201601"/>
                <a:gd name="connsiteY5" fmla="*/ 3491345 h 3506459"/>
                <a:gd name="connsiteX6" fmla="*/ 1201601 w 1201601"/>
                <a:gd name="connsiteY6" fmla="*/ 2750757 h 3506459"/>
                <a:gd name="connsiteX0" fmla="*/ 35 w 1201601"/>
                <a:gd name="connsiteY0" fmla="*/ 0 h 3474709"/>
                <a:gd name="connsiteX1" fmla="*/ 128504 w 1201601"/>
                <a:gd name="connsiteY1" fmla="*/ 13592 h 3474709"/>
                <a:gd name="connsiteX2" fmla="*/ 120947 w 1201601"/>
                <a:gd name="connsiteY2" fmla="*/ 338544 h 3474709"/>
                <a:gd name="connsiteX3" fmla="*/ 869092 w 1201601"/>
                <a:gd name="connsiteY3" fmla="*/ 482128 h 3474709"/>
                <a:gd name="connsiteX4" fmla="*/ 884206 w 1201601"/>
                <a:gd name="connsiteY4" fmla="*/ 3474709 h 3474709"/>
                <a:gd name="connsiteX5" fmla="*/ 1201601 w 1201601"/>
                <a:gd name="connsiteY5" fmla="*/ 3459595 h 3474709"/>
                <a:gd name="connsiteX6" fmla="*/ 1201601 w 1201601"/>
                <a:gd name="connsiteY6" fmla="*/ 2719007 h 3474709"/>
                <a:gd name="connsiteX0" fmla="*/ 64 w 1141305"/>
                <a:gd name="connsiteY0" fmla="*/ 2564 h 3474098"/>
                <a:gd name="connsiteX1" fmla="*/ 68208 w 1141305"/>
                <a:gd name="connsiteY1" fmla="*/ 12981 h 3474098"/>
                <a:gd name="connsiteX2" fmla="*/ 60651 w 1141305"/>
                <a:gd name="connsiteY2" fmla="*/ 337933 h 3474098"/>
                <a:gd name="connsiteX3" fmla="*/ 808796 w 1141305"/>
                <a:gd name="connsiteY3" fmla="*/ 481517 h 3474098"/>
                <a:gd name="connsiteX4" fmla="*/ 823910 w 1141305"/>
                <a:gd name="connsiteY4" fmla="*/ 3474098 h 3474098"/>
                <a:gd name="connsiteX5" fmla="*/ 1141305 w 1141305"/>
                <a:gd name="connsiteY5" fmla="*/ 3458984 h 3474098"/>
                <a:gd name="connsiteX6" fmla="*/ 1141305 w 1141305"/>
                <a:gd name="connsiteY6" fmla="*/ 2718396 h 3474098"/>
                <a:gd name="connsiteX0" fmla="*/ 69328 w 1210569"/>
                <a:gd name="connsiteY0" fmla="*/ 12923 h 3484457"/>
                <a:gd name="connsiteX1" fmla="*/ 137472 w 1210569"/>
                <a:gd name="connsiteY1" fmla="*/ 23340 h 3484457"/>
                <a:gd name="connsiteX2" fmla="*/ 129915 w 1210569"/>
                <a:gd name="connsiteY2" fmla="*/ 348292 h 3484457"/>
                <a:gd name="connsiteX3" fmla="*/ 878060 w 1210569"/>
                <a:gd name="connsiteY3" fmla="*/ 491876 h 3484457"/>
                <a:gd name="connsiteX4" fmla="*/ 893174 w 1210569"/>
                <a:gd name="connsiteY4" fmla="*/ 3484457 h 3484457"/>
                <a:gd name="connsiteX5" fmla="*/ 1210569 w 1210569"/>
                <a:gd name="connsiteY5" fmla="*/ 3469343 h 3484457"/>
                <a:gd name="connsiteX6" fmla="*/ 1210569 w 1210569"/>
                <a:gd name="connsiteY6" fmla="*/ 2728755 h 3484457"/>
                <a:gd name="connsiteX0" fmla="*/ 7557 w 1080654"/>
                <a:gd name="connsiteY0" fmla="*/ 0 h 3461117"/>
                <a:gd name="connsiteX1" fmla="*/ 0 w 1080654"/>
                <a:gd name="connsiteY1" fmla="*/ 324952 h 3461117"/>
                <a:gd name="connsiteX2" fmla="*/ 748145 w 1080654"/>
                <a:gd name="connsiteY2" fmla="*/ 468536 h 3461117"/>
                <a:gd name="connsiteX3" fmla="*/ 763259 w 1080654"/>
                <a:gd name="connsiteY3" fmla="*/ 3461117 h 3461117"/>
                <a:gd name="connsiteX4" fmla="*/ 1080654 w 1080654"/>
                <a:gd name="connsiteY4" fmla="*/ 3446003 h 3461117"/>
                <a:gd name="connsiteX5" fmla="*/ 1080654 w 1080654"/>
                <a:gd name="connsiteY5" fmla="*/ 2705415 h 3461117"/>
                <a:gd name="connsiteX0" fmla="*/ 7557 w 1080654"/>
                <a:gd name="connsiteY0" fmla="*/ 0 h 3461117"/>
                <a:gd name="connsiteX1" fmla="*/ 4172 w 1080654"/>
                <a:gd name="connsiteY1" fmla="*/ 77827 h 3461117"/>
                <a:gd name="connsiteX2" fmla="*/ 0 w 1080654"/>
                <a:gd name="connsiteY2" fmla="*/ 324952 h 3461117"/>
                <a:gd name="connsiteX3" fmla="*/ 748145 w 1080654"/>
                <a:gd name="connsiteY3" fmla="*/ 468536 h 3461117"/>
                <a:gd name="connsiteX4" fmla="*/ 763259 w 1080654"/>
                <a:gd name="connsiteY4" fmla="*/ 3461117 h 3461117"/>
                <a:gd name="connsiteX5" fmla="*/ 1080654 w 1080654"/>
                <a:gd name="connsiteY5" fmla="*/ 3446003 h 3461117"/>
                <a:gd name="connsiteX6" fmla="*/ 1080654 w 1080654"/>
                <a:gd name="connsiteY6" fmla="*/ 2705415 h 3461117"/>
                <a:gd name="connsiteX0" fmla="*/ 0 w 1228672"/>
                <a:gd name="connsiteY0" fmla="*/ 0 h 3486517"/>
                <a:gd name="connsiteX1" fmla="*/ 152190 w 1228672"/>
                <a:gd name="connsiteY1" fmla="*/ 103227 h 3486517"/>
                <a:gd name="connsiteX2" fmla="*/ 148018 w 1228672"/>
                <a:gd name="connsiteY2" fmla="*/ 350352 h 3486517"/>
                <a:gd name="connsiteX3" fmla="*/ 896163 w 1228672"/>
                <a:gd name="connsiteY3" fmla="*/ 493936 h 3486517"/>
                <a:gd name="connsiteX4" fmla="*/ 911277 w 1228672"/>
                <a:gd name="connsiteY4" fmla="*/ 3486517 h 3486517"/>
                <a:gd name="connsiteX5" fmla="*/ 1228672 w 1228672"/>
                <a:gd name="connsiteY5" fmla="*/ 3471403 h 3486517"/>
                <a:gd name="connsiteX6" fmla="*/ 1228672 w 1228672"/>
                <a:gd name="connsiteY6" fmla="*/ 2730815 h 3486517"/>
                <a:gd name="connsiteX0" fmla="*/ 0 w 1228672"/>
                <a:gd name="connsiteY0" fmla="*/ 4723 h 3491240"/>
                <a:gd name="connsiteX1" fmla="*/ 145840 w 1228672"/>
                <a:gd name="connsiteY1" fmla="*/ 0 h 3491240"/>
                <a:gd name="connsiteX2" fmla="*/ 148018 w 1228672"/>
                <a:gd name="connsiteY2" fmla="*/ 355075 h 3491240"/>
                <a:gd name="connsiteX3" fmla="*/ 896163 w 1228672"/>
                <a:gd name="connsiteY3" fmla="*/ 498659 h 3491240"/>
                <a:gd name="connsiteX4" fmla="*/ 911277 w 1228672"/>
                <a:gd name="connsiteY4" fmla="*/ 3491240 h 3491240"/>
                <a:gd name="connsiteX5" fmla="*/ 1228672 w 1228672"/>
                <a:gd name="connsiteY5" fmla="*/ 3476126 h 3491240"/>
                <a:gd name="connsiteX6" fmla="*/ 1228672 w 1228672"/>
                <a:gd name="connsiteY6" fmla="*/ 2735538 h 3491240"/>
                <a:gd name="connsiteX0" fmla="*/ 0 w 1177872"/>
                <a:gd name="connsiteY0" fmla="*/ 1548 h 3491240"/>
                <a:gd name="connsiteX1" fmla="*/ 95040 w 1177872"/>
                <a:gd name="connsiteY1" fmla="*/ 0 h 3491240"/>
                <a:gd name="connsiteX2" fmla="*/ 97218 w 1177872"/>
                <a:gd name="connsiteY2" fmla="*/ 355075 h 3491240"/>
                <a:gd name="connsiteX3" fmla="*/ 845363 w 1177872"/>
                <a:gd name="connsiteY3" fmla="*/ 498659 h 3491240"/>
                <a:gd name="connsiteX4" fmla="*/ 860477 w 1177872"/>
                <a:gd name="connsiteY4" fmla="*/ 3491240 h 3491240"/>
                <a:gd name="connsiteX5" fmla="*/ 1177872 w 1177872"/>
                <a:gd name="connsiteY5" fmla="*/ 3476126 h 3491240"/>
                <a:gd name="connsiteX6" fmla="*/ 1177872 w 1177872"/>
                <a:gd name="connsiteY6" fmla="*/ 2735538 h 3491240"/>
                <a:gd name="connsiteX0" fmla="*/ 0 w 1177872"/>
                <a:gd name="connsiteY0" fmla="*/ 0 h 3489692"/>
                <a:gd name="connsiteX1" fmla="*/ 98215 w 1177872"/>
                <a:gd name="connsiteY1" fmla="*/ 1627 h 3489692"/>
                <a:gd name="connsiteX2" fmla="*/ 97218 w 1177872"/>
                <a:gd name="connsiteY2" fmla="*/ 353527 h 3489692"/>
                <a:gd name="connsiteX3" fmla="*/ 845363 w 1177872"/>
                <a:gd name="connsiteY3" fmla="*/ 497111 h 3489692"/>
                <a:gd name="connsiteX4" fmla="*/ 860477 w 1177872"/>
                <a:gd name="connsiteY4" fmla="*/ 3489692 h 3489692"/>
                <a:gd name="connsiteX5" fmla="*/ 1177872 w 1177872"/>
                <a:gd name="connsiteY5" fmla="*/ 3474578 h 3489692"/>
                <a:gd name="connsiteX6" fmla="*/ 1177872 w 1177872"/>
                <a:gd name="connsiteY6" fmla="*/ 2733990 h 3489692"/>
                <a:gd name="connsiteX0" fmla="*/ 0 w 1177872"/>
                <a:gd name="connsiteY0" fmla="*/ 0 h 3489692"/>
                <a:gd name="connsiteX1" fmla="*/ 98215 w 1177872"/>
                <a:gd name="connsiteY1" fmla="*/ 1627 h 3489692"/>
                <a:gd name="connsiteX2" fmla="*/ 97218 w 1177872"/>
                <a:gd name="connsiteY2" fmla="*/ 353527 h 3489692"/>
                <a:gd name="connsiteX3" fmla="*/ 699059 w 1177872"/>
                <a:gd name="connsiteY3" fmla="*/ 478823 h 3489692"/>
                <a:gd name="connsiteX4" fmla="*/ 860477 w 1177872"/>
                <a:gd name="connsiteY4" fmla="*/ 3489692 h 3489692"/>
                <a:gd name="connsiteX5" fmla="*/ 1177872 w 1177872"/>
                <a:gd name="connsiteY5" fmla="*/ 3474578 h 3489692"/>
                <a:gd name="connsiteX6" fmla="*/ 1177872 w 1177872"/>
                <a:gd name="connsiteY6" fmla="*/ 2733990 h 3489692"/>
                <a:gd name="connsiteX0" fmla="*/ 0 w 1177872"/>
                <a:gd name="connsiteY0" fmla="*/ 0 h 3489692"/>
                <a:gd name="connsiteX1" fmla="*/ 98215 w 1177872"/>
                <a:gd name="connsiteY1" fmla="*/ 1627 h 3489692"/>
                <a:gd name="connsiteX2" fmla="*/ 97218 w 1177872"/>
                <a:gd name="connsiteY2" fmla="*/ 353527 h 3489692"/>
                <a:gd name="connsiteX3" fmla="*/ 699059 w 1177872"/>
                <a:gd name="connsiteY3" fmla="*/ 478823 h 3489692"/>
                <a:gd name="connsiteX4" fmla="*/ 718745 w 1177872"/>
                <a:gd name="connsiteY4" fmla="*/ 3489692 h 3489692"/>
                <a:gd name="connsiteX5" fmla="*/ 1177872 w 1177872"/>
                <a:gd name="connsiteY5" fmla="*/ 3474578 h 3489692"/>
                <a:gd name="connsiteX6" fmla="*/ 1177872 w 1177872"/>
                <a:gd name="connsiteY6" fmla="*/ 2733990 h 3489692"/>
                <a:gd name="connsiteX0" fmla="*/ 0 w 1177872"/>
                <a:gd name="connsiteY0" fmla="*/ 0 h 3475976"/>
                <a:gd name="connsiteX1" fmla="*/ 98215 w 1177872"/>
                <a:gd name="connsiteY1" fmla="*/ 1627 h 3475976"/>
                <a:gd name="connsiteX2" fmla="*/ 97218 w 1177872"/>
                <a:gd name="connsiteY2" fmla="*/ 353527 h 3475976"/>
                <a:gd name="connsiteX3" fmla="*/ 699059 w 1177872"/>
                <a:gd name="connsiteY3" fmla="*/ 478823 h 3475976"/>
                <a:gd name="connsiteX4" fmla="*/ 718745 w 1177872"/>
                <a:gd name="connsiteY4" fmla="*/ 3475976 h 3475976"/>
                <a:gd name="connsiteX5" fmla="*/ 1177872 w 1177872"/>
                <a:gd name="connsiteY5" fmla="*/ 3474578 h 3475976"/>
                <a:gd name="connsiteX6" fmla="*/ 1177872 w 1177872"/>
                <a:gd name="connsiteY6" fmla="*/ 2733990 h 3475976"/>
                <a:gd name="connsiteX0" fmla="*/ 0 w 1177872"/>
                <a:gd name="connsiteY0" fmla="*/ 0 h 3474578"/>
                <a:gd name="connsiteX1" fmla="*/ 98215 w 1177872"/>
                <a:gd name="connsiteY1" fmla="*/ 1627 h 3474578"/>
                <a:gd name="connsiteX2" fmla="*/ 97218 w 1177872"/>
                <a:gd name="connsiteY2" fmla="*/ 353527 h 3474578"/>
                <a:gd name="connsiteX3" fmla="*/ 699059 w 1177872"/>
                <a:gd name="connsiteY3" fmla="*/ 478823 h 3474578"/>
                <a:gd name="connsiteX4" fmla="*/ 1177872 w 1177872"/>
                <a:gd name="connsiteY4" fmla="*/ 3474578 h 3474578"/>
                <a:gd name="connsiteX5" fmla="*/ 1177872 w 1177872"/>
                <a:gd name="connsiteY5" fmla="*/ 2733990 h 3474578"/>
                <a:gd name="connsiteX0" fmla="*/ 0 w 1177872"/>
                <a:gd name="connsiteY0" fmla="*/ 0 h 2733990"/>
                <a:gd name="connsiteX1" fmla="*/ 98215 w 1177872"/>
                <a:gd name="connsiteY1" fmla="*/ 1627 h 2733990"/>
                <a:gd name="connsiteX2" fmla="*/ 97218 w 1177872"/>
                <a:gd name="connsiteY2" fmla="*/ 353527 h 2733990"/>
                <a:gd name="connsiteX3" fmla="*/ 699059 w 1177872"/>
                <a:gd name="connsiteY3" fmla="*/ 478823 h 2733990"/>
                <a:gd name="connsiteX4" fmla="*/ 1177872 w 1177872"/>
                <a:gd name="connsiteY4" fmla="*/ 2733990 h 2733990"/>
                <a:gd name="connsiteX0" fmla="*/ 0 w 699059"/>
                <a:gd name="connsiteY0" fmla="*/ 0 h 2000532"/>
                <a:gd name="connsiteX1" fmla="*/ 98215 w 699059"/>
                <a:gd name="connsiteY1" fmla="*/ 1627 h 2000532"/>
                <a:gd name="connsiteX2" fmla="*/ 97218 w 699059"/>
                <a:gd name="connsiteY2" fmla="*/ 353527 h 2000532"/>
                <a:gd name="connsiteX3" fmla="*/ 699059 w 699059"/>
                <a:gd name="connsiteY3" fmla="*/ 478823 h 2000532"/>
                <a:gd name="connsiteX4" fmla="*/ 693208 w 699059"/>
                <a:gd name="connsiteY4" fmla="*/ 2000532 h 2000532"/>
                <a:gd name="connsiteX0" fmla="*/ 0 w 700170"/>
                <a:gd name="connsiteY0" fmla="*/ 0 h 2003763"/>
                <a:gd name="connsiteX1" fmla="*/ 98215 w 700170"/>
                <a:gd name="connsiteY1" fmla="*/ 1627 h 2003763"/>
                <a:gd name="connsiteX2" fmla="*/ 97218 w 700170"/>
                <a:gd name="connsiteY2" fmla="*/ 353527 h 2003763"/>
                <a:gd name="connsiteX3" fmla="*/ 699059 w 700170"/>
                <a:gd name="connsiteY3" fmla="*/ 478823 h 2003763"/>
                <a:gd name="connsiteX4" fmla="*/ 699670 w 700170"/>
                <a:gd name="connsiteY4" fmla="*/ 2003763 h 2003763"/>
                <a:gd name="connsiteX0" fmla="*/ 0 w 1169508"/>
                <a:gd name="connsiteY0" fmla="*/ 6465 h 2002136"/>
                <a:gd name="connsiteX1" fmla="*/ 567553 w 1169508"/>
                <a:gd name="connsiteY1" fmla="*/ 0 h 2002136"/>
                <a:gd name="connsiteX2" fmla="*/ 566556 w 1169508"/>
                <a:gd name="connsiteY2" fmla="*/ 351900 h 2002136"/>
                <a:gd name="connsiteX3" fmla="*/ 1168397 w 1169508"/>
                <a:gd name="connsiteY3" fmla="*/ 477196 h 2002136"/>
                <a:gd name="connsiteX4" fmla="*/ 1169008 w 1169508"/>
                <a:gd name="connsiteY4" fmla="*/ 2002136 h 2002136"/>
                <a:gd name="connsiteX0" fmla="*/ 0 w 1193784"/>
                <a:gd name="connsiteY0" fmla="*/ 144030 h 2002136"/>
                <a:gd name="connsiteX1" fmla="*/ 591829 w 1193784"/>
                <a:gd name="connsiteY1" fmla="*/ 0 h 2002136"/>
                <a:gd name="connsiteX2" fmla="*/ 590832 w 1193784"/>
                <a:gd name="connsiteY2" fmla="*/ 351900 h 2002136"/>
                <a:gd name="connsiteX3" fmla="*/ 1192673 w 1193784"/>
                <a:gd name="connsiteY3" fmla="*/ 477196 h 2002136"/>
                <a:gd name="connsiteX4" fmla="*/ 1193284 w 1193784"/>
                <a:gd name="connsiteY4" fmla="*/ 2002136 h 2002136"/>
                <a:gd name="connsiteX0" fmla="*/ 0 w 999576"/>
                <a:gd name="connsiteY0" fmla="*/ 95478 h 2002136"/>
                <a:gd name="connsiteX1" fmla="*/ 397621 w 999576"/>
                <a:gd name="connsiteY1" fmla="*/ 0 h 2002136"/>
                <a:gd name="connsiteX2" fmla="*/ 396624 w 999576"/>
                <a:gd name="connsiteY2" fmla="*/ 351900 h 2002136"/>
                <a:gd name="connsiteX3" fmla="*/ 998465 w 999576"/>
                <a:gd name="connsiteY3" fmla="*/ 477196 h 2002136"/>
                <a:gd name="connsiteX4" fmla="*/ 999076 w 999576"/>
                <a:gd name="connsiteY4" fmla="*/ 2002136 h 2002136"/>
                <a:gd name="connsiteX0" fmla="*/ 0 w 975299"/>
                <a:gd name="connsiteY0" fmla="*/ 95478 h 2002136"/>
                <a:gd name="connsiteX1" fmla="*/ 373344 w 975299"/>
                <a:gd name="connsiteY1" fmla="*/ 0 h 2002136"/>
                <a:gd name="connsiteX2" fmla="*/ 372347 w 975299"/>
                <a:gd name="connsiteY2" fmla="*/ 351900 h 2002136"/>
                <a:gd name="connsiteX3" fmla="*/ 974188 w 975299"/>
                <a:gd name="connsiteY3" fmla="*/ 477196 h 2002136"/>
                <a:gd name="connsiteX4" fmla="*/ 974799 w 975299"/>
                <a:gd name="connsiteY4" fmla="*/ 2002136 h 2002136"/>
                <a:gd name="connsiteX0" fmla="*/ 0 w 813459"/>
                <a:gd name="connsiteY0" fmla="*/ 71202 h 2002136"/>
                <a:gd name="connsiteX1" fmla="*/ 211504 w 813459"/>
                <a:gd name="connsiteY1" fmla="*/ 0 h 2002136"/>
                <a:gd name="connsiteX2" fmla="*/ 210507 w 813459"/>
                <a:gd name="connsiteY2" fmla="*/ 351900 h 2002136"/>
                <a:gd name="connsiteX3" fmla="*/ 812348 w 813459"/>
                <a:gd name="connsiteY3" fmla="*/ 477196 h 2002136"/>
                <a:gd name="connsiteX4" fmla="*/ 812959 w 813459"/>
                <a:gd name="connsiteY4" fmla="*/ 2002136 h 2002136"/>
                <a:gd name="connsiteX0" fmla="*/ 0 w 797275"/>
                <a:gd name="connsiteY0" fmla="*/ 63110 h 2002136"/>
                <a:gd name="connsiteX1" fmla="*/ 195320 w 797275"/>
                <a:gd name="connsiteY1" fmla="*/ 0 h 2002136"/>
                <a:gd name="connsiteX2" fmla="*/ 194323 w 797275"/>
                <a:gd name="connsiteY2" fmla="*/ 351900 h 2002136"/>
                <a:gd name="connsiteX3" fmla="*/ 796164 w 797275"/>
                <a:gd name="connsiteY3" fmla="*/ 477196 h 2002136"/>
                <a:gd name="connsiteX4" fmla="*/ 796775 w 797275"/>
                <a:gd name="connsiteY4" fmla="*/ 2002136 h 2002136"/>
                <a:gd name="connsiteX0" fmla="*/ 0 w 834346"/>
                <a:gd name="connsiteY0" fmla="*/ 63110 h 2002136"/>
                <a:gd name="connsiteX1" fmla="*/ 232391 w 834346"/>
                <a:gd name="connsiteY1" fmla="*/ 0 h 2002136"/>
                <a:gd name="connsiteX2" fmla="*/ 231394 w 834346"/>
                <a:gd name="connsiteY2" fmla="*/ 351900 h 2002136"/>
                <a:gd name="connsiteX3" fmla="*/ 833235 w 834346"/>
                <a:gd name="connsiteY3" fmla="*/ 477196 h 2002136"/>
                <a:gd name="connsiteX4" fmla="*/ 833846 w 834346"/>
                <a:gd name="connsiteY4" fmla="*/ 2002136 h 2002136"/>
                <a:gd name="connsiteX0" fmla="*/ 0 w 834346"/>
                <a:gd name="connsiteY0" fmla="*/ 63110 h 2002136"/>
                <a:gd name="connsiteX1" fmla="*/ 10801 w 834346"/>
                <a:gd name="connsiteY1" fmla="*/ 55376 h 2002136"/>
                <a:gd name="connsiteX2" fmla="*/ 232391 w 834346"/>
                <a:gd name="connsiteY2" fmla="*/ 0 h 2002136"/>
                <a:gd name="connsiteX3" fmla="*/ 231394 w 834346"/>
                <a:gd name="connsiteY3" fmla="*/ 351900 h 2002136"/>
                <a:gd name="connsiteX4" fmla="*/ 833235 w 834346"/>
                <a:gd name="connsiteY4" fmla="*/ 477196 h 2002136"/>
                <a:gd name="connsiteX5" fmla="*/ 833846 w 834346"/>
                <a:gd name="connsiteY5" fmla="*/ 2002136 h 2002136"/>
                <a:gd name="connsiteX0" fmla="*/ 0 w 834346"/>
                <a:gd name="connsiteY0" fmla="*/ 63110 h 2002136"/>
                <a:gd name="connsiteX1" fmla="*/ 93928 w 834346"/>
                <a:gd name="connsiteY1" fmla="*/ 83085 h 2002136"/>
                <a:gd name="connsiteX2" fmla="*/ 232391 w 834346"/>
                <a:gd name="connsiteY2" fmla="*/ 0 h 2002136"/>
                <a:gd name="connsiteX3" fmla="*/ 231394 w 834346"/>
                <a:gd name="connsiteY3" fmla="*/ 351900 h 2002136"/>
                <a:gd name="connsiteX4" fmla="*/ 833235 w 834346"/>
                <a:gd name="connsiteY4" fmla="*/ 477196 h 2002136"/>
                <a:gd name="connsiteX5" fmla="*/ 833846 w 834346"/>
                <a:gd name="connsiteY5" fmla="*/ 2002136 h 2002136"/>
                <a:gd name="connsiteX0" fmla="*/ 507755 w 740418"/>
                <a:gd name="connsiteY0" fmla="*/ 0 h 2077572"/>
                <a:gd name="connsiteX1" fmla="*/ 0 w 740418"/>
                <a:gd name="connsiteY1" fmla="*/ 158521 h 2077572"/>
                <a:gd name="connsiteX2" fmla="*/ 138463 w 740418"/>
                <a:gd name="connsiteY2" fmla="*/ 75436 h 2077572"/>
                <a:gd name="connsiteX3" fmla="*/ 137466 w 740418"/>
                <a:gd name="connsiteY3" fmla="*/ 427336 h 2077572"/>
                <a:gd name="connsiteX4" fmla="*/ 739307 w 740418"/>
                <a:gd name="connsiteY4" fmla="*/ 552632 h 2077572"/>
                <a:gd name="connsiteX5" fmla="*/ 739918 w 740418"/>
                <a:gd name="connsiteY5" fmla="*/ 2077572 h 2077572"/>
                <a:gd name="connsiteX0" fmla="*/ 606716 w 839379"/>
                <a:gd name="connsiteY0" fmla="*/ 0 h 2077572"/>
                <a:gd name="connsiteX1" fmla="*/ 0 w 839379"/>
                <a:gd name="connsiteY1" fmla="*/ 142687 h 2077572"/>
                <a:gd name="connsiteX2" fmla="*/ 237424 w 839379"/>
                <a:gd name="connsiteY2" fmla="*/ 75436 h 2077572"/>
                <a:gd name="connsiteX3" fmla="*/ 236427 w 839379"/>
                <a:gd name="connsiteY3" fmla="*/ 427336 h 2077572"/>
                <a:gd name="connsiteX4" fmla="*/ 838268 w 839379"/>
                <a:gd name="connsiteY4" fmla="*/ 552632 h 2077572"/>
                <a:gd name="connsiteX5" fmla="*/ 838879 w 839379"/>
                <a:gd name="connsiteY5" fmla="*/ 2077572 h 2077572"/>
                <a:gd name="connsiteX0" fmla="*/ 606716 w 839379"/>
                <a:gd name="connsiteY0" fmla="*/ 0 h 2077572"/>
                <a:gd name="connsiteX1" fmla="*/ 0 w 839379"/>
                <a:gd name="connsiteY1" fmla="*/ 142687 h 2077572"/>
                <a:gd name="connsiteX2" fmla="*/ 237424 w 839379"/>
                <a:gd name="connsiteY2" fmla="*/ 75436 h 2077572"/>
                <a:gd name="connsiteX3" fmla="*/ 236427 w 839379"/>
                <a:gd name="connsiteY3" fmla="*/ 427336 h 2077572"/>
                <a:gd name="connsiteX4" fmla="*/ 838268 w 839379"/>
                <a:gd name="connsiteY4" fmla="*/ 552632 h 2077572"/>
                <a:gd name="connsiteX5" fmla="*/ 838879 w 839379"/>
                <a:gd name="connsiteY5" fmla="*/ 2077572 h 2077572"/>
                <a:gd name="connsiteX0" fmla="*/ 606716 w 839379"/>
                <a:gd name="connsiteY0" fmla="*/ 0 h 2077572"/>
                <a:gd name="connsiteX1" fmla="*/ 0 w 839379"/>
                <a:gd name="connsiteY1" fmla="*/ 142687 h 2077572"/>
                <a:gd name="connsiteX2" fmla="*/ 237424 w 839379"/>
                <a:gd name="connsiteY2" fmla="*/ 75436 h 2077572"/>
                <a:gd name="connsiteX3" fmla="*/ 236427 w 839379"/>
                <a:gd name="connsiteY3" fmla="*/ 427336 h 2077572"/>
                <a:gd name="connsiteX4" fmla="*/ 838268 w 839379"/>
                <a:gd name="connsiteY4" fmla="*/ 552632 h 2077572"/>
                <a:gd name="connsiteX5" fmla="*/ 838879 w 839379"/>
                <a:gd name="connsiteY5" fmla="*/ 2077572 h 2077572"/>
                <a:gd name="connsiteX0" fmla="*/ 606716 w 839379"/>
                <a:gd name="connsiteY0" fmla="*/ 0 h 2077572"/>
                <a:gd name="connsiteX1" fmla="*/ 0 w 839379"/>
                <a:gd name="connsiteY1" fmla="*/ 142687 h 2077572"/>
                <a:gd name="connsiteX2" fmla="*/ 237424 w 839379"/>
                <a:gd name="connsiteY2" fmla="*/ 75436 h 2077572"/>
                <a:gd name="connsiteX3" fmla="*/ 236427 w 839379"/>
                <a:gd name="connsiteY3" fmla="*/ 427336 h 2077572"/>
                <a:gd name="connsiteX4" fmla="*/ 838268 w 839379"/>
                <a:gd name="connsiteY4" fmla="*/ 552632 h 2077572"/>
                <a:gd name="connsiteX5" fmla="*/ 838879 w 839379"/>
                <a:gd name="connsiteY5" fmla="*/ 2077572 h 2077572"/>
                <a:gd name="connsiteX0" fmla="*/ 606716 w 839379"/>
                <a:gd name="connsiteY0" fmla="*/ 0 h 2077572"/>
                <a:gd name="connsiteX1" fmla="*/ 0 w 839379"/>
                <a:gd name="connsiteY1" fmla="*/ 142687 h 2077572"/>
                <a:gd name="connsiteX2" fmla="*/ 237424 w 839379"/>
                <a:gd name="connsiteY2" fmla="*/ 75436 h 2077572"/>
                <a:gd name="connsiteX3" fmla="*/ 236427 w 839379"/>
                <a:gd name="connsiteY3" fmla="*/ 427336 h 2077572"/>
                <a:gd name="connsiteX4" fmla="*/ 838268 w 839379"/>
                <a:gd name="connsiteY4" fmla="*/ 552632 h 2077572"/>
                <a:gd name="connsiteX5" fmla="*/ 838879 w 839379"/>
                <a:gd name="connsiteY5" fmla="*/ 2077572 h 2077572"/>
                <a:gd name="connsiteX0" fmla="*/ 598799 w 839379"/>
                <a:gd name="connsiteY0" fmla="*/ 0 h 2081530"/>
                <a:gd name="connsiteX1" fmla="*/ 0 w 839379"/>
                <a:gd name="connsiteY1" fmla="*/ 146645 h 2081530"/>
                <a:gd name="connsiteX2" fmla="*/ 237424 w 839379"/>
                <a:gd name="connsiteY2" fmla="*/ 79394 h 2081530"/>
                <a:gd name="connsiteX3" fmla="*/ 236427 w 839379"/>
                <a:gd name="connsiteY3" fmla="*/ 431294 h 2081530"/>
                <a:gd name="connsiteX4" fmla="*/ 838268 w 839379"/>
                <a:gd name="connsiteY4" fmla="*/ 556590 h 2081530"/>
                <a:gd name="connsiteX5" fmla="*/ 838879 w 839379"/>
                <a:gd name="connsiteY5" fmla="*/ 2081530 h 2081530"/>
                <a:gd name="connsiteX0" fmla="*/ 682689 w 839379"/>
                <a:gd name="connsiteY0" fmla="*/ 0 h 2106697"/>
                <a:gd name="connsiteX1" fmla="*/ 0 w 839379"/>
                <a:gd name="connsiteY1" fmla="*/ 171812 h 2106697"/>
                <a:gd name="connsiteX2" fmla="*/ 237424 w 839379"/>
                <a:gd name="connsiteY2" fmla="*/ 104561 h 2106697"/>
                <a:gd name="connsiteX3" fmla="*/ 236427 w 839379"/>
                <a:gd name="connsiteY3" fmla="*/ 456461 h 2106697"/>
                <a:gd name="connsiteX4" fmla="*/ 838268 w 839379"/>
                <a:gd name="connsiteY4" fmla="*/ 581757 h 2106697"/>
                <a:gd name="connsiteX5" fmla="*/ 838879 w 839379"/>
                <a:gd name="connsiteY5" fmla="*/ 2106697 h 2106697"/>
                <a:gd name="connsiteX0" fmla="*/ 682689 w 839379"/>
                <a:gd name="connsiteY0" fmla="*/ 0 h 2106697"/>
                <a:gd name="connsiteX1" fmla="*/ 0 w 839379"/>
                <a:gd name="connsiteY1" fmla="*/ 171812 h 2106697"/>
                <a:gd name="connsiteX2" fmla="*/ 237424 w 839379"/>
                <a:gd name="connsiteY2" fmla="*/ 104561 h 2106697"/>
                <a:gd name="connsiteX3" fmla="*/ 236427 w 839379"/>
                <a:gd name="connsiteY3" fmla="*/ 456461 h 2106697"/>
                <a:gd name="connsiteX4" fmla="*/ 838268 w 839379"/>
                <a:gd name="connsiteY4" fmla="*/ 581757 h 2106697"/>
                <a:gd name="connsiteX5" fmla="*/ 838879 w 839379"/>
                <a:gd name="connsiteY5" fmla="*/ 2106697 h 2106697"/>
                <a:gd name="connsiteX0" fmla="*/ 446262 w 602952"/>
                <a:gd name="connsiteY0" fmla="*/ 0 h 2106697"/>
                <a:gd name="connsiteX1" fmla="*/ 997 w 602952"/>
                <a:gd name="connsiteY1" fmla="*/ 104561 h 2106697"/>
                <a:gd name="connsiteX2" fmla="*/ 0 w 602952"/>
                <a:gd name="connsiteY2" fmla="*/ 456461 h 2106697"/>
                <a:gd name="connsiteX3" fmla="*/ 601841 w 602952"/>
                <a:gd name="connsiteY3" fmla="*/ 581757 h 2106697"/>
                <a:gd name="connsiteX4" fmla="*/ 602452 w 602952"/>
                <a:gd name="connsiteY4" fmla="*/ 2106697 h 2106697"/>
                <a:gd name="connsiteX0" fmla="*/ 445269 w 601959"/>
                <a:gd name="connsiteY0" fmla="*/ 0 h 2106697"/>
                <a:gd name="connsiteX1" fmla="*/ 4 w 601959"/>
                <a:gd name="connsiteY1" fmla="*/ 104561 h 2106697"/>
                <a:gd name="connsiteX2" fmla="*/ 373079 w 601959"/>
                <a:gd name="connsiteY2" fmla="*/ 539588 h 2106697"/>
                <a:gd name="connsiteX3" fmla="*/ 600848 w 601959"/>
                <a:gd name="connsiteY3" fmla="*/ 581757 h 2106697"/>
                <a:gd name="connsiteX4" fmla="*/ 601459 w 601959"/>
                <a:gd name="connsiteY4" fmla="*/ 2106697 h 2106697"/>
                <a:gd name="connsiteX0" fmla="*/ 79637 w 236327"/>
                <a:gd name="connsiteY0" fmla="*/ 0 h 2106697"/>
                <a:gd name="connsiteX1" fmla="*/ 132 w 236327"/>
                <a:gd name="connsiteY1" fmla="*/ 191845 h 2106697"/>
                <a:gd name="connsiteX2" fmla="*/ 7447 w 236327"/>
                <a:gd name="connsiteY2" fmla="*/ 539588 h 2106697"/>
                <a:gd name="connsiteX3" fmla="*/ 235216 w 236327"/>
                <a:gd name="connsiteY3" fmla="*/ 581757 h 2106697"/>
                <a:gd name="connsiteX4" fmla="*/ 235827 w 236327"/>
                <a:gd name="connsiteY4" fmla="*/ 2106697 h 2106697"/>
                <a:gd name="connsiteX0" fmla="*/ 462022 w 462022"/>
                <a:gd name="connsiteY0" fmla="*/ 0 h 2069290"/>
                <a:gd name="connsiteX1" fmla="*/ 132 w 462022"/>
                <a:gd name="connsiteY1" fmla="*/ 154438 h 2069290"/>
                <a:gd name="connsiteX2" fmla="*/ 7447 w 462022"/>
                <a:gd name="connsiteY2" fmla="*/ 502181 h 2069290"/>
                <a:gd name="connsiteX3" fmla="*/ 235216 w 462022"/>
                <a:gd name="connsiteY3" fmla="*/ 544350 h 2069290"/>
                <a:gd name="connsiteX4" fmla="*/ 235827 w 462022"/>
                <a:gd name="connsiteY4" fmla="*/ 2069290 h 2069290"/>
                <a:gd name="connsiteX0" fmla="*/ 454575 w 454575"/>
                <a:gd name="connsiteY0" fmla="*/ 0 h 2069290"/>
                <a:gd name="connsiteX1" fmla="*/ 13466 w 454575"/>
                <a:gd name="connsiteY1" fmla="*/ 141969 h 2069290"/>
                <a:gd name="connsiteX2" fmla="*/ 0 w 454575"/>
                <a:gd name="connsiteY2" fmla="*/ 502181 h 2069290"/>
                <a:gd name="connsiteX3" fmla="*/ 227769 w 454575"/>
                <a:gd name="connsiteY3" fmla="*/ 544350 h 2069290"/>
                <a:gd name="connsiteX4" fmla="*/ 228380 w 454575"/>
                <a:gd name="connsiteY4" fmla="*/ 2069290 h 2069290"/>
                <a:gd name="connsiteX0" fmla="*/ 457947 w 457947"/>
                <a:gd name="connsiteY0" fmla="*/ 0 h 2069290"/>
                <a:gd name="connsiteX1" fmla="*/ 212 w 457947"/>
                <a:gd name="connsiteY1" fmla="*/ 137813 h 2069290"/>
                <a:gd name="connsiteX2" fmla="*/ 3372 w 457947"/>
                <a:gd name="connsiteY2" fmla="*/ 502181 h 2069290"/>
                <a:gd name="connsiteX3" fmla="*/ 231141 w 457947"/>
                <a:gd name="connsiteY3" fmla="*/ 544350 h 2069290"/>
                <a:gd name="connsiteX4" fmla="*/ 231752 w 457947"/>
                <a:gd name="connsiteY4" fmla="*/ 2069290 h 2069290"/>
                <a:gd name="connsiteX0" fmla="*/ 457947 w 457947"/>
                <a:gd name="connsiteY0" fmla="*/ 0 h 2069290"/>
                <a:gd name="connsiteX1" fmla="*/ 212 w 457947"/>
                <a:gd name="connsiteY1" fmla="*/ 137813 h 2069290"/>
                <a:gd name="connsiteX2" fmla="*/ 3372 w 457947"/>
                <a:gd name="connsiteY2" fmla="*/ 502181 h 2069290"/>
                <a:gd name="connsiteX3" fmla="*/ 231141 w 457947"/>
                <a:gd name="connsiteY3" fmla="*/ 544350 h 2069290"/>
                <a:gd name="connsiteX4" fmla="*/ 231752 w 457947"/>
                <a:gd name="connsiteY4" fmla="*/ 2069290 h 2069290"/>
                <a:gd name="connsiteX0" fmla="*/ 457947 w 457947"/>
                <a:gd name="connsiteY0" fmla="*/ 0 h 2069290"/>
                <a:gd name="connsiteX1" fmla="*/ 212 w 457947"/>
                <a:gd name="connsiteY1" fmla="*/ 137813 h 2069290"/>
                <a:gd name="connsiteX2" fmla="*/ 3372 w 457947"/>
                <a:gd name="connsiteY2" fmla="*/ 502181 h 2069290"/>
                <a:gd name="connsiteX3" fmla="*/ 231141 w 457947"/>
                <a:gd name="connsiteY3" fmla="*/ 544350 h 2069290"/>
                <a:gd name="connsiteX4" fmla="*/ 231752 w 457947"/>
                <a:gd name="connsiteY4" fmla="*/ 2069290 h 2069290"/>
                <a:gd name="connsiteX0" fmla="*/ 457735 w 457735"/>
                <a:gd name="connsiteY0" fmla="*/ 0 h 2069290"/>
                <a:gd name="connsiteX1" fmla="*/ 0 w 457735"/>
                <a:gd name="connsiteY1" fmla="*/ 137813 h 2069290"/>
                <a:gd name="connsiteX2" fmla="*/ 3160 w 457735"/>
                <a:gd name="connsiteY2" fmla="*/ 502181 h 2069290"/>
                <a:gd name="connsiteX3" fmla="*/ 230929 w 457735"/>
                <a:gd name="connsiteY3" fmla="*/ 544350 h 2069290"/>
                <a:gd name="connsiteX4" fmla="*/ 231540 w 457735"/>
                <a:gd name="connsiteY4" fmla="*/ 2069290 h 2069290"/>
                <a:gd name="connsiteX0" fmla="*/ 382921 w 382921"/>
                <a:gd name="connsiteY0" fmla="*/ 0 h 2044351"/>
                <a:gd name="connsiteX1" fmla="*/ 0 w 382921"/>
                <a:gd name="connsiteY1" fmla="*/ 112874 h 2044351"/>
                <a:gd name="connsiteX2" fmla="*/ 3160 w 382921"/>
                <a:gd name="connsiteY2" fmla="*/ 477242 h 2044351"/>
                <a:gd name="connsiteX3" fmla="*/ 230929 w 382921"/>
                <a:gd name="connsiteY3" fmla="*/ 519411 h 2044351"/>
                <a:gd name="connsiteX4" fmla="*/ 231540 w 382921"/>
                <a:gd name="connsiteY4" fmla="*/ 2044351 h 2044351"/>
                <a:gd name="connsiteX0" fmla="*/ 382921 w 382921"/>
                <a:gd name="connsiteY0" fmla="*/ 0 h 2044351"/>
                <a:gd name="connsiteX1" fmla="*/ 0 w 382921"/>
                <a:gd name="connsiteY1" fmla="*/ 112874 h 2044351"/>
                <a:gd name="connsiteX2" fmla="*/ 3160 w 382921"/>
                <a:gd name="connsiteY2" fmla="*/ 477242 h 2044351"/>
                <a:gd name="connsiteX3" fmla="*/ 230929 w 382921"/>
                <a:gd name="connsiteY3" fmla="*/ 519411 h 2044351"/>
                <a:gd name="connsiteX4" fmla="*/ 231540 w 382921"/>
                <a:gd name="connsiteY4" fmla="*/ 2044351 h 2044351"/>
                <a:gd name="connsiteX0" fmla="*/ 382921 w 382921"/>
                <a:gd name="connsiteY0" fmla="*/ 0 h 2048508"/>
                <a:gd name="connsiteX1" fmla="*/ 0 w 382921"/>
                <a:gd name="connsiteY1" fmla="*/ 117031 h 2048508"/>
                <a:gd name="connsiteX2" fmla="*/ 3160 w 382921"/>
                <a:gd name="connsiteY2" fmla="*/ 481399 h 2048508"/>
                <a:gd name="connsiteX3" fmla="*/ 230929 w 382921"/>
                <a:gd name="connsiteY3" fmla="*/ 523568 h 2048508"/>
                <a:gd name="connsiteX4" fmla="*/ 231540 w 382921"/>
                <a:gd name="connsiteY4" fmla="*/ 2048508 h 2048508"/>
                <a:gd name="connsiteX0" fmla="*/ 541859 w 541859"/>
                <a:gd name="connsiteY0" fmla="*/ 0 h 2048508"/>
                <a:gd name="connsiteX1" fmla="*/ 158938 w 541859"/>
                <a:gd name="connsiteY1" fmla="*/ 117031 h 2048508"/>
                <a:gd name="connsiteX2" fmla="*/ 0 w 541859"/>
                <a:gd name="connsiteY2" fmla="*/ 423210 h 2048508"/>
                <a:gd name="connsiteX3" fmla="*/ 389867 w 541859"/>
                <a:gd name="connsiteY3" fmla="*/ 523568 h 2048508"/>
                <a:gd name="connsiteX4" fmla="*/ 390478 w 541859"/>
                <a:gd name="connsiteY4" fmla="*/ 2048508 h 2048508"/>
                <a:gd name="connsiteX0" fmla="*/ 541859 w 541859"/>
                <a:gd name="connsiteY0" fmla="*/ 0 h 2048508"/>
                <a:gd name="connsiteX1" fmla="*/ 30091 w 541859"/>
                <a:gd name="connsiteY1" fmla="*/ 62998 h 2048508"/>
                <a:gd name="connsiteX2" fmla="*/ 0 w 541859"/>
                <a:gd name="connsiteY2" fmla="*/ 423210 h 2048508"/>
                <a:gd name="connsiteX3" fmla="*/ 389867 w 541859"/>
                <a:gd name="connsiteY3" fmla="*/ 523568 h 2048508"/>
                <a:gd name="connsiteX4" fmla="*/ 390478 w 541859"/>
                <a:gd name="connsiteY4" fmla="*/ 2048508 h 2048508"/>
                <a:gd name="connsiteX0" fmla="*/ 404699 w 404699"/>
                <a:gd name="connsiteY0" fmla="*/ 0 h 2098385"/>
                <a:gd name="connsiteX1" fmla="*/ 30091 w 404699"/>
                <a:gd name="connsiteY1" fmla="*/ 112875 h 2098385"/>
                <a:gd name="connsiteX2" fmla="*/ 0 w 404699"/>
                <a:gd name="connsiteY2" fmla="*/ 473087 h 2098385"/>
                <a:gd name="connsiteX3" fmla="*/ 389867 w 404699"/>
                <a:gd name="connsiteY3" fmla="*/ 573445 h 2098385"/>
                <a:gd name="connsiteX4" fmla="*/ 390478 w 404699"/>
                <a:gd name="connsiteY4" fmla="*/ 2098385 h 2098385"/>
                <a:gd name="connsiteX0" fmla="*/ 374608 w 374608"/>
                <a:gd name="connsiteY0" fmla="*/ 0 h 2098385"/>
                <a:gd name="connsiteX1" fmla="*/ 0 w 374608"/>
                <a:gd name="connsiteY1" fmla="*/ 112875 h 2098385"/>
                <a:gd name="connsiteX2" fmla="*/ 3160 w 374608"/>
                <a:gd name="connsiteY2" fmla="*/ 477244 h 2098385"/>
                <a:gd name="connsiteX3" fmla="*/ 359776 w 374608"/>
                <a:gd name="connsiteY3" fmla="*/ 573445 h 2098385"/>
                <a:gd name="connsiteX4" fmla="*/ 360387 w 374608"/>
                <a:gd name="connsiteY4" fmla="*/ 2098385 h 2098385"/>
                <a:gd name="connsiteX0" fmla="*/ 371448 w 371448"/>
                <a:gd name="connsiteY0" fmla="*/ 0 h 2098385"/>
                <a:gd name="connsiteX1" fmla="*/ 5153 w 371448"/>
                <a:gd name="connsiteY1" fmla="*/ 121188 h 2098385"/>
                <a:gd name="connsiteX2" fmla="*/ 0 w 371448"/>
                <a:gd name="connsiteY2" fmla="*/ 477244 h 2098385"/>
                <a:gd name="connsiteX3" fmla="*/ 356616 w 371448"/>
                <a:gd name="connsiteY3" fmla="*/ 573445 h 2098385"/>
                <a:gd name="connsiteX4" fmla="*/ 357227 w 371448"/>
                <a:gd name="connsiteY4" fmla="*/ 2098385 h 2098385"/>
                <a:gd name="connsiteX0" fmla="*/ 371448 w 371448"/>
                <a:gd name="connsiteY0" fmla="*/ 0 h 2098385"/>
                <a:gd name="connsiteX1" fmla="*/ 5153 w 371448"/>
                <a:gd name="connsiteY1" fmla="*/ 121188 h 2098385"/>
                <a:gd name="connsiteX2" fmla="*/ 0 w 371448"/>
                <a:gd name="connsiteY2" fmla="*/ 477244 h 2098385"/>
                <a:gd name="connsiteX3" fmla="*/ 356616 w 371448"/>
                <a:gd name="connsiteY3" fmla="*/ 573445 h 2098385"/>
                <a:gd name="connsiteX4" fmla="*/ 357227 w 371448"/>
                <a:gd name="connsiteY4" fmla="*/ 2098385 h 2098385"/>
                <a:gd name="connsiteX0" fmla="*/ 371448 w 371448"/>
                <a:gd name="connsiteY0" fmla="*/ 0 h 2098385"/>
                <a:gd name="connsiteX1" fmla="*/ 5153 w 371448"/>
                <a:gd name="connsiteY1" fmla="*/ 121188 h 2098385"/>
                <a:gd name="connsiteX2" fmla="*/ 0 w 371448"/>
                <a:gd name="connsiteY2" fmla="*/ 477244 h 2098385"/>
                <a:gd name="connsiteX3" fmla="*/ 356616 w 371448"/>
                <a:gd name="connsiteY3" fmla="*/ 573445 h 2098385"/>
                <a:gd name="connsiteX4" fmla="*/ 357227 w 371448"/>
                <a:gd name="connsiteY4" fmla="*/ 2098385 h 2098385"/>
                <a:gd name="connsiteX0" fmla="*/ 371448 w 371448"/>
                <a:gd name="connsiteY0" fmla="*/ 0 h 2098385"/>
                <a:gd name="connsiteX1" fmla="*/ 5153 w 371448"/>
                <a:gd name="connsiteY1" fmla="*/ 121188 h 2098385"/>
                <a:gd name="connsiteX2" fmla="*/ 0 w 371448"/>
                <a:gd name="connsiteY2" fmla="*/ 477244 h 2098385"/>
                <a:gd name="connsiteX3" fmla="*/ 356616 w 371448"/>
                <a:gd name="connsiteY3" fmla="*/ 573445 h 2098385"/>
                <a:gd name="connsiteX4" fmla="*/ 357227 w 371448"/>
                <a:gd name="connsiteY4" fmla="*/ 2098385 h 2098385"/>
                <a:gd name="connsiteX0" fmla="*/ 371448 w 371448"/>
                <a:gd name="connsiteY0" fmla="*/ 0 h 2098385"/>
                <a:gd name="connsiteX1" fmla="*/ 5153 w 371448"/>
                <a:gd name="connsiteY1" fmla="*/ 121188 h 2098385"/>
                <a:gd name="connsiteX2" fmla="*/ 0 w 371448"/>
                <a:gd name="connsiteY2" fmla="*/ 477244 h 2098385"/>
                <a:gd name="connsiteX3" fmla="*/ 356616 w 371448"/>
                <a:gd name="connsiteY3" fmla="*/ 573445 h 2098385"/>
                <a:gd name="connsiteX4" fmla="*/ 357227 w 371448"/>
                <a:gd name="connsiteY4" fmla="*/ 2098385 h 2098385"/>
                <a:gd name="connsiteX0" fmla="*/ 371448 w 618470"/>
                <a:gd name="connsiteY0" fmla="*/ 0 h 2098385"/>
                <a:gd name="connsiteX1" fmla="*/ 5153 w 618470"/>
                <a:gd name="connsiteY1" fmla="*/ 121188 h 2098385"/>
                <a:gd name="connsiteX2" fmla="*/ 0 w 618470"/>
                <a:gd name="connsiteY2" fmla="*/ 477244 h 2098385"/>
                <a:gd name="connsiteX3" fmla="*/ 618470 w 618470"/>
                <a:gd name="connsiteY3" fmla="*/ 1018176 h 2098385"/>
                <a:gd name="connsiteX4" fmla="*/ 357227 w 618470"/>
                <a:gd name="connsiteY4" fmla="*/ 2098385 h 2098385"/>
                <a:gd name="connsiteX0" fmla="*/ 371448 w 618470"/>
                <a:gd name="connsiteY0" fmla="*/ 0 h 2098385"/>
                <a:gd name="connsiteX1" fmla="*/ 5153 w 618470"/>
                <a:gd name="connsiteY1" fmla="*/ 121188 h 2098385"/>
                <a:gd name="connsiteX2" fmla="*/ 0 w 618470"/>
                <a:gd name="connsiteY2" fmla="*/ 477244 h 2098385"/>
                <a:gd name="connsiteX3" fmla="*/ 618470 w 618470"/>
                <a:gd name="connsiteY3" fmla="*/ 1018176 h 2098385"/>
                <a:gd name="connsiteX4" fmla="*/ 357227 w 618470"/>
                <a:gd name="connsiteY4" fmla="*/ 2098385 h 2098385"/>
                <a:gd name="connsiteX0" fmla="*/ 371448 w 618470"/>
                <a:gd name="connsiteY0" fmla="*/ 0 h 2098385"/>
                <a:gd name="connsiteX1" fmla="*/ 5153 w 618470"/>
                <a:gd name="connsiteY1" fmla="*/ 121188 h 2098385"/>
                <a:gd name="connsiteX2" fmla="*/ 0 w 618470"/>
                <a:gd name="connsiteY2" fmla="*/ 477244 h 2098385"/>
                <a:gd name="connsiteX3" fmla="*/ 618470 w 618470"/>
                <a:gd name="connsiteY3" fmla="*/ 1018176 h 2098385"/>
                <a:gd name="connsiteX4" fmla="*/ 357227 w 618470"/>
                <a:gd name="connsiteY4" fmla="*/ 2098385 h 2098385"/>
                <a:gd name="connsiteX0" fmla="*/ 366298 w 613320"/>
                <a:gd name="connsiteY0" fmla="*/ 0 h 2098385"/>
                <a:gd name="connsiteX1" fmla="*/ 3 w 613320"/>
                <a:gd name="connsiteY1" fmla="*/ 121188 h 2098385"/>
                <a:gd name="connsiteX2" fmla="*/ 493617 w 613320"/>
                <a:gd name="connsiteY2" fmla="*/ 651811 h 2098385"/>
                <a:gd name="connsiteX3" fmla="*/ 613320 w 613320"/>
                <a:gd name="connsiteY3" fmla="*/ 1018176 h 2098385"/>
                <a:gd name="connsiteX4" fmla="*/ 352077 w 613320"/>
                <a:gd name="connsiteY4" fmla="*/ 2098385 h 2098385"/>
                <a:gd name="connsiteX0" fmla="*/ 3 w 613320"/>
                <a:gd name="connsiteY0" fmla="*/ 0 h 1977197"/>
                <a:gd name="connsiteX1" fmla="*/ 493617 w 613320"/>
                <a:gd name="connsiteY1" fmla="*/ 530623 h 1977197"/>
                <a:gd name="connsiteX2" fmla="*/ 613320 w 613320"/>
                <a:gd name="connsiteY2" fmla="*/ 896988 h 1977197"/>
                <a:gd name="connsiteX3" fmla="*/ 352077 w 613320"/>
                <a:gd name="connsiteY3" fmla="*/ 1977197 h 1977197"/>
                <a:gd name="connsiteX0" fmla="*/ 141540 w 261243"/>
                <a:gd name="connsiteY0" fmla="*/ 0 h 1446574"/>
                <a:gd name="connsiteX1" fmla="*/ 261243 w 261243"/>
                <a:gd name="connsiteY1" fmla="*/ 366365 h 1446574"/>
                <a:gd name="connsiteX2" fmla="*/ 0 w 261243"/>
                <a:gd name="connsiteY2" fmla="*/ 1446574 h 1446574"/>
                <a:gd name="connsiteX0" fmla="*/ 141540 w 257090"/>
                <a:gd name="connsiteY0" fmla="*/ 0 h 1446574"/>
                <a:gd name="connsiteX1" fmla="*/ 257090 w 257090"/>
                <a:gd name="connsiteY1" fmla="*/ 287394 h 1446574"/>
                <a:gd name="connsiteX2" fmla="*/ 0 w 257090"/>
                <a:gd name="connsiteY2" fmla="*/ 1446574 h 1446574"/>
                <a:gd name="connsiteX0" fmla="*/ 133228 w 257090"/>
                <a:gd name="connsiteY0" fmla="*/ 0 h 1517232"/>
                <a:gd name="connsiteX1" fmla="*/ 257090 w 257090"/>
                <a:gd name="connsiteY1" fmla="*/ 358052 h 1517232"/>
                <a:gd name="connsiteX2" fmla="*/ 0 w 257090"/>
                <a:gd name="connsiteY2" fmla="*/ 1517232 h 1517232"/>
                <a:gd name="connsiteX0" fmla="*/ 133228 w 248778"/>
                <a:gd name="connsiteY0" fmla="*/ 0 h 1517232"/>
                <a:gd name="connsiteX1" fmla="*/ 248778 w 248778"/>
                <a:gd name="connsiteY1" fmla="*/ 382990 h 1517232"/>
                <a:gd name="connsiteX2" fmla="*/ 0 w 248778"/>
                <a:gd name="connsiteY2" fmla="*/ 1517232 h 1517232"/>
                <a:gd name="connsiteX0" fmla="*/ 129071 w 248778"/>
                <a:gd name="connsiteY0" fmla="*/ 0 h 1521389"/>
                <a:gd name="connsiteX1" fmla="*/ 248778 w 248778"/>
                <a:gd name="connsiteY1" fmla="*/ 387147 h 1521389"/>
                <a:gd name="connsiteX2" fmla="*/ 0 w 248778"/>
                <a:gd name="connsiteY2" fmla="*/ 1521389 h 1521389"/>
                <a:gd name="connsiteX0" fmla="*/ 129071 w 248778"/>
                <a:gd name="connsiteY0" fmla="*/ 0 h 1521389"/>
                <a:gd name="connsiteX1" fmla="*/ 248778 w 248778"/>
                <a:gd name="connsiteY1" fmla="*/ 387147 h 1521389"/>
                <a:gd name="connsiteX2" fmla="*/ 0 w 248778"/>
                <a:gd name="connsiteY2" fmla="*/ 1521389 h 1521389"/>
                <a:gd name="connsiteX0" fmla="*/ 129071 w 248778"/>
                <a:gd name="connsiteY0" fmla="*/ 0 h 1521389"/>
                <a:gd name="connsiteX1" fmla="*/ 248778 w 248778"/>
                <a:gd name="connsiteY1" fmla="*/ 387147 h 1521389"/>
                <a:gd name="connsiteX2" fmla="*/ 0 w 248778"/>
                <a:gd name="connsiteY2" fmla="*/ 1521389 h 1521389"/>
                <a:gd name="connsiteX0" fmla="*/ 137382 w 257089"/>
                <a:gd name="connsiteY0" fmla="*/ 0 h 1558796"/>
                <a:gd name="connsiteX1" fmla="*/ 257089 w 257089"/>
                <a:gd name="connsiteY1" fmla="*/ 387147 h 1558796"/>
                <a:gd name="connsiteX2" fmla="*/ 0 w 257089"/>
                <a:gd name="connsiteY2" fmla="*/ 1558796 h 1558796"/>
                <a:gd name="connsiteX0" fmla="*/ 137382 w 250112"/>
                <a:gd name="connsiteY0" fmla="*/ 0 h 1558796"/>
                <a:gd name="connsiteX1" fmla="*/ 250112 w 250112"/>
                <a:gd name="connsiteY1" fmla="*/ 491849 h 1558796"/>
                <a:gd name="connsiteX2" fmla="*/ 0 w 250112"/>
                <a:gd name="connsiteY2" fmla="*/ 1558796 h 1558796"/>
                <a:gd name="connsiteX0" fmla="*/ 147853 w 250112"/>
                <a:gd name="connsiteY0" fmla="*/ 0 h 1373822"/>
                <a:gd name="connsiteX1" fmla="*/ 250112 w 250112"/>
                <a:gd name="connsiteY1" fmla="*/ 306875 h 1373822"/>
                <a:gd name="connsiteX2" fmla="*/ 0 w 250112"/>
                <a:gd name="connsiteY2" fmla="*/ 1373822 h 1373822"/>
              </a:gdLst>
              <a:ahLst/>
              <a:cxnLst>
                <a:cxn ang="0">
                  <a:pos x="connsiteX0" y="connsiteY0"/>
                </a:cxn>
                <a:cxn ang="0">
                  <a:pos x="connsiteX1" y="connsiteY1"/>
                </a:cxn>
                <a:cxn ang="0">
                  <a:pos x="connsiteX2" y="connsiteY2"/>
                </a:cxn>
              </a:cxnLst>
              <a:rect l="l" t="t" r="r" b="b"/>
              <a:pathLst>
                <a:path w="250112" h="1373822">
                  <a:moveTo>
                    <a:pt x="147853" y="0"/>
                  </a:moveTo>
                  <a:cubicBezTo>
                    <a:pt x="187755" y="129049"/>
                    <a:pt x="210210" y="177826"/>
                    <a:pt x="250112" y="306875"/>
                  </a:cubicBezTo>
                  <a:cubicBezTo>
                    <a:pt x="144259" y="772547"/>
                    <a:pt x="122490" y="829179"/>
                    <a:pt x="0" y="1373822"/>
                  </a:cubicBezTo>
                </a:path>
              </a:pathLst>
            </a:custGeom>
            <a:noFill/>
            <a:ln w="19050" cap="flat" cmpd="sng" algn="ctr">
              <a:solidFill>
                <a:srgbClr val="C0504D"/>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19" name="Group 18">
              <a:extLst>
                <a:ext uri="{FF2B5EF4-FFF2-40B4-BE49-F238E27FC236}">
                  <a16:creationId xmlns:a16="http://schemas.microsoft.com/office/drawing/2014/main" id="{9AA59E6C-49E0-41D9-92DA-E29DAAEFBD1F}"/>
                </a:ext>
              </a:extLst>
            </p:cNvPr>
            <p:cNvGrpSpPr/>
            <p:nvPr/>
          </p:nvGrpSpPr>
          <p:grpSpPr>
            <a:xfrm>
              <a:off x="8475867" y="2939888"/>
              <a:ext cx="640080" cy="312508"/>
              <a:chOff x="1073026" y="1696792"/>
              <a:chExt cx="640080" cy="312508"/>
            </a:xfrm>
          </p:grpSpPr>
          <p:sp>
            <p:nvSpPr>
              <p:cNvPr id="22" name="Rounded Rectangle 38">
                <a:extLst>
                  <a:ext uri="{FF2B5EF4-FFF2-40B4-BE49-F238E27FC236}">
                    <a16:creationId xmlns:a16="http://schemas.microsoft.com/office/drawing/2014/main" id="{C5F33D41-BE56-4BE3-B39F-4BDC67AF76A9}"/>
                  </a:ext>
                </a:extLst>
              </p:cNvPr>
              <p:cNvSpPr>
                <a:spLocks noChangeAspect="1"/>
              </p:cNvSpPr>
              <p:nvPr/>
            </p:nvSpPr>
            <p:spPr>
              <a:xfrm>
                <a:off x="1218977" y="1696792"/>
                <a:ext cx="274320" cy="274320"/>
              </a:xfrm>
              <a:prstGeom prst="roundRect">
                <a:avLst/>
              </a:prstGeom>
              <a:solidFill>
                <a:srgbClr val="C0504D"/>
              </a:solidFill>
              <a:ln w="25400" cap="flat" cmpd="sng" algn="ctr">
                <a:solidFill>
                  <a:srgbClr val="C0504D"/>
                </a:solidFill>
                <a:prstDash val="solid"/>
              </a:ln>
              <a:effectLst/>
              <a:scene3d>
                <a:camera prst="isometricOffAxis2Right">
                  <a:rot lat="20266652" lon="18255692" rev="199384"/>
                </a:camera>
                <a:lightRig rig="threePt" dir="t"/>
              </a:scene3d>
              <a:sp3d extrusionH="190500">
                <a:bevelT w="63500" h="63500"/>
                <a:bevelB w="63500" h="635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BF72683B-3941-489C-96F8-8154ADC3CEA8}"/>
                  </a:ext>
                </a:extLst>
              </p:cNvPr>
              <p:cNvSpPr/>
              <p:nvPr/>
            </p:nvSpPr>
            <p:spPr>
              <a:xfrm>
                <a:off x="1073026" y="1864009"/>
                <a:ext cx="640080" cy="145291"/>
              </a:xfrm>
              <a:prstGeom prst="rect">
                <a:avLst/>
              </a:prstGeom>
              <a:solidFill>
                <a:srgbClr val="9BBB59"/>
              </a:solidFill>
              <a:ln w="25400" cap="flat" cmpd="sng" algn="ctr">
                <a:solidFill>
                  <a:srgbClr val="9BBB59"/>
                </a:solidFill>
                <a:prstDash val="solid"/>
              </a:ln>
              <a:effectLst/>
              <a:scene3d>
                <a:camera prst="isometricOffAxis1Top">
                  <a:rot lat="19262532" lon="6789613" rev="15174032"/>
                </a:camera>
                <a:lightRig rig="threePt" dir="t"/>
              </a:scene3d>
              <a:sp3d extrusionH="25400"/>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pic>
          <p:nvPicPr>
            <p:cNvPr id="20" name="Picture 19">
              <a:extLst>
                <a:ext uri="{FF2B5EF4-FFF2-40B4-BE49-F238E27FC236}">
                  <a16:creationId xmlns:a16="http://schemas.microsoft.com/office/drawing/2014/main" id="{D8547855-F43F-4E3E-8CED-5FACB5B93D85}"/>
                </a:ext>
              </a:extLst>
            </p:cNvPr>
            <p:cNvPicPr>
              <a:picLocks noChangeAspect="1"/>
            </p:cNvPicPr>
            <p:nvPr/>
          </p:nvPicPr>
          <p:blipFill>
            <a:blip r:embed="rId9">
              <a:duotone>
                <a:prstClr val="black"/>
                <a:srgbClr val="1F497D">
                  <a:tint val="45000"/>
                  <a:satMod val="400000"/>
                </a:srgbClr>
              </a:duotone>
              <a:extLst>
                <a:ext uri="{BEBA8EAE-BF5A-486C-A8C5-ECC9F3942E4B}">
                  <a14:imgProps xmlns:a14="http://schemas.microsoft.com/office/drawing/2010/main">
                    <a14:imgLayer r:embed="rId10">
                      <a14:imgEffect>
                        <a14:colorTemperature colorTemp="11200"/>
                      </a14:imgEffect>
                      <a14:imgEffect>
                        <a14:saturation sat="0"/>
                      </a14:imgEffect>
                    </a14:imgLayer>
                  </a14:imgProps>
                </a:ext>
                <a:ext uri="{28A0092B-C50C-407E-A947-70E740481C1C}">
                  <a14:useLocalDpi xmlns:a14="http://schemas.microsoft.com/office/drawing/2010/main"/>
                </a:ext>
              </a:extLst>
            </a:blip>
            <a:srcRect/>
            <a:stretch>
              <a:fillRect/>
            </a:stretch>
          </p:blipFill>
          <p:spPr>
            <a:xfrm>
              <a:off x="8935604" y="2966744"/>
              <a:ext cx="189186" cy="320566"/>
            </a:xfrm>
            <a:prstGeom prst="rect">
              <a:avLst/>
            </a:prstGeom>
          </p:spPr>
        </p:pic>
        <p:sp>
          <p:nvSpPr>
            <p:cNvPr id="21" name="Rounded Rectangle 41">
              <a:extLst>
                <a:ext uri="{FF2B5EF4-FFF2-40B4-BE49-F238E27FC236}">
                  <a16:creationId xmlns:a16="http://schemas.microsoft.com/office/drawing/2014/main" id="{50A6646A-28DD-4842-B55B-27D4224D6663}"/>
                </a:ext>
              </a:extLst>
            </p:cNvPr>
            <p:cNvSpPr/>
            <p:nvPr/>
          </p:nvSpPr>
          <p:spPr>
            <a:xfrm>
              <a:off x="9377037" y="5058302"/>
              <a:ext cx="225973" cy="436179"/>
            </a:xfrm>
            <a:prstGeom prst="roundRect">
              <a:avLst/>
            </a:prstGeom>
            <a:solidFill>
              <a:srgbClr val="C0504D"/>
            </a:solidFill>
            <a:ln w="25400" cap="flat" cmpd="sng" algn="ctr">
              <a:solidFill>
                <a:srgbClr val="C0504D"/>
              </a:solidFill>
              <a:prstDash val="solid"/>
            </a:ln>
            <a:effectLst/>
            <a:scene3d>
              <a:camera prst="orthographicFront">
                <a:rot lat="300000" lon="1500000" rev="60000"/>
              </a:camera>
              <a:lightRig rig="threePt" dir="t"/>
            </a:scene3d>
            <a:sp3d extrusionH="127000">
              <a:bevelT w="12700" h="127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pic>
        <p:nvPicPr>
          <p:cNvPr id="30" name="Picture 29" descr="A grey cube on a table&#10;&#10;AI-generated content may be incorrect.">
            <a:extLst>
              <a:ext uri="{FF2B5EF4-FFF2-40B4-BE49-F238E27FC236}">
                <a16:creationId xmlns:a16="http://schemas.microsoft.com/office/drawing/2014/main" id="{7C239E90-A284-4DAE-99AE-DC643C6896B9}"/>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0" b="100000" l="0" r="100000">
                        <a14:backgroundMark x1="15997" y1="12227" x2="55360" y2="2024"/>
                        <a14:backgroundMark x1="13484" y1="12227" x2="11725" y2="9717"/>
                        <a14:backgroundMark x1="3769" y1="39190" x2="18174" y2="81053"/>
                        <a14:backgroundMark x1="18174" y1="81053" x2="27136" y2="93117"/>
                        <a14:backgroundMark x1="27136" y1="93117" x2="40201" y2="99190"/>
                        <a14:backgroundMark x1="40201" y1="99190" x2="55109" y2="96923"/>
                        <a14:backgroundMark x1="55109" y1="96923" x2="81323" y2="80729"/>
                        <a14:backgroundMark x1="81323" y1="80729" x2="88945" y2="68826"/>
                        <a14:backgroundMark x1="88945" y1="68826" x2="99916" y2="75789"/>
                        <a14:backgroundMark x1="99916" y1="85425" x2="98074" y2="91498"/>
                        <a14:backgroundMark x1="97990" y1="91579" x2="83585" y2="99919"/>
                        <a14:backgroundMark x1="0" y1="41781" x2="1005" y2="41457"/>
                        <a14:backgroundMark x1="1089" y1="41457" x2="1256" y2="41134"/>
                        <a14:backgroundMark x1="73534" y1="9960" x2="89112" y2="16518"/>
                        <a14:backgroundMark x1="89112" y1="16518" x2="78476" y2="6154"/>
                        <a14:backgroundMark x1="78476" y1="6154" x2="78141" y2="6154"/>
                        <a14:backgroundMark x1="4104" y1="40243" x2="5779" y2="44130"/>
                        <a14:backgroundMark x1="4941" y1="40000" x2="8375" y2="50769"/>
                        <a14:backgroundMark x1="4355" y1="38866" x2="4941" y2="39433"/>
                      </a14:backgroundRemoval>
                    </a14:imgEffect>
                  </a14:imgLayer>
                </a14:imgProps>
              </a:ext>
              <a:ext uri="{28A0092B-C50C-407E-A947-70E740481C1C}">
                <a14:useLocalDpi xmlns:a14="http://schemas.microsoft.com/office/drawing/2010/main"/>
              </a:ext>
            </a:extLst>
          </a:blip>
          <a:srcRect/>
          <a:stretch>
            <a:fillRect/>
          </a:stretch>
        </p:blipFill>
        <p:spPr>
          <a:xfrm>
            <a:off x="6810809" y="4381774"/>
            <a:ext cx="2127334" cy="2198974"/>
          </a:xfrm>
          <a:prstGeom prst="rect">
            <a:avLst/>
          </a:prstGeom>
        </p:spPr>
      </p:pic>
      <p:pic>
        <p:nvPicPr>
          <p:cNvPr id="8" name="Picture 7" descr="A grey box with wires and wires&#10;&#10;AI-generated content may be incorrect.">
            <a:extLst>
              <a:ext uri="{FF2B5EF4-FFF2-40B4-BE49-F238E27FC236}">
                <a16:creationId xmlns:a16="http://schemas.microsoft.com/office/drawing/2014/main" id="{A544C900-031F-4EC8-9EC7-FF0547689FDD}"/>
              </a:ext>
            </a:extLst>
          </p:cNvPr>
          <p:cNvPicPr>
            <a:picLocks noChangeAspect="1"/>
          </p:cNvPicPr>
          <p:nvPr/>
        </p:nvPicPr>
        <p:blipFill>
          <a:blip r:embed="rId13">
            <a:extLst>
              <a:ext uri="{28A0092B-C50C-407E-A947-70E740481C1C}">
                <a14:useLocalDpi xmlns:a14="http://schemas.microsoft.com/office/drawing/2010/main"/>
              </a:ext>
            </a:extLst>
          </a:blip>
          <a:srcRect/>
          <a:stretch>
            <a:fillRect/>
          </a:stretch>
        </p:blipFill>
        <p:spPr>
          <a:xfrm>
            <a:off x="5754511" y="103808"/>
            <a:ext cx="3153564" cy="3044317"/>
          </a:xfrm>
          <a:prstGeom prst="roundRect">
            <a:avLst>
              <a:gd name="adj" fmla="val 5220"/>
            </a:avLst>
          </a:prstGeom>
        </p:spPr>
      </p:pic>
    </p:spTree>
    <p:extLst>
      <p:ext uri="{BB962C8B-B14F-4D97-AF65-F5344CB8AC3E}">
        <p14:creationId xmlns:p14="http://schemas.microsoft.com/office/powerpoint/2010/main" val="9738625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1C8D295E-C648-D053-F9CB-FAF8B17425D9}"/>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A7C12370-C81A-419E-61C6-AB0FC8E187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18" name="think-cell data - do not delete" hidden="1">
                        <a:extLst>
                          <a:ext uri="{FF2B5EF4-FFF2-40B4-BE49-F238E27FC236}">
                            <a16:creationId xmlns:a16="http://schemas.microsoft.com/office/drawing/2014/main" id="{A7C12370-C81A-419E-61C6-AB0FC8E187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Freeform: Shape 26">
            <a:extLst>
              <a:ext uri="{FF2B5EF4-FFF2-40B4-BE49-F238E27FC236}">
                <a16:creationId xmlns:a16="http://schemas.microsoft.com/office/drawing/2014/main" id="{2C1BD08B-0DDE-41B5-FBF2-46FC1DBB0D2B}"/>
              </a:ext>
            </a:extLst>
          </p:cNvPr>
          <p:cNvSpPr/>
          <p:nvPr/>
        </p:nvSpPr>
        <p:spPr>
          <a:xfrm>
            <a:off x="1844131" y="4524444"/>
            <a:ext cx="4781837" cy="1929726"/>
          </a:xfrm>
          <a:custGeom>
            <a:avLst/>
            <a:gdLst>
              <a:gd name="connsiteX0" fmla="*/ 4781518 w 4781837"/>
              <a:gd name="connsiteY0" fmla="*/ 1929726 h 1929726"/>
              <a:gd name="connsiteX1" fmla="*/ 964863 w 4781837"/>
              <a:gd name="connsiteY1" fmla="*/ 1929726 h 1929726"/>
              <a:gd name="connsiteX2" fmla="*/ 0 w 4781837"/>
              <a:gd name="connsiteY2" fmla="*/ 964863 h 1929726"/>
              <a:gd name="connsiteX3" fmla="*/ 964863 w 4781837"/>
              <a:gd name="connsiteY3" fmla="*/ 0 h 1929726"/>
              <a:gd name="connsiteX4" fmla="*/ 964863 w 4781837"/>
              <a:gd name="connsiteY4" fmla="*/ 38326 h 1929726"/>
              <a:gd name="connsiteX5" fmla="*/ 38326 w 4781837"/>
              <a:gd name="connsiteY5" fmla="*/ 964863 h 1929726"/>
              <a:gd name="connsiteX6" fmla="*/ 964863 w 4781837"/>
              <a:gd name="connsiteY6" fmla="*/ 1891400 h 1929726"/>
              <a:gd name="connsiteX7" fmla="*/ 4781838 w 4781837"/>
              <a:gd name="connsiteY7" fmla="*/ 1891400 h 1929726"/>
              <a:gd name="connsiteX8" fmla="*/ 4781838 w 4781837"/>
              <a:gd name="connsiteY8" fmla="*/ 1929726 h 1929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1837" h="1929726">
                <a:moveTo>
                  <a:pt x="4781518" y="1929726"/>
                </a:moveTo>
                <a:lnTo>
                  <a:pt x="964863" y="1929726"/>
                </a:lnTo>
                <a:cubicBezTo>
                  <a:pt x="432767" y="1929726"/>
                  <a:pt x="0" y="1496959"/>
                  <a:pt x="0" y="964863"/>
                </a:cubicBezTo>
                <a:cubicBezTo>
                  <a:pt x="0" y="432767"/>
                  <a:pt x="432767" y="0"/>
                  <a:pt x="964863" y="0"/>
                </a:cubicBezTo>
                <a:lnTo>
                  <a:pt x="964863" y="38326"/>
                </a:lnTo>
                <a:cubicBezTo>
                  <a:pt x="453847" y="38326"/>
                  <a:pt x="38326" y="453847"/>
                  <a:pt x="38326" y="964863"/>
                </a:cubicBezTo>
                <a:cubicBezTo>
                  <a:pt x="38326" y="1475879"/>
                  <a:pt x="453847" y="1891400"/>
                  <a:pt x="964863" y="1891400"/>
                </a:cubicBezTo>
                <a:lnTo>
                  <a:pt x="4781838" y="1891400"/>
                </a:lnTo>
                <a:lnTo>
                  <a:pt x="4781838" y="1929726"/>
                </a:lnTo>
                <a:close/>
              </a:path>
            </a:pathLst>
          </a:custGeom>
          <a:solidFill>
            <a:schemeClr val="accent4"/>
          </a:solidFill>
          <a:ln w="31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p:txBody>
      </p:sp>
      <p:grpSp>
        <p:nvGrpSpPr>
          <p:cNvPr id="40" name="Group 39">
            <a:extLst>
              <a:ext uri="{FF2B5EF4-FFF2-40B4-BE49-F238E27FC236}">
                <a16:creationId xmlns:a16="http://schemas.microsoft.com/office/drawing/2014/main" id="{AD005051-32CA-0680-79E1-1FD26E2FCBDD}"/>
              </a:ext>
            </a:extLst>
          </p:cNvPr>
          <p:cNvGrpSpPr/>
          <p:nvPr/>
        </p:nvGrpSpPr>
        <p:grpSpPr>
          <a:xfrm>
            <a:off x="6605195" y="0"/>
            <a:ext cx="5586933" cy="6858000"/>
            <a:chOff x="6605195" y="0"/>
            <a:chExt cx="5586933" cy="6858000"/>
          </a:xfrm>
        </p:grpSpPr>
        <p:sp>
          <p:nvSpPr>
            <p:cNvPr id="36" name="Google Shape;153;p3">
              <a:extLst>
                <a:ext uri="{FF2B5EF4-FFF2-40B4-BE49-F238E27FC236}">
                  <a16:creationId xmlns:a16="http://schemas.microsoft.com/office/drawing/2014/main" id="{DC22FC5C-B576-02BB-F1DF-06B790318AE1}"/>
                </a:ext>
              </a:extLst>
            </p:cNvPr>
            <p:cNvSpPr/>
            <p:nvPr/>
          </p:nvSpPr>
          <p:spPr>
            <a:xfrm>
              <a:off x="10026128" y="0"/>
              <a:ext cx="2166000" cy="6858000"/>
            </a:xfrm>
            <a:prstGeom prst="rect">
              <a:avLst/>
            </a:prstGeom>
            <a:solidFill>
              <a:schemeClr val="accent2">
                <a:alpha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37" name="Google Shape;158;p3">
              <a:extLst>
                <a:ext uri="{FF2B5EF4-FFF2-40B4-BE49-F238E27FC236}">
                  <a16:creationId xmlns:a16="http://schemas.microsoft.com/office/drawing/2014/main" id="{B984D9CA-C76F-530C-3398-85D19FDDE81B}"/>
                </a:ext>
              </a:extLst>
            </p:cNvPr>
            <p:cNvSpPr/>
            <p:nvPr/>
          </p:nvSpPr>
          <p:spPr>
            <a:xfrm>
              <a:off x="6605195" y="1097280"/>
              <a:ext cx="5340061" cy="5760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grpSp>
      <p:sp>
        <p:nvSpPr>
          <p:cNvPr id="13" name="Title 12">
            <a:extLst>
              <a:ext uri="{FF2B5EF4-FFF2-40B4-BE49-F238E27FC236}">
                <a16:creationId xmlns:a16="http://schemas.microsoft.com/office/drawing/2014/main" id="{959DC8C0-E30B-139A-5993-674D695486D5}"/>
              </a:ext>
            </a:extLst>
          </p:cNvPr>
          <p:cNvSpPr>
            <a:spLocks noGrp="1"/>
          </p:cNvSpPr>
          <p:nvPr>
            <p:ph type="title"/>
          </p:nvPr>
        </p:nvSpPr>
        <p:spPr>
          <a:xfrm>
            <a:off x="911487" y="1268501"/>
            <a:ext cx="4932101" cy="1200150"/>
          </a:xfrm>
        </p:spPr>
        <p:txBody>
          <a:bodyPr vert="horz">
            <a:normAutofit/>
          </a:bodyPr>
          <a:lstStyle/>
          <a:p>
            <a:r>
              <a:rPr lang="en-US" dirty="0"/>
              <a:t>OUR MISSION AND VISION STATEMENT </a:t>
            </a:r>
          </a:p>
        </p:txBody>
      </p:sp>
      <p:pic>
        <p:nvPicPr>
          <p:cNvPr id="5" name="Picture 4" descr="A logo with a black background&#10;&#10;Description automatically generated">
            <a:extLst>
              <a:ext uri="{FF2B5EF4-FFF2-40B4-BE49-F238E27FC236}">
                <a16:creationId xmlns:a16="http://schemas.microsoft.com/office/drawing/2014/main" id="{34A7A8D5-763E-1E55-A9B9-5C7440C3541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94695" y="348925"/>
            <a:ext cx="2108083" cy="891016"/>
          </a:xfrm>
          <a:prstGeom prst="rect">
            <a:avLst/>
          </a:prstGeom>
        </p:spPr>
      </p:pic>
      <p:sp>
        <p:nvSpPr>
          <p:cNvPr id="28" name="Freeform: Shape 27">
            <a:extLst>
              <a:ext uri="{FF2B5EF4-FFF2-40B4-BE49-F238E27FC236}">
                <a16:creationId xmlns:a16="http://schemas.microsoft.com/office/drawing/2014/main" id="{D8BF5104-D16A-3E4A-28A0-B734BC34D4CC}"/>
              </a:ext>
            </a:extLst>
          </p:cNvPr>
          <p:cNvSpPr/>
          <p:nvPr/>
        </p:nvSpPr>
        <p:spPr>
          <a:xfrm>
            <a:off x="0" y="2636558"/>
            <a:ext cx="4739359" cy="1929406"/>
          </a:xfrm>
          <a:custGeom>
            <a:avLst/>
            <a:gdLst>
              <a:gd name="connsiteX0" fmla="*/ 3774496 w 4739359"/>
              <a:gd name="connsiteY0" fmla="*/ 1929406 h 1929406"/>
              <a:gd name="connsiteX1" fmla="*/ 2808994 w 4739359"/>
              <a:gd name="connsiteY1" fmla="*/ 1926213 h 1929406"/>
              <a:gd name="connsiteX2" fmla="*/ 2808994 w 4739359"/>
              <a:gd name="connsiteY2" fmla="*/ 1887886 h 1929406"/>
              <a:gd name="connsiteX3" fmla="*/ 3774496 w 4739359"/>
              <a:gd name="connsiteY3" fmla="*/ 1891080 h 1929406"/>
              <a:gd name="connsiteX4" fmla="*/ 4701033 w 4739359"/>
              <a:gd name="connsiteY4" fmla="*/ 964544 h 1929406"/>
              <a:gd name="connsiteX5" fmla="*/ 3774496 w 4739359"/>
              <a:gd name="connsiteY5" fmla="*/ 38326 h 1929406"/>
              <a:gd name="connsiteX6" fmla="*/ 0 w 4739359"/>
              <a:gd name="connsiteY6" fmla="*/ 38326 h 1929406"/>
              <a:gd name="connsiteX7" fmla="*/ 0 w 4739359"/>
              <a:gd name="connsiteY7" fmla="*/ 0 h 1929406"/>
              <a:gd name="connsiteX8" fmla="*/ 3774496 w 4739359"/>
              <a:gd name="connsiteY8" fmla="*/ 0 h 1929406"/>
              <a:gd name="connsiteX9" fmla="*/ 4739360 w 4739359"/>
              <a:gd name="connsiteY9" fmla="*/ 964863 h 1929406"/>
              <a:gd name="connsiteX10" fmla="*/ 3774496 w 4739359"/>
              <a:gd name="connsiteY10" fmla="*/ 1929406 h 1929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39359" h="1929406">
                <a:moveTo>
                  <a:pt x="3774496" y="1929406"/>
                </a:moveTo>
                <a:lnTo>
                  <a:pt x="2808994" y="1926213"/>
                </a:lnTo>
                <a:lnTo>
                  <a:pt x="2808994" y="1887886"/>
                </a:lnTo>
                <a:lnTo>
                  <a:pt x="3774496" y="1891080"/>
                </a:lnTo>
                <a:cubicBezTo>
                  <a:pt x="4285193" y="1891080"/>
                  <a:pt x="4701033" y="1475560"/>
                  <a:pt x="4701033" y="964544"/>
                </a:cubicBezTo>
                <a:cubicBezTo>
                  <a:pt x="4701033" y="453527"/>
                  <a:pt x="4285193" y="38326"/>
                  <a:pt x="3774496" y="38326"/>
                </a:cubicBezTo>
                <a:lnTo>
                  <a:pt x="0" y="38326"/>
                </a:lnTo>
                <a:lnTo>
                  <a:pt x="0" y="0"/>
                </a:lnTo>
                <a:lnTo>
                  <a:pt x="3774496" y="0"/>
                </a:lnTo>
                <a:cubicBezTo>
                  <a:pt x="4306592" y="0"/>
                  <a:pt x="4739360" y="432767"/>
                  <a:pt x="4739360" y="964863"/>
                </a:cubicBezTo>
                <a:cubicBezTo>
                  <a:pt x="4739360" y="1496959"/>
                  <a:pt x="4306273" y="1929406"/>
                  <a:pt x="3774496" y="1929406"/>
                </a:cubicBezTo>
                <a:close/>
              </a:path>
            </a:pathLst>
          </a:custGeom>
          <a:solidFill>
            <a:schemeClr val="accent1"/>
          </a:solidFill>
          <a:ln w="31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9D20ED03-0B27-AEA6-69BE-D1427F996915}"/>
              </a:ext>
            </a:extLst>
          </p:cNvPr>
          <p:cNvSpPr/>
          <p:nvPr/>
        </p:nvSpPr>
        <p:spPr>
          <a:xfrm rot="18900000">
            <a:off x="2950488" y="2780519"/>
            <a:ext cx="1648012" cy="1641624"/>
          </a:xfrm>
          <a:custGeom>
            <a:avLst/>
            <a:gdLst>
              <a:gd name="connsiteX0" fmla="*/ 1648013 w 1648012"/>
              <a:gd name="connsiteY0" fmla="*/ 820812 h 1641624"/>
              <a:gd name="connsiteX1" fmla="*/ 824006 w 1648012"/>
              <a:gd name="connsiteY1" fmla="*/ 1641625 h 1641624"/>
              <a:gd name="connsiteX2" fmla="*/ 0 w 1648012"/>
              <a:gd name="connsiteY2" fmla="*/ 820812 h 1641624"/>
              <a:gd name="connsiteX3" fmla="*/ 824006 w 1648012"/>
              <a:gd name="connsiteY3" fmla="*/ 0 h 1641624"/>
              <a:gd name="connsiteX4" fmla="*/ 1648013 w 1648012"/>
              <a:gd name="connsiteY4" fmla="*/ 820812 h 1641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012" h="1641624">
                <a:moveTo>
                  <a:pt x="1648013" y="820812"/>
                </a:moveTo>
                <a:cubicBezTo>
                  <a:pt x="1648013" y="1274134"/>
                  <a:pt x="1279093" y="1641625"/>
                  <a:pt x="824006" y="1641625"/>
                </a:cubicBezTo>
                <a:cubicBezTo>
                  <a:pt x="368920" y="1641625"/>
                  <a:pt x="0" y="1274134"/>
                  <a:pt x="0" y="820812"/>
                </a:cubicBezTo>
                <a:cubicBezTo>
                  <a:pt x="0" y="367490"/>
                  <a:pt x="368920" y="0"/>
                  <a:pt x="824006" y="0"/>
                </a:cubicBezTo>
                <a:cubicBezTo>
                  <a:pt x="1279093" y="0"/>
                  <a:pt x="1648013" y="367490"/>
                  <a:pt x="1648013" y="820812"/>
                </a:cubicBezTo>
                <a:close/>
              </a:path>
            </a:pathLst>
          </a:custGeom>
          <a:solidFill>
            <a:schemeClr val="bg1">
              <a:lumMod val="95000"/>
            </a:schemeClr>
          </a:solidFill>
          <a:ln w="31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48A35988-13DF-0EAE-613E-F3F5C4CEF123}"/>
              </a:ext>
            </a:extLst>
          </p:cNvPr>
          <p:cNvSpPr/>
          <p:nvPr/>
        </p:nvSpPr>
        <p:spPr>
          <a:xfrm rot="18900000">
            <a:off x="1984841" y="4668425"/>
            <a:ext cx="1648012" cy="1641624"/>
          </a:xfrm>
          <a:custGeom>
            <a:avLst/>
            <a:gdLst>
              <a:gd name="connsiteX0" fmla="*/ 1648013 w 1648012"/>
              <a:gd name="connsiteY0" fmla="*/ 820812 h 1641624"/>
              <a:gd name="connsiteX1" fmla="*/ 824006 w 1648012"/>
              <a:gd name="connsiteY1" fmla="*/ 1641624 h 1641624"/>
              <a:gd name="connsiteX2" fmla="*/ 0 w 1648012"/>
              <a:gd name="connsiteY2" fmla="*/ 820812 h 1641624"/>
              <a:gd name="connsiteX3" fmla="*/ 824006 w 1648012"/>
              <a:gd name="connsiteY3" fmla="*/ 0 h 1641624"/>
              <a:gd name="connsiteX4" fmla="*/ 1648013 w 1648012"/>
              <a:gd name="connsiteY4" fmla="*/ 820812 h 1641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012" h="1641624">
                <a:moveTo>
                  <a:pt x="1648013" y="820812"/>
                </a:moveTo>
                <a:cubicBezTo>
                  <a:pt x="1648013" y="1274135"/>
                  <a:pt x="1279092" y="1641624"/>
                  <a:pt x="824006" y="1641624"/>
                </a:cubicBezTo>
                <a:cubicBezTo>
                  <a:pt x="368920" y="1641624"/>
                  <a:pt x="0" y="1274134"/>
                  <a:pt x="0" y="820812"/>
                </a:cubicBezTo>
                <a:cubicBezTo>
                  <a:pt x="0" y="367490"/>
                  <a:pt x="368920" y="0"/>
                  <a:pt x="824006" y="0"/>
                </a:cubicBezTo>
                <a:cubicBezTo>
                  <a:pt x="1279092" y="0"/>
                  <a:pt x="1648013" y="367490"/>
                  <a:pt x="1648013" y="820812"/>
                </a:cubicBezTo>
                <a:close/>
              </a:path>
            </a:pathLst>
          </a:custGeom>
          <a:solidFill>
            <a:schemeClr val="bg1">
              <a:lumMod val="95000"/>
            </a:schemeClr>
          </a:solidFill>
          <a:ln w="31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C9862386-4263-FA8D-4A1B-A3DCC344EF59}"/>
              </a:ext>
            </a:extLst>
          </p:cNvPr>
          <p:cNvSpPr>
            <a:spLocks/>
          </p:cNvSpPr>
          <p:nvPr/>
        </p:nvSpPr>
        <p:spPr>
          <a:xfrm>
            <a:off x="3404974" y="3231840"/>
            <a:ext cx="739040" cy="738982"/>
          </a:xfrm>
          <a:custGeom>
            <a:avLst/>
            <a:gdLst>
              <a:gd name="connsiteX0" fmla="*/ 763420 w 876283"/>
              <a:gd name="connsiteY0" fmla="*/ 250801 h 876218"/>
              <a:gd name="connsiteX1" fmla="*/ 781130 w 876283"/>
              <a:gd name="connsiteY1" fmla="*/ 243360 h 876218"/>
              <a:gd name="connsiteX2" fmla="*/ 871245 w 876283"/>
              <a:gd name="connsiteY2" fmla="*/ 153245 h 876218"/>
              <a:gd name="connsiteX3" fmla="*/ 875152 w 876283"/>
              <a:gd name="connsiteY3" fmla="*/ 135050 h 876218"/>
              <a:gd name="connsiteX4" fmla="*/ 860121 w 876283"/>
              <a:gd name="connsiteY4" fmla="*/ 124112 h 876218"/>
              <a:gd name="connsiteX5" fmla="*/ 790767 w 876283"/>
              <a:gd name="connsiteY5" fmla="*/ 120317 h 876218"/>
              <a:gd name="connsiteX6" fmla="*/ 782954 w 876283"/>
              <a:gd name="connsiteY6" fmla="*/ 93379 h 876218"/>
              <a:gd name="connsiteX7" fmla="*/ 756016 w 876283"/>
              <a:gd name="connsiteY7" fmla="*/ 85566 h 876218"/>
              <a:gd name="connsiteX8" fmla="*/ 752221 w 876283"/>
              <a:gd name="connsiteY8" fmla="*/ 16212 h 876218"/>
              <a:gd name="connsiteX9" fmla="*/ 741283 w 876283"/>
              <a:gd name="connsiteY9" fmla="*/ 1181 h 876218"/>
              <a:gd name="connsiteX10" fmla="*/ 723088 w 876283"/>
              <a:gd name="connsiteY10" fmla="*/ 5087 h 876218"/>
              <a:gd name="connsiteX11" fmla="*/ 632973 w 876283"/>
              <a:gd name="connsiteY11" fmla="*/ 95203 h 876218"/>
              <a:gd name="connsiteX12" fmla="*/ 625643 w 876283"/>
              <a:gd name="connsiteY12" fmla="*/ 114438 h 876218"/>
              <a:gd name="connsiteX13" fmla="*/ 627355 w 876283"/>
              <a:gd name="connsiteY13" fmla="*/ 146064 h 876218"/>
              <a:gd name="connsiteX14" fmla="*/ 400574 w 876283"/>
              <a:gd name="connsiteY14" fmla="*/ 75594 h 876218"/>
              <a:gd name="connsiteX15" fmla="*/ 117500 w 876283"/>
              <a:gd name="connsiteY15" fmla="*/ 192838 h 876218"/>
              <a:gd name="connsiteX16" fmla="*/ 0 w 876283"/>
              <a:gd name="connsiteY16" fmla="*/ 475873 h 876218"/>
              <a:gd name="connsiteX17" fmla="*/ 117243 w 876283"/>
              <a:gd name="connsiteY17" fmla="*/ 758946 h 876218"/>
              <a:gd name="connsiteX18" fmla="*/ 400355 w 876283"/>
              <a:gd name="connsiteY18" fmla="*/ 876218 h 876218"/>
              <a:gd name="connsiteX19" fmla="*/ 683428 w 876283"/>
              <a:gd name="connsiteY19" fmla="*/ 758975 h 876218"/>
              <a:gd name="connsiteX20" fmla="*/ 800672 w 876283"/>
              <a:gd name="connsiteY20" fmla="*/ 475902 h 876218"/>
              <a:gd name="connsiteX21" fmla="*/ 730202 w 876283"/>
              <a:gd name="connsiteY21" fmla="*/ 249121 h 876218"/>
              <a:gd name="connsiteX22" fmla="*/ 761828 w 876283"/>
              <a:gd name="connsiteY22" fmla="*/ 250832 h 876218"/>
              <a:gd name="connsiteX23" fmla="*/ 763428 w 876283"/>
              <a:gd name="connsiteY23" fmla="*/ 250795 h 876218"/>
              <a:gd name="connsiteX24" fmla="*/ 768480 w 876283"/>
              <a:gd name="connsiteY24" fmla="*/ 230709 h 876218"/>
              <a:gd name="connsiteX25" fmla="*/ 762861 w 876283"/>
              <a:gd name="connsiteY25" fmla="*/ 232905 h 876218"/>
              <a:gd name="connsiteX26" fmla="*/ 688857 w 876283"/>
              <a:gd name="connsiteY26" fmla="*/ 228812 h 876218"/>
              <a:gd name="connsiteX27" fmla="*/ 780088 w 876283"/>
              <a:gd name="connsiteY27" fmla="*/ 137580 h 876218"/>
              <a:gd name="connsiteX28" fmla="*/ 857330 w 876283"/>
              <a:gd name="connsiteY28" fmla="*/ 141859 h 876218"/>
              <a:gd name="connsiteX29" fmla="*/ 762192 w 876283"/>
              <a:gd name="connsiteY29" fmla="*/ 102608 h 876218"/>
              <a:gd name="connsiteX30" fmla="*/ 770303 w 876283"/>
              <a:gd name="connsiteY30" fmla="*/ 105956 h 876218"/>
              <a:gd name="connsiteX31" fmla="*/ 770303 w 876283"/>
              <a:gd name="connsiteY31" fmla="*/ 122141 h 876218"/>
              <a:gd name="connsiteX32" fmla="*/ 422897 w 876283"/>
              <a:gd name="connsiteY32" fmla="*/ 469508 h 876218"/>
              <a:gd name="connsiteX33" fmla="*/ 406713 w 876283"/>
              <a:gd name="connsiteY33" fmla="*/ 469508 h 876218"/>
              <a:gd name="connsiteX34" fmla="*/ 403364 w 876283"/>
              <a:gd name="connsiteY34" fmla="*/ 461397 h 876218"/>
              <a:gd name="connsiteX35" fmla="*/ 406713 w 876283"/>
              <a:gd name="connsiteY35" fmla="*/ 453286 h 876218"/>
              <a:gd name="connsiteX36" fmla="*/ 754080 w 876283"/>
              <a:gd name="connsiteY36" fmla="*/ 105919 h 876218"/>
              <a:gd name="connsiteX37" fmla="*/ 762191 w 876283"/>
              <a:gd name="connsiteY37" fmla="*/ 102607 h 876218"/>
              <a:gd name="connsiteX38" fmla="*/ 394069 w 876283"/>
              <a:gd name="connsiteY38" fmla="*/ 482160 h 876218"/>
              <a:gd name="connsiteX39" fmla="*/ 414831 w 876283"/>
              <a:gd name="connsiteY39" fmla="*/ 490718 h 876218"/>
              <a:gd name="connsiteX40" fmla="*/ 435593 w 876283"/>
              <a:gd name="connsiteY40" fmla="*/ 482160 h 876218"/>
              <a:gd name="connsiteX41" fmla="*/ 480651 w 876283"/>
              <a:gd name="connsiteY41" fmla="*/ 437102 h 876218"/>
              <a:gd name="connsiteX42" fmla="*/ 489618 w 876283"/>
              <a:gd name="connsiteY42" fmla="*/ 475871 h 876218"/>
              <a:gd name="connsiteX43" fmla="*/ 400358 w 876283"/>
              <a:gd name="connsiteY43" fmla="*/ 565131 h 876218"/>
              <a:gd name="connsiteX44" fmla="*/ 311098 w 876283"/>
              <a:gd name="connsiteY44" fmla="*/ 475871 h 876218"/>
              <a:gd name="connsiteX45" fmla="*/ 400358 w 876283"/>
              <a:gd name="connsiteY45" fmla="*/ 386612 h 876218"/>
              <a:gd name="connsiteX46" fmla="*/ 439128 w 876283"/>
              <a:gd name="connsiteY46" fmla="*/ 395579 h 876218"/>
              <a:gd name="connsiteX47" fmla="*/ 394070 w 876283"/>
              <a:gd name="connsiteY47" fmla="*/ 440637 h 876218"/>
              <a:gd name="connsiteX48" fmla="*/ 385512 w 876283"/>
              <a:gd name="connsiteY48" fmla="*/ 461398 h 876218"/>
              <a:gd name="connsiteX49" fmla="*/ 394070 w 876283"/>
              <a:gd name="connsiteY49" fmla="*/ 482160 h 876218"/>
              <a:gd name="connsiteX50" fmla="*/ 452447 w 876283"/>
              <a:gd name="connsiteY50" fmla="*/ 382262 h 876218"/>
              <a:gd name="connsiteX51" fmla="*/ 400357 w 876283"/>
              <a:gd name="connsiteY51" fmla="*/ 368718 h 876218"/>
              <a:gd name="connsiteX52" fmla="*/ 293315 w 876283"/>
              <a:gd name="connsiteY52" fmla="*/ 475760 h 876218"/>
              <a:gd name="connsiteX53" fmla="*/ 400357 w 876283"/>
              <a:gd name="connsiteY53" fmla="*/ 582802 h 876218"/>
              <a:gd name="connsiteX54" fmla="*/ 507399 w 876283"/>
              <a:gd name="connsiteY54" fmla="*/ 475760 h 876218"/>
              <a:gd name="connsiteX55" fmla="*/ 493855 w 876283"/>
              <a:gd name="connsiteY55" fmla="*/ 423670 h 876218"/>
              <a:gd name="connsiteX56" fmla="*/ 586352 w 876283"/>
              <a:gd name="connsiteY56" fmla="*/ 331173 h 876218"/>
              <a:gd name="connsiteX57" fmla="*/ 636172 w 876283"/>
              <a:gd name="connsiteY57" fmla="*/ 475763 h 876218"/>
              <a:gd name="connsiteX58" fmla="*/ 400314 w 876283"/>
              <a:gd name="connsiteY58" fmla="*/ 711621 h 876218"/>
              <a:gd name="connsiteX59" fmla="*/ 164456 w 876283"/>
              <a:gd name="connsiteY59" fmla="*/ 475763 h 876218"/>
              <a:gd name="connsiteX60" fmla="*/ 400314 w 876283"/>
              <a:gd name="connsiteY60" fmla="*/ 239905 h 876218"/>
              <a:gd name="connsiteX61" fmla="*/ 544904 w 876283"/>
              <a:gd name="connsiteY61" fmla="*/ 289725 h 876218"/>
              <a:gd name="connsiteX62" fmla="*/ 645519 w 876283"/>
              <a:gd name="connsiteY62" fmla="*/ 107751 h 876218"/>
              <a:gd name="connsiteX63" fmla="*/ 734369 w 876283"/>
              <a:gd name="connsiteY63" fmla="*/ 18901 h 876218"/>
              <a:gd name="connsiteX64" fmla="*/ 738648 w 876283"/>
              <a:gd name="connsiteY64" fmla="*/ 96143 h 876218"/>
              <a:gd name="connsiteX65" fmla="*/ 647417 w 876283"/>
              <a:gd name="connsiteY65" fmla="*/ 187374 h 876218"/>
              <a:gd name="connsiteX66" fmla="*/ 643324 w 876283"/>
              <a:gd name="connsiteY66" fmla="*/ 113370 h 876218"/>
              <a:gd name="connsiteX67" fmla="*/ 645519 w 876283"/>
              <a:gd name="connsiteY67" fmla="*/ 107752 h 876218"/>
              <a:gd name="connsiteX68" fmla="*/ 782889 w 876283"/>
              <a:gd name="connsiteY68" fmla="*/ 475873 h 876218"/>
              <a:gd name="connsiteX69" fmla="*/ 400365 w 876283"/>
              <a:gd name="connsiteY69" fmla="*/ 858397 h 876218"/>
              <a:gd name="connsiteX70" fmla="*/ 17841 w 876283"/>
              <a:gd name="connsiteY70" fmla="*/ 475873 h 876218"/>
              <a:gd name="connsiteX71" fmla="*/ 400365 w 876283"/>
              <a:gd name="connsiteY71" fmla="*/ 93349 h 876218"/>
              <a:gd name="connsiteX72" fmla="*/ 628479 w 876283"/>
              <a:gd name="connsiteY72" fmla="*/ 168880 h 876218"/>
              <a:gd name="connsiteX73" fmla="*/ 630488 w 876283"/>
              <a:gd name="connsiteY73" fmla="*/ 204301 h 876218"/>
              <a:gd name="connsiteX74" fmla="*/ 557711 w 876283"/>
              <a:gd name="connsiteY74" fmla="*/ 277078 h 876218"/>
              <a:gd name="connsiteX75" fmla="*/ 400358 w 876283"/>
              <a:gd name="connsiteY75" fmla="*/ 222124 h 876218"/>
              <a:gd name="connsiteX76" fmla="*/ 146603 w 876283"/>
              <a:gd name="connsiteY76" fmla="*/ 475879 h 876218"/>
              <a:gd name="connsiteX77" fmla="*/ 400358 w 876283"/>
              <a:gd name="connsiteY77" fmla="*/ 729635 h 876218"/>
              <a:gd name="connsiteX78" fmla="*/ 654114 w 876283"/>
              <a:gd name="connsiteY78" fmla="*/ 475879 h 876218"/>
              <a:gd name="connsiteX79" fmla="*/ 599159 w 876283"/>
              <a:gd name="connsiteY79" fmla="*/ 318526 h 876218"/>
              <a:gd name="connsiteX80" fmla="*/ 671936 w 876283"/>
              <a:gd name="connsiteY80" fmla="*/ 245749 h 876218"/>
              <a:gd name="connsiteX81" fmla="*/ 707358 w 876283"/>
              <a:gd name="connsiteY81" fmla="*/ 247759 h 876218"/>
              <a:gd name="connsiteX82" fmla="*/ 782888 w 876283"/>
              <a:gd name="connsiteY82" fmla="*/ 475873 h 87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876283" h="876218">
                <a:moveTo>
                  <a:pt x="763420" y="250801"/>
                </a:moveTo>
                <a:cubicBezTo>
                  <a:pt x="770191" y="250801"/>
                  <a:pt x="776294" y="248234"/>
                  <a:pt x="781130" y="243360"/>
                </a:cubicBezTo>
                <a:lnTo>
                  <a:pt x="871245" y="153245"/>
                </a:lnTo>
                <a:cubicBezTo>
                  <a:pt x="876120" y="148371"/>
                  <a:pt x="877533" y="141450"/>
                  <a:pt x="875152" y="135050"/>
                </a:cubicBezTo>
                <a:cubicBezTo>
                  <a:pt x="872659" y="128651"/>
                  <a:pt x="866967" y="124483"/>
                  <a:pt x="860121" y="124112"/>
                </a:cubicBezTo>
                <a:lnTo>
                  <a:pt x="790767" y="120317"/>
                </a:lnTo>
                <a:cubicBezTo>
                  <a:pt x="792777" y="110903"/>
                  <a:pt x="790209" y="100597"/>
                  <a:pt x="782954" y="93379"/>
                </a:cubicBezTo>
                <a:cubicBezTo>
                  <a:pt x="775624" y="86049"/>
                  <a:pt x="765430" y="83482"/>
                  <a:pt x="756016" y="85566"/>
                </a:cubicBezTo>
                <a:lnTo>
                  <a:pt x="752221" y="16212"/>
                </a:lnTo>
                <a:cubicBezTo>
                  <a:pt x="751849" y="9366"/>
                  <a:pt x="747645" y="3636"/>
                  <a:pt x="741283" y="1181"/>
                </a:cubicBezTo>
                <a:cubicBezTo>
                  <a:pt x="734883" y="-1312"/>
                  <a:pt x="727963" y="213"/>
                  <a:pt x="723088" y="5087"/>
                </a:cubicBezTo>
                <a:lnTo>
                  <a:pt x="632973" y="95203"/>
                </a:lnTo>
                <a:cubicBezTo>
                  <a:pt x="627727" y="100449"/>
                  <a:pt x="625159" y="107109"/>
                  <a:pt x="625643" y="114438"/>
                </a:cubicBezTo>
                <a:lnTo>
                  <a:pt x="627355" y="146064"/>
                </a:lnTo>
                <a:cubicBezTo>
                  <a:pt x="560494" y="99965"/>
                  <a:pt x="482470" y="75594"/>
                  <a:pt x="400574" y="75594"/>
                </a:cubicBezTo>
                <a:cubicBezTo>
                  <a:pt x="293608" y="75594"/>
                  <a:pt x="193110" y="117229"/>
                  <a:pt x="117500" y="192838"/>
                </a:cubicBezTo>
                <a:cubicBezTo>
                  <a:pt x="41636" y="268331"/>
                  <a:pt x="0" y="368898"/>
                  <a:pt x="0" y="475873"/>
                </a:cubicBezTo>
                <a:cubicBezTo>
                  <a:pt x="0" y="582848"/>
                  <a:pt x="41635" y="683337"/>
                  <a:pt x="117243" y="758946"/>
                </a:cubicBezTo>
                <a:cubicBezTo>
                  <a:pt x="192885" y="834588"/>
                  <a:pt x="293456" y="876218"/>
                  <a:pt x="400355" y="876218"/>
                </a:cubicBezTo>
                <a:cubicBezTo>
                  <a:pt x="507321" y="876218"/>
                  <a:pt x="607819" y="834584"/>
                  <a:pt x="683428" y="758975"/>
                </a:cubicBezTo>
                <a:cubicBezTo>
                  <a:pt x="759070" y="683333"/>
                  <a:pt x="800672" y="582763"/>
                  <a:pt x="800672" y="475902"/>
                </a:cubicBezTo>
                <a:cubicBezTo>
                  <a:pt x="800672" y="393897"/>
                  <a:pt x="776375" y="315872"/>
                  <a:pt x="730202" y="249121"/>
                </a:cubicBezTo>
                <a:lnTo>
                  <a:pt x="761828" y="250832"/>
                </a:lnTo>
                <a:cubicBezTo>
                  <a:pt x="762386" y="250795"/>
                  <a:pt x="762981" y="250795"/>
                  <a:pt x="763428" y="250795"/>
                </a:cubicBezTo>
                <a:close/>
                <a:moveTo>
                  <a:pt x="768480" y="230709"/>
                </a:moveTo>
                <a:cubicBezTo>
                  <a:pt x="766843" y="232347"/>
                  <a:pt x="765131" y="232979"/>
                  <a:pt x="762861" y="232905"/>
                </a:cubicBezTo>
                <a:lnTo>
                  <a:pt x="688857" y="228812"/>
                </a:lnTo>
                <a:lnTo>
                  <a:pt x="780088" y="137580"/>
                </a:lnTo>
                <a:lnTo>
                  <a:pt x="857330" y="141859"/>
                </a:lnTo>
                <a:close/>
                <a:moveTo>
                  <a:pt x="762192" y="102608"/>
                </a:moveTo>
                <a:cubicBezTo>
                  <a:pt x="765131" y="102608"/>
                  <a:pt x="768108" y="103761"/>
                  <a:pt x="770303" y="105956"/>
                </a:cubicBezTo>
                <a:cubicBezTo>
                  <a:pt x="774768" y="110421"/>
                  <a:pt x="774768" y="117677"/>
                  <a:pt x="770303" y="122141"/>
                </a:cubicBezTo>
                <a:lnTo>
                  <a:pt x="422897" y="469508"/>
                </a:lnTo>
                <a:cubicBezTo>
                  <a:pt x="418433" y="473973"/>
                  <a:pt x="411177" y="473973"/>
                  <a:pt x="406713" y="469508"/>
                </a:cubicBezTo>
                <a:cubicBezTo>
                  <a:pt x="404517" y="467313"/>
                  <a:pt x="403364" y="464448"/>
                  <a:pt x="403364" y="461397"/>
                </a:cubicBezTo>
                <a:cubicBezTo>
                  <a:pt x="403364" y="458346"/>
                  <a:pt x="404517" y="455481"/>
                  <a:pt x="406713" y="453286"/>
                </a:cubicBezTo>
                <a:lnTo>
                  <a:pt x="754080" y="105919"/>
                </a:lnTo>
                <a:cubicBezTo>
                  <a:pt x="756387" y="103724"/>
                  <a:pt x="759252" y="102607"/>
                  <a:pt x="762191" y="102607"/>
                </a:cubicBezTo>
                <a:close/>
                <a:moveTo>
                  <a:pt x="394069" y="482160"/>
                </a:moveTo>
                <a:cubicBezTo>
                  <a:pt x="399799" y="487890"/>
                  <a:pt x="407315" y="490718"/>
                  <a:pt x="414831" y="490718"/>
                </a:cubicBezTo>
                <a:cubicBezTo>
                  <a:pt x="422347" y="490718"/>
                  <a:pt x="429863" y="487853"/>
                  <a:pt x="435593" y="482160"/>
                </a:cubicBezTo>
                <a:lnTo>
                  <a:pt x="480651" y="437102"/>
                </a:lnTo>
                <a:cubicBezTo>
                  <a:pt x="486455" y="449120"/>
                  <a:pt x="489618" y="462328"/>
                  <a:pt x="489618" y="475871"/>
                </a:cubicBezTo>
                <a:cubicBezTo>
                  <a:pt x="489618" y="525022"/>
                  <a:pt x="449620" y="565131"/>
                  <a:pt x="400358" y="565131"/>
                </a:cubicBezTo>
                <a:cubicBezTo>
                  <a:pt x="351207" y="565131"/>
                  <a:pt x="311098" y="525134"/>
                  <a:pt x="311098" y="475871"/>
                </a:cubicBezTo>
                <a:cubicBezTo>
                  <a:pt x="311098" y="426721"/>
                  <a:pt x="351096" y="386612"/>
                  <a:pt x="400358" y="386612"/>
                </a:cubicBezTo>
                <a:cubicBezTo>
                  <a:pt x="413902" y="386612"/>
                  <a:pt x="427110" y="389737"/>
                  <a:pt x="439128" y="395579"/>
                </a:cubicBezTo>
                <a:lnTo>
                  <a:pt x="394070" y="440637"/>
                </a:lnTo>
                <a:cubicBezTo>
                  <a:pt x="388563" y="446143"/>
                  <a:pt x="385512" y="453511"/>
                  <a:pt x="385512" y="461398"/>
                </a:cubicBezTo>
                <a:cubicBezTo>
                  <a:pt x="385475" y="469212"/>
                  <a:pt x="388526" y="476654"/>
                  <a:pt x="394070" y="482160"/>
                </a:cubicBezTo>
                <a:close/>
                <a:moveTo>
                  <a:pt x="452447" y="382262"/>
                </a:moveTo>
                <a:cubicBezTo>
                  <a:pt x="436522" y="373406"/>
                  <a:pt x="418737" y="368718"/>
                  <a:pt x="400357" y="368718"/>
                </a:cubicBezTo>
                <a:cubicBezTo>
                  <a:pt x="341310" y="368718"/>
                  <a:pt x="293315" y="416715"/>
                  <a:pt x="293315" y="475760"/>
                </a:cubicBezTo>
                <a:cubicBezTo>
                  <a:pt x="293315" y="534805"/>
                  <a:pt x="341312" y="582802"/>
                  <a:pt x="400357" y="582802"/>
                </a:cubicBezTo>
                <a:cubicBezTo>
                  <a:pt x="459401" y="582802"/>
                  <a:pt x="507399" y="534805"/>
                  <a:pt x="507399" y="475760"/>
                </a:cubicBezTo>
                <a:cubicBezTo>
                  <a:pt x="507399" y="457380"/>
                  <a:pt x="502748" y="439557"/>
                  <a:pt x="493855" y="423670"/>
                </a:cubicBezTo>
                <a:lnTo>
                  <a:pt x="586352" y="331173"/>
                </a:lnTo>
                <a:cubicBezTo>
                  <a:pt x="618461" y="372399"/>
                  <a:pt x="636172" y="423298"/>
                  <a:pt x="636172" y="475763"/>
                </a:cubicBezTo>
                <a:cubicBezTo>
                  <a:pt x="636172" y="605760"/>
                  <a:pt x="530359" y="711621"/>
                  <a:pt x="400314" y="711621"/>
                </a:cubicBezTo>
                <a:cubicBezTo>
                  <a:pt x="270317" y="711621"/>
                  <a:pt x="164456" y="605808"/>
                  <a:pt x="164456" y="475763"/>
                </a:cubicBezTo>
                <a:cubicBezTo>
                  <a:pt x="164456" y="345766"/>
                  <a:pt x="270269" y="239905"/>
                  <a:pt x="400314" y="239905"/>
                </a:cubicBezTo>
                <a:cubicBezTo>
                  <a:pt x="452813" y="239905"/>
                  <a:pt x="503679" y="257616"/>
                  <a:pt x="544904" y="289725"/>
                </a:cubicBezTo>
                <a:close/>
                <a:moveTo>
                  <a:pt x="645519" y="107751"/>
                </a:moveTo>
                <a:lnTo>
                  <a:pt x="734369" y="18901"/>
                </a:lnTo>
                <a:lnTo>
                  <a:pt x="738648" y="96143"/>
                </a:lnTo>
                <a:lnTo>
                  <a:pt x="647417" y="187374"/>
                </a:lnTo>
                <a:lnTo>
                  <a:pt x="643324" y="113370"/>
                </a:lnTo>
                <a:cubicBezTo>
                  <a:pt x="643249" y="111100"/>
                  <a:pt x="643919" y="109352"/>
                  <a:pt x="645519" y="107752"/>
                </a:cubicBezTo>
                <a:close/>
                <a:moveTo>
                  <a:pt x="782889" y="475873"/>
                </a:moveTo>
                <a:cubicBezTo>
                  <a:pt x="782889" y="686766"/>
                  <a:pt x="611324" y="858397"/>
                  <a:pt x="400365" y="858397"/>
                </a:cubicBezTo>
                <a:cubicBezTo>
                  <a:pt x="189471" y="858397"/>
                  <a:pt x="17841" y="686833"/>
                  <a:pt x="17841" y="475873"/>
                </a:cubicBezTo>
                <a:cubicBezTo>
                  <a:pt x="17841" y="264980"/>
                  <a:pt x="189405" y="93349"/>
                  <a:pt x="400365" y="93349"/>
                </a:cubicBezTo>
                <a:cubicBezTo>
                  <a:pt x="483411" y="93349"/>
                  <a:pt x="562175" y="119432"/>
                  <a:pt x="628479" y="168880"/>
                </a:cubicBezTo>
                <a:lnTo>
                  <a:pt x="630488" y="204301"/>
                </a:lnTo>
                <a:lnTo>
                  <a:pt x="557711" y="277078"/>
                </a:lnTo>
                <a:cubicBezTo>
                  <a:pt x="513026" y="241732"/>
                  <a:pt x="457584" y="222124"/>
                  <a:pt x="400358" y="222124"/>
                </a:cubicBezTo>
                <a:cubicBezTo>
                  <a:pt x="260426" y="222124"/>
                  <a:pt x="146603" y="335938"/>
                  <a:pt x="146603" y="475879"/>
                </a:cubicBezTo>
                <a:cubicBezTo>
                  <a:pt x="146603" y="615820"/>
                  <a:pt x="260417" y="729635"/>
                  <a:pt x="400358" y="729635"/>
                </a:cubicBezTo>
                <a:cubicBezTo>
                  <a:pt x="540300" y="729635"/>
                  <a:pt x="654114" y="615820"/>
                  <a:pt x="654114" y="475879"/>
                </a:cubicBezTo>
                <a:cubicBezTo>
                  <a:pt x="654114" y="418729"/>
                  <a:pt x="634506" y="363217"/>
                  <a:pt x="599159" y="318526"/>
                </a:cubicBezTo>
                <a:lnTo>
                  <a:pt x="671936" y="245749"/>
                </a:lnTo>
                <a:lnTo>
                  <a:pt x="707358" y="247759"/>
                </a:lnTo>
                <a:cubicBezTo>
                  <a:pt x="756769" y="314061"/>
                  <a:pt x="782888" y="392824"/>
                  <a:pt x="782888" y="475873"/>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5488"/>
              </a:solidFill>
              <a:effectLst/>
              <a:uLnTx/>
              <a:uFillTx/>
              <a:latin typeface="Arial"/>
              <a:ea typeface="+mn-ea"/>
              <a:cs typeface="+mn-cs"/>
            </a:endParaRPr>
          </a:p>
        </p:txBody>
      </p:sp>
      <p:sp>
        <p:nvSpPr>
          <p:cNvPr id="33" name="TextBox 32">
            <a:extLst>
              <a:ext uri="{FF2B5EF4-FFF2-40B4-BE49-F238E27FC236}">
                <a16:creationId xmlns:a16="http://schemas.microsoft.com/office/drawing/2014/main" id="{4F430A72-FB24-9303-4FD2-30EEC824A527}"/>
              </a:ext>
            </a:extLst>
          </p:cNvPr>
          <p:cNvSpPr txBox="1">
            <a:spLocks/>
          </p:cNvSpPr>
          <p:nvPr/>
        </p:nvSpPr>
        <p:spPr>
          <a:xfrm>
            <a:off x="419099" y="2801752"/>
            <a:ext cx="2497355" cy="1585049"/>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600"/>
              </a:spcAft>
              <a:buClr>
                <a:srgbClr val="005488"/>
              </a:buClr>
              <a:buSzTx/>
              <a:buFontTx/>
              <a:buNone/>
              <a:tabLst/>
              <a:defRPr/>
            </a:pPr>
            <a:r>
              <a:rPr kumimoji="0" lang="en-US" sz="1400" b="1" i="0" u="none" strike="noStrike" kern="1200" cap="none" spc="0" normalizeH="0" baseline="0" noProof="0" dirty="0">
                <a:ln>
                  <a:noFill/>
                </a:ln>
                <a:solidFill>
                  <a:srgbClr val="333333"/>
                </a:solidFill>
                <a:effectLst/>
                <a:uLnTx/>
                <a:uFillTx/>
                <a:latin typeface="Arial"/>
                <a:ea typeface="+mn-ea"/>
                <a:cs typeface="+mn-cs"/>
              </a:rPr>
              <a:t>Mission</a:t>
            </a:r>
          </a:p>
          <a:p>
            <a:pPr marL="0" marR="0" lvl="0" indent="0" algn="r" defTabSz="914400" rtl="0" eaLnBrk="1" fontAlgn="auto" latinLnBrk="0" hangingPunct="1">
              <a:lnSpc>
                <a:spcPct val="100000"/>
              </a:lnSpc>
              <a:spcBef>
                <a:spcPts val="0"/>
              </a:spcBef>
              <a:spcAft>
                <a:spcPts val="0"/>
              </a:spcAft>
              <a:buClr>
                <a:srgbClr val="005488"/>
              </a:buClr>
              <a:buSzTx/>
              <a:buFontTx/>
              <a:buNone/>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Built on more than a century of innovation, Southern States enhances reliability, power quality, resilience, and safety for the future of our power infrastructure with industry-leading equipment, service, and solutions</a:t>
            </a:r>
          </a:p>
        </p:txBody>
      </p:sp>
      <p:sp>
        <p:nvSpPr>
          <p:cNvPr id="35" name="TextBox 34">
            <a:extLst>
              <a:ext uri="{FF2B5EF4-FFF2-40B4-BE49-F238E27FC236}">
                <a16:creationId xmlns:a16="http://schemas.microsoft.com/office/drawing/2014/main" id="{19259092-2325-5D5A-D70D-0CB855F3920A}"/>
              </a:ext>
            </a:extLst>
          </p:cNvPr>
          <p:cNvSpPr txBox="1">
            <a:spLocks/>
          </p:cNvSpPr>
          <p:nvPr/>
        </p:nvSpPr>
        <p:spPr>
          <a:xfrm>
            <a:off x="3732950" y="4822240"/>
            <a:ext cx="1719583" cy="140038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
                <a:srgbClr val="005488"/>
              </a:buClr>
              <a:buSzTx/>
              <a:buFontTx/>
              <a:buNone/>
              <a:tabLst/>
              <a:defRPr/>
            </a:pPr>
            <a:r>
              <a:rPr kumimoji="0" lang="en-US" sz="1400" b="1" i="0" u="none" strike="noStrike" kern="1200" cap="none" spc="0" normalizeH="0" baseline="0" noProof="0" dirty="0">
                <a:ln>
                  <a:noFill/>
                </a:ln>
                <a:solidFill>
                  <a:srgbClr val="333333"/>
                </a:solidFill>
                <a:effectLst/>
                <a:uLnTx/>
                <a:uFillTx/>
                <a:latin typeface="Arial"/>
                <a:ea typeface="+mn-ea"/>
                <a:cs typeface="+mn-cs"/>
              </a:rPr>
              <a:t>Vision</a:t>
            </a:r>
          </a:p>
          <a:p>
            <a:pPr marL="0" marR="0" lvl="0" indent="0" algn="l" defTabSz="914400" rtl="0" eaLnBrk="1" fontAlgn="auto" latinLnBrk="0" hangingPunct="1">
              <a:lnSpc>
                <a:spcPct val="100000"/>
              </a:lnSpc>
              <a:spcBef>
                <a:spcPts val="0"/>
              </a:spcBef>
              <a:spcAft>
                <a:spcPts val="0"/>
              </a:spcAft>
              <a:buClr>
                <a:srgbClr val="005488"/>
              </a:buClr>
              <a:buSzTx/>
              <a:buFontTx/>
              <a:buNone/>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Southern States powers the future as a trusted partner with innovative solutions, while safeguarding today’s</a:t>
            </a:r>
            <a:br>
              <a:rPr kumimoji="0" lang="en-US" sz="1200" b="0" i="0" u="none" strike="noStrike" kern="1200" cap="none" spc="0" normalizeH="0" baseline="0" noProof="0" dirty="0">
                <a:ln>
                  <a:noFill/>
                </a:ln>
                <a:solidFill>
                  <a:srgbClr val="333333"/>
                </a:solidFill>
                <a:effectLst/>
                <a:uLnTx/>
                <a:uFillTx/>
                <a:latin typeface="Arial"/>
                <a:ea typeface="+mn-ea"/>
                <a:cs typeface="+mn-cs"/>
              </a:rPr>
            </a:br>
            <a:r>
              <a:rPr kumimoji="0" lang="en-US" sz="1200" b="0" i="0" u="none" strike="noStrike" kern="1200" cap="none" spc="0" normalizeH="0" baseline="0" noProof="0" dirty="0">
                <a:ln>
                  <a:noFill/>
                </a:ln>
                <a:solidFill>
                  <a:srgbClr val="333333"/>
                </a:solidFill>
                <a:effectLst/>
                <a:uLnTx/>
                <a:uFillTx/>
                <a:latin typeface="Arial"/>
                <a:ea typeface="+mn-ea"/>
                <a:cs typeface="+mn-cs"/>
              </a:rPr>
              <a:t>grid infrastructure</a:t>
            </a:r>
          </a:p>
        </p:txBody>
      </p:sp>
      <p:sp>
        <p:nvSpPr>
          <p:cNvPr id="39" name="TextBox 38">
            <a:extLst>
              <a:ext uri="{FF2B5EF4-FFF2-40B4-BE49-F238E27FC236}">
                <a16:creationId xmlns:a16="http://schemas.microsoft.com/office/drawing/2014/main" id="{13EDDA68-10E8-870D-51D6-1E666EC2F974}"/>
              </a:ext>
            </a:extLst>
          </p:cNvPr>
          <p:cNvSpPr txBox="1"/>
          <p:nvPr/>
        </p:nvSpPr>
        <p:spPr>
          <a:xfrm>
            <a:off x="8597900" y="6400800"/>
            <a:ext cx="3175000" cy="153988"/>
          </a:xfrm>
          <a:prstGeom prst="rect">
            <a:avLst/>
          </a:prstGeom>
          <a:noFill/>
        </p:spPr>
        <p:txBody>
          <a:bodyPr wrap="square" r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Calibri" panose="020F0502020204030204" pitchFamily="34" charset="0"/>
                <a:cs typeface="+mn-cs"/>
              </a:rPr>
              <a:t>Powers the Future</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14" name="Graphic 9">
            <a:extLst>
              <a:ext uri="{FF2B5EF4-FFF2-40B4-BE49-F238E27FC236}">
                <a16:creationId xmlns:a16="http://schemas.microsoft.com/office/drawing/2014/main" id="{8E787F6D-D477-E0B5-D682-D3ABD9ECA57E}"/>
              </a:ext>
            </a:extLst>
          </p:cNvPr>
          <p:cNvGrpSpPr/>
          <p:nvPr/>
        </p:nvGrpSpPr>
        <p:grpSpPr>
          <a:xfrm>
            <a:off x="2471778" y="5119746"/>
            <a:ext cx="662000" cy="738982"/>
            <a:chOff x="618787" y="4721618"/>
            <a:chExt cx="819150" cy="914405"/>
          </a:xfrm>
          <a:solidFill>
            <a:srgbClr val="000000"/>
          </a:solidFill>
        </p:grpSpPr>
        <p:sp>
          <p:nvSpPr>
            <p:cNvPr id="15" name="Freeform: Shape 14">
              <a:extLst>
                <a:ext uri="{FF2B5EF4-FFF2-40B4-BE49-F238E27FC236}">
                  <a16:creationId xmlns:a16="http://schemas.microsoft.com/office/drawing/2014/main" id="{80683DF4-0DDA-6167-ADD5-16114CA79F14}"/>
                </a:ext>
              </a:extLst>
            </p:cNvPr>
            <p:cNvSpPr/>
            <p:nvPr/>
          </p:nvSpPr>
          <p:spPr>
            <a:xfrm>
              <a:off x="780711" y="4883471"/>
              <a:ext cx="495280" cy="752552"/>
            </a:xfrm>
            <a:custGeom>
              <a:avLst/>
              <a:gdLst>
                <a:gd name="connsiteX0" fmla="*/ 494617 w 495280"/>
                <a:gd name="connsiteY0" fmla="*/ 229044 h 752552"/>
                <a:gd name="connsiteX1" fmla="*/ 263462 w 495280"/>
                <a:gd name="connsiteY1" fmla="*/ 565 h 752552"/>
                <a:gd name="connsiteX2" fmla="*/ 78075 w 495280"/>
                <a:gd name="connsiteY2" fmla="*/ 67223 h 752552"/>
                <a:gd name="connsiteX3" fmla="*/ 67190 w 495280"/>
                <a:gd name="connsiteY3" fmla="*/ 417343 h 752552"/>
                <a:gd name="connsiteX4" fmla="*/ 109873 w 495280"/>
                <a:gd name="connsiteY4" fmla="*/ 453534 h 752552"/>
                <a:gd name="connsiteX5" fmla="*/ 142394 w 495280"/>
                <a:gd name="connsiteY5" fmla="*/ 506802 h 752552"/>
                <a:gd name="connsiteX6" fmla="*/ 123826 w 495280"/>
                <a:gd name="connsiteY6" fmla="*/ 533472 h 752552"/>
                <a:gd name="connsiteX7" fmla="*/ 123826 w 495280"/>
                <a:gd name="connsiteY7" fmla="*/ 628722 h 752552"/>
                <a:gd name="connsiteX8" fmla="*/ 152401 w 495280"/>
                <a:gd name="connsiteY8" fmla="*/ 657297 h 752552"/>
                <a:gd name="connsiteX9" fmla="*/ 152401 w 495280"/>
                <a:gd name="connsiteY9" fmla="*/ 666822 h 752552"/>
                <a:gd name="connsiteX10" fmla="*/ 200026 w 495280"/>
                <a:gd name="connsiteY10" fmla="*/ 714447 h 752552"/>
                <a:gd name="connsiteX11" fmla="*/ 200989 w 495280"/>
                <a:gd name="connsiteY11" fmla="*/ 714447 h 752552"/>
                <a:gd name="connsiteX12" fmla="*/ 257179 w 495280"/>
                <a:gd name="connsiteY12" fmla="*/ 751580 h 752552"/>
                <a:gd name="connsiteX13" fmla="*/ 294313 w 495280"/>
                <a:gd name="connsiteY13" fmla="*/ 714447 h 752552"/>
                <a:gd name="connsiteX14" fmla="*/ 295276 w 495280"/>
                <a:gd name="connsiteY14" fmla="*/ 714447 h 752552"/>
                <a:gd name="connsiteX15" fmla="*/ 342901 w 495280"/>
                <a:gd name="connsiteY15" fmla="*/ 666822 h 752552"/>
                <a:gd name="connsiteX16" fmla="*/ 342901 w 495280"/>
                <a:gd name="connsiteY16" fmla="*/ 657297 h 752552"/>
                <a:gd name="connsiteX17" fmla="*/ 371476 w 495280"/>
                <a:gd name="connsiteY17" fmla="*/ 628722 h 752552"/>
                <a:gd name="connsiteX18" fmla="*/ 371476 w 495280"/>
                <a:gd name="connsiteY18" fmla="*/ 533472 h 752552"/>
                <a:gd name="connsiteX19" fmla="*/ 352902 w 495280"/>
                <a:gd name="connsiteY19" fmla="*/ 506802 h 752552"/>
                <a:gd name="connsiteX20" fmla="*/ 384875 w 495280"/>
                <a:gd name="connsiteY20" fmla="*/ 453908 h 752552"/>
                <a:gd name="connsiteX21" fmla="*/ 494617 w 495280"/>
                <a:gd name="connsiteY21" fmla="*/ 229044 h 752552"/>
                <a:gd name="connsiteX22" fmla="*/ 228601 w 495280"/>
                <a:gd name="connsiteY22" fmla="*/ 504891 h 752552"/>
                <a:gd name="connsiteX23" fmla="*/ 228601 w 495280"/>
                <a:gd name="connsiteY23" fmla="*/ 362022 h 752552"/>
                <a:gd name="connsiteX24" fmla="*/ 266701 w 495280"/>
                <a:gd name="connsiteY24" fmla="*/ 362022 h 752552"/>
                <a:gd name="connsiteX25" fmla="*/ 266701 w 495280"/>
                <a:gd name="connsiteY25" fmla="*/ 504897 h 752552"/>
                <a:gd name="connsiteX26" fmla="*/ 247651 w 495280"/>
                <a:gd name="connsiteY26" fmla="*/ 733497 h 752552"/>
                <a:gd name="connsiteX27" fmla="*/ 220708 w 495280"/>
                <a:gd name="connsiteY27" fmla="*/ 714447 h 752552"/>
                <a:gd name="connsiteX28" fmla="*/ 274593 w 495280"/>
                <a:gd name="connsiteY28" fmla="*/ 714447 h 752552"/>
                <a:gd name="connsiteX29" fmla="*/ 247651 w 495280"/>
                <a:gd name="connsiteY29" fmla="*/ 733497 h 752552"/>
                <a:gd name="connsiteX30" fmla="*/ 323851 w 495280"/>
                <a:gd name="connsiteY30" fmla="*/ 666822 h 752552"/>
                <a:gd name="connsiteX31" fmla="*/ 295276 w 495280"/>
                <a:gd name="connsiteY31" fmla="*/ 695397 h 752552"/>
                <a:gd name="connsiteX32" fmla="*/ 200026 w 495280"/>
                <a:gd name="connsiteY32" fmla="*/ 695397 h 752552"/>
                <a:gd name="connsiteX33" fmla="*/ 171451 w 495280"/>
                <a:gd name="connsiteY33" fmla="*/ 666822 h 752552"/>
                <a:gd name="connsiteX34" fmla="*/ 171451 w 495280"/>
                <a:gd name="connsiteY34" fmla="*/ 657297 h 752552"/>
                <a:gd name="connsiteX35" fmla="*/ 323851 w 495280"/>
                <a:gd name="connsiteY35" fmla="*/ 657297 h 752552"/>
                <a:gd name="connsiteX36" fmla="*/ 352426 w 495280"/>
                <a:gd name="connsiteY36" fmla="*/ 628722 h 752552"/>
                <a:gd name="connsiteX37" fmla="*/ 342901 w 495280"/>
                <a:gd name="connsiteY37" fmla="*/ 638247 h 752552"/>
                <a:gd name="connsiteX38" fmla="*/ 152401 w 495280"/>
                <a:gd name="connsiteY38" fmla="*/ 638247 h 752552"/>
                <a:gd name="connsiteX39" fmla="*/ 142876 w 495280"/>
                <a:gd name="connsiteY39" fmla="*/ 628722 h 752552"/>
                <a:gd name="connsiteX40" fmla="*/ 142876 w 495280"/>
                <a:gd name="connsiteY40" fmla="*/ 533472 h 752552"/>
                <a:gd name="connsiteX41" fmla="*/ 152401 w 495280"/>
                <a:gd name="connsiteY41" fmla="*/ 523947 h 752552"/>
                <a:gd name="connsiteX42" fmla="*/ 342901 w 495280"/>
                <a:gd name="connsiteY42" fmla="*/ 523947 h 752552"/>
                <a:gd name="connsiteX43" fmla="*/ 352426 w 495280"/>
                <a:gd name="connsiteY43" fmla="*/ 533472 h 752552"/>
                <a:gd name="connsiteX44" fmla="*/ 374304 w 495280"/>
                <a:gd name="connsiteY44" fmla="*/ 438054 h 752552"/>
                <a:gd name="connsiteX45" fmla="*/ 333869 w 495280"/>
                <a:gd name="connsiteY45" fmla="*/ 504897 h 752552"/>
                <a:gd name="connsiteX46" fmla="*/ 285751 w 495280"/>
                <a:gd name="connsiteY46" fmla="*/ 504897 h 752552"/>
                <a:gd name="connsiteX47" fmla="*/ 285751 w 495280"/>
                <a:gd name="connsiteY47" fmla="*/ 362022 h 752552"/>
                <a:gd name="connsiteX48" fmla="*/ 304801 w 495280"/>
                <a:gd name="connsiteY48" fmla="*/ 362022 h 752552"/>
                <a:gd name="connsiteX49" fmla="*/ 342901 w 495280"/>
                <a:gd name="connsiteY49" fmla="*/ 323922 h 752552"/>
                <a:gd name="connsiteX50" fmla="*/ 304801 w 495280"/>
                <a:gd name="connsiteY50" fmla="*/ 285822 h 752552"/>
                <a:gd name="connsiteX51" fmla="*/ 266701 w 495280"/>
                <a:gd name="connsiteY51" fmla="*/ 323922 h 752552"/>
                <a:gd name="connsiteX52" fmla="*/ 266701 w 495280"/>
                <a:gd name="connsiteY52" fmla="*/ 342972 h 752552"/>
                <a:gd name="connsiteX53" fmla="*/ 228601 w 495280"/>
                <a:gd name="connsiteY53" fmla="*/ 342972 h 752552"/>
                <a:gd name="connsiteX54" fmla="*/ 228601 w 495280"/>
                <a:gd name="connsiteY54" fmla="*/ 323922 h 752552"/>
                <a:gd name="connsiteX55" fmla="*/ 190501 w 495280"/>
                <a:gd name="connsiteY55" fmla="*/ 285822 h 752552"/>
                <a:gd name="connsiteX56" fmla="*/ 152401 w 495280"/>
                <a:gd name="connsiteY56" fmla="*/ 323922 h 752552"/>
                <a:gd name="connsiteX57" fmla="*/ 190501 w 495280"/>
                <a:gd name="connsiteY57" fmla="*/ 362022 h 752552"/>
                <a:gd name="connsiteX58" fmla="*/ 209551 w 495280"/>
                <a:gd name="connsiteY58" fmla="*/ 362022 h 752552"/>
                <a:gd name="connsiteX59" fmla="*/ 209551 w 495280"/>
                <a:gd name="connsiteY59" fmla="*/ 504890 h 752552"/>
                <a:gd name="connsiteX60" fmla="*/ 161424 w 495280"/>
                <a:gd name="connsiteY60" fmla="*/ 504890 h 752552"/>
                <a:gd name="connsiteX61" fmla="*/ 120486 w 495280"/>
                <a:gd name="connsiteY61" fmla="*/ 437723 h 752552"/>
                <a:gd name="connsiteX62" fmla="*/ 57644 w 495280"/>
                <a:gd name="connsiteY62" fmla="*/ 120562 h 752552"/>
                <a:gd name="connsiteX63" fmla="*/ 374805 w 495280"/>
                <a:gd name="connsiteY63" fmla="*/ 57719 h 752552"/>
                <a:gd name="connsiteX64" fmla="*/ 437647 w 495280"/>
                <a:gd name="connsiteY64" fmla="*/ 374880 h 752552"/>
                <a:gd name="connsiteX65" fmla="*/ 374304 w 495280"/>
                <a:gd name="connsiteY65" fmla="*/ 438057 h 752552"/>
                <a:gd name="connsiteX66" fmla="*/ 285751 w 495280"/>
                <a:gd name="connsiteY66" fmla="*/ 323922 h 752552"/>
                <a:gd name="connsiteX67" fmla="*/ 304801 w 495280"/>
                <a:gd name="connsiteY67" fmla="*/ 304872 h 752552"/>
                <a:gd name="connsiteX68" fmla="*/ 323851 w 495280"/>
                <a:gd name="connsiteY68" fmla="*/ 323922 h 752552"/>
                <a:gd name="connsiteX69" fmla="*/ 304801 w 495280"/>
                <a:gd name="connsiteY69" fmla="*/ 342972 h 752552"/>
                <a:gd name="connsiteX70" fmla="*/ 285751 w 495280"/>
                <a:gd name="connsiteY70" fmla="*/ 342972 h 752552"/>
                <a:gd name="connsiteX71" fmla="*/ 190501 w 495280"/>
                <a:gd name="connsiteY71" fmla="*/ 342972 h 752552"/>
                <a:gd name="connsiteX72" fmla="*/ 171451 w 495280"/>
                <a:gd name="connsiteY72" fmla="*/ 323922 h 752552"/>
                <a:gd name="connsiteX73" fmla="*/ 190501 w 495280"/>
                <a:gd name="connsiteY73" fmla="*/ 304872 h 752552"/>
                <a:gd name="connsiteX74" fmla="*/ 209551 w 495280"/>
                <a:gd name="connsiteY74" fmla="*/ 323922 h 752552"/>
                <a:gd name="connsiteX75" fmla="*/ 209551 w 495280"/>
                <a:gd name="connsiteY75" fmla="*/ 342972 h 75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95280" h="752552">
                  <a:moveTo>
                    <a:pt x="494617" y="229044"/>
                  </a:moveTo>
                  <a:cubicBezTo>
                    <a:pt x="485160" y="105972"/>
                    <a:pt x="386636" y="8588"/>
                    <a:pt x="263462" y="565"/>
                  </a:cubicBezTo>
                  <a:cubicBezTo>
                    <a:pt x="195069" y="-4081"/>
                    <a:pt x="127850" y="20088"/>
                    <a:pt x="78075" y="67223"/>
                  </a:cubicBezTo>
                  <a:cubicBezTo>
                    <a:pt x="-21614" y="160900"/>
                    <a:pt x="-26487" y="317654"/>
                    <a:pt x="67190" y="417343"/>
                  </a:cubicBezTo>
                  <a:cubicBezTo>
                    <a:pt x="80005" y="430980"/>
                    <a:pt x="94324" y="443121"/>
                    <a:pt x="109873" y="453534"/>
                  </a:cubicBezTo>
                  <a:cubicBezTo>
                    <a:pt x="128066" y="465599"/>
                    <a:pt x="139976" y="485106"/>
                    <a:pt x="142394" y="506802"/>
                  </a:cubicBezTo>
                  <a:cubicBezTo>
                    <a:pt x="131254" y="510957"/>
                    <a:pt x="123857" y="521582"/>
                    <a:pt x="123826" y="533472"/>
                  </a:cubicBezTo>
                  <a:lnTo>
                    <a:pt x="123826" y="628722"/>
                  </a:lnTo>
                  <a:cubicBezTo>
                    <a:pt x="123843" y="644496"/>
                    <a:pt x="136626" y="657279"/>
                    <a:pt x="152401" y="657297"/>
                  </a:cubicBezTo>
                  <a:lnTo>
                    <a:pt x="152401" y="666822"/>
                  </a:lnTo>
                  <a:cubicBezTo>
                    <a:pt x="152432" y="693111"/>
                    <a:pt x="173736" y="714416"/>
                    <a:pt x="200026" y="714447"/>
                  </a:cubicBezTo>
                  <a:lnTo>
                    <a:pt x="200989" y="714447"/>
                  </a:lnTo>
                  <a:cubicBezTo>
                    <a:pt x="206251" y="740217"/>
                    <a:pt x="231409" y="756843"/>
                    <a:pt x="257179" y="751580"/>
                  </a:cubicBezTo>
                  <a:cubicBezTo>
                    <a:pt x="275880" y="747761"/>
                    <a:pt x="290494" y="733147"/>
                    <a:pt x="294313" y="714447"/>
                  </a:cubicBezTo>
                  <a:lnTo>
                    <a:pt x="295276" y="714447"/>
                  </a:lnTo>
                  <a:cubicBezTo>
                    <a:pt x="321565" y="714416"/>
                    <a:pt x="342870" y="693111"/>
                    <a:pt x="342901" y="666822"/>
                  </a:cubicBezTo>
                  <a:lnTo>
                    <a:pt x="342901" y="657297"/>
                  </a:lnTo>
                  <a:cubicBezTo>
                    <a:pt x="358675" y="657279"/>
                    <a:pt x="371458" y="644496"/>
                    <a:pt x="371476" y="628722"/>
                  </a:cubicBezTo>
                  <a:lnTo>
                    <a:pt x="371476" y="533472"/>
                  </a:lnTo>
                  <a:cubicBezTo>
                    <a:pt x="371444" y="521581"/>
                    <a:pt x="364044" y="510955"/>
                    <a:pt x="352902" y="506802"/>
                  </a:cubicBezTo>
                  <a:cubicBezTo>
                    <a:pt x="355141" y="485286"/>
                    <a:pt x="366865" y="465891"/>
                    <a:pt x="384875" y="453908"/>
                  </a:cubicBezTo>
                  <a:cubicBezTo>
                    <a:pt x="459233" y="404144"/>
                    <a:pt x="501138" y="318280"/>
                    <a:pt x="494617" y="229044"/>
                  </a:cubicBezTo>
                  <a:close/>
                  <a:moveTo>
                    <a:pt x="228601" y="504891"/>
                  </a:moveTo>
                  <a:lnTo>
                    <a:pt x="228601" y="362022"/>
                  </a:lnTo>
                  <a:lnTo>
                    <a:pt x="266701" y="362022"/>
                  </a:lnTo>
                  <a:lnTo>
                    <a:pt x="266701" y="504897"/>
                  </a:lnTo>
                  <a:close/>
                  <a:moveTo>
                    <a:pt x="247651" y="733497"/>
                  </a:moveTo>
                  <a:cubicBezTo>
                    <a:pt x="235545" y="733483"/>
                    <a:pt x="224757" y="725855"/>
                    <a:pt x="220708" y="714447"/>
                  </a:cubicBezTo>
                  <a:lnTo>
                    <a:pt x="274593" y="714447"/>
                  </a:lnTo>
                  <a:cubicBezTo>
                    <a:pt x="270544" y="725855"/>
                    <a:pt x="259756" y="733483"/>
                    <a:pt x="247651" y="733497"/>
                  </a:cubicBezTo>
                  <a:close/>
                  <a:moveTo>
                    <a:pt x="323851" y="666822"/>
                  </a:moveTo>
                  <a:cubicBezTo>
                    <a:pt x="323833" y="682596"/>
                    <a:pt x="311050" y="695379"/>
                    <a:pt x="295276" y="695397"/>
                  </a:cubicBezTo>
                  <a:lnTo>
                    <a:pt x="200026" y="695397"/>
                  </a:lnTo>
                  <a:cubicBezTo>
                    <a:pt x="184251" y="695379"/>
                    <a:pt x="171468" y="682596"/>
                    <a:pt x="171451" y="666822"/>
                  </a:cubicBezTo>
                  <a:lnTo>
                    <a:pt x="171451" y="657297"/>
                  </a:lnTo>
                  <a:lnTo>
                    <a:pt x="323851" y="657297"/>
                  </a:lnTo>
                  <a:close/>
                  <a:moveTo>
                    <a:pt x="352426" y="628722"/>
                  </a:moveTo>
                  <a:cubicBezTo>
                    <a:pt x="352421" y="633980"/>
                    <a:pt x="348159" y="638242"/>
                    <a:pt x="342901" y="638247"/>
                  </a:cubicBezTo>
                  <a:lnTo>
                    <a:pt x="152401" y="638247"/>
                  </a:lnTo>
                  <a:cubicBezTo>
                    <a:pt x="147142" y="638242"/>
                    <a:pt x="142880" y="633980"/>
                    <a:pt x="142876" y="628722"/>
                  </a:cubicBezTo>
                  <a:lnTo>
                    <a:pt x="142876" y="533472"/>
                  </a:lnTo>
                  <a:cubicBezTo>
                    <a:pt x="142880" y="528213"/>
                    <a:pt x="147142" y="523951"/>
                    <a:pt x="152401" y="523947"/>
                  </a:cubicBezTo>
                  <a:lnTo>
                    <a:pt x="342901" y="523947"/>
                  </a:lnTo>
                  <a:cubicBezTo>
                    <a:pt x="348159" y="523951"/>
                    <a:pt x="352421" y="528213"/>
                    <a:pt x="352426" y="533472"/>
                  </a:cubicBezTo>
                  <a:close/>
                  <a:moveTo>
                    <a:pt x="374304" y="438054"/>
                  </a:moveTo>
                  <a:cubicBezTo>
                    <a:pt x="351528" y="453186"/>
                    <a:pt x="336699" y="477699"/>
                    <a:pt x="333869" y="504897"/>
                  </a:cubicBezTo>
                  <a:lnTo>
                    <a:pt x="285751" y="504897"/>
                  </a:lnTo>
                  <a:lnTo>
                    <a:pt x="285751" y="362022"/>
                  </a:lnTo>
                  <a:lnTo>
                    <a:pt x="304801" y="362022"/>
                  </a:lnTo>
                  <a:cubicBezTo>
                    <a:pt x="325843" y="362022"/>
                    <a:pt x="342901" y="344964"/>
                    <a:pt x="342901" y="323922"/>
                  </a:cubicBezTo>
                  <a:cubicBezTo>
                    <a:pt x="342901" y="302880"/>
                    <a:pt x="325843" y="285822"/>
                    <a:pt x="304801" y="285822"/>
                  </a:cubicBezTo>
                  <a:cubicBezTo>
                    <a:pt x="283759" y="285822"/>
                    <a:pt x="266701" y="302880"/>
                    <a:pt x="266701" y="323922"/>
                  </a:cubicBezTo>
                  <a:lnTo>
                    <a:pt x="266701" y="342972"/>
                  </a:lnTo>
                  <a:lnTo>
                    <a:pt x="228601" y="342972"/>
                  </a:lnTo>
                  <a:lnTo>
                    <a:pt x="228601" y="323922"/>
                  </a:lnTo>
                  <a:cubicBezTo>
                    <a:pt x="228601" y="302880"/>
                    <a:pt x="211543" y="285822"/>
                    <a:pt x="190501" y="285822"/>
                  </a:cubicBezTo>
                  <a:cubicBezTo>
                    <a:pt x="169459" y="285822"/>
                    <a:pt x="152401" y="302880"/>
                    <a:pt x="152401" y="323922"/>
                  </a:cubicBezTo>
                  <a:cubicBezTo>
                    <a:pt x="152401" y="344964"/>
                    <a:pt x="169459" y="362022"/>
                    <a:pt x="190501" y="362022"/>
                  </a:cubicBezTo>
                  <a:lnTo>
                    <a:pt x="209551" y="362022"/>
                  </a:lnTo>
                  <a:lnTo>
                    <a:pt x="209551" y="504890"/>
                  </a:lnTo>
                  <a:lnTo>
                    <a:pt x="161424" y="504890"/>
                  </a:lnTo>
                  <a:cubicBezTo>
                    <a:pt x="158415" y="477537"/>
                    <a:pt x="143419" y="452932"/>
                    <a:pt x="120486" y="437723"/>
                  </a:cubicBezTo>
                  <a:cubicBezTo>
                    <a:pt x="15551" y="367494"/>
                    <a:pt x="-12584" y="225497"/>
                    <a:pt x="57644" y="120562"/>
                  </a:cubicBezTo>
                  <a:cubicBezTo>
                    <a:pt x="127872" y="15626"/>
                    <a:pt x="269870" y="-12509"/>
                    <a:pt x="374805" y="57719"/>
                  </a:cubicBezTo>
                  <a:cubicBezTo>
                    <a:pt x="479740" y="127947"/>
                    <a:pt x="507875" y="269945"/>
                    <a:pt x="437647" y="374880"/>
                  </a:cubicBezTo>
                  <a:cubicBezTo>
                    <a:pt x="420899" y="399905"/>
                    <a:pt x="399373" y="421375"/>
                    <a:pt x="374304" y="438057"/>
                  </a:cubicBezTo>
                  <a:close/>
                  <a:moveTo>
                    <a:pt x="285751" y="323922"/>
                  </a:moveTo>
                  <a:cubicBezTo>
                    <a:pt x="285751" y="313401"/>
                    <a:pt x="294280" y="304872"/>
                    <a:pt x="304801" y="304872"/>
                  </a:cubicBezTo>
                  <a:cubicBezTo>
                    <a:pt x="315322" y="304872"/>
                    <a:pt x="323851" y="313401"/>
                    <a:pt x="323851" y="323922"/>
                  </a:cubicBezTo>
                  <a:cubicBezTo>
                    <a:pt x="323851" y="334443"/>
                    <a:pt x="315322" y="342972"/>
                    <a:pt x="304801" y="342972"/>
                  </a:cubicBezTo>
                  <a:lnTo>
                    <a:pt x="285751" y="342972"/>
                  </a:lnTo>
                  <a:close/>
                  <a:moveTo>
                    <a:pt x="190501" y="342972"/>
                  </a:moveTo>
                  <a:cubicBezTo>
                    <a:pt x="179980" y="342972"/>
                    <a:pt x="171451" y="334443"/>
                    <a:pt x="171451" y="323922"/>
                  </a:cubicBezTo>
                  <a:cubicBezTo>
                    <a:pt x="171451" y="313401"/>
                    <a:pt x="179980" y="304872"/>
                    <a:pt x="190501" y="304872"/>
                  </a:cubicBezTo>
                  <a:cubicBezTo>
                    <a:pt x="201022" y="304872"/>
                    <a:pt x="209551" y="313401"/>
                    <a:pt x="209551" y="323922"/>
                  </a:cubicBezTo>
                  <a:lnTo>
                    <a:pt x="209551" y="342972"/>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2F32B7EC-D9FA-4A02-F29E-611CC66EB517}"/>
                </a:ext>
              </a:extLst>
            </p:cNvPr>
            <p:cNvSpPr/>
            <p:nvPr/>
          </p:nvSpPr>
          <p:spPr>
            <a:xfrm>
              <a:off x="952162" y="5435993"/>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4" y="0"/>
                    <a:pt x="0" y="4264"/>
                    <a:pt x="0" y="9525"/>
                  </a:cubicBezTo>
                  <a:cubicBezTo>
                    <a:pt x="0" y="14786"/>
                    <a:pt x="4264" y="19050"/>
                    <a:pt x="9525" y="19050"/>
                  </a:cubicBezTo>
                  <a:lnTo>
                    <a:pt x="142875" y="19050"/>
                  </a:lnTo>
                  <a:cubicBezTo>
                    <a:pt x="148136" y="19050"/>
                    <a:pt x="152400" y="14786"/>
                    <a:pt x="152400" y="9525"/>
                  </a:cubicBezTo>
                  <a:cubicBezTo>
                    <a:pt x="152400" y="4264"/>
                    <a:pt x="148136" y="0"/>
                    <a:pt x="142875" y="0"/>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CC3D0B02-6630-85E9-6189-D968135DBF30}"/>
                </a:ext>
              </a:extLst>
            </p:cNvPr>
            <p:cNvSpPr/>
            <p:nvPr/>
          </p:nvSpPr>
          <p:spPr>
            <a:xfrm>
              <a:off x="952162" y="5474093"/>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4" y="0"/>
                    <a:pt x="0" y="4264"/>
                    <a:pt x="0" y="9525"/>
                  </a:cubicBezTo>
                  <a:cubicBezTo>
                    <a:pt x="0" y="14786"/>
                    <a:pt x="4264" y="19050"/>
                    <a:pt x="9525" y="19050"/>
                  </a:cubicBezTo>
                  <a:lnTo>
                    <a:pt x="142875" y="19050"/>
                  </a:lnTo>
                  <a:cubicBezTo>
                    <a:pt x="148136" y="19050"/>
                    <a:pt x="152400" y="14786"/>
                    <a:pt x="152400" y="9525"/>
                  </a:cubicBezTo>
                  <a:cubicBezTo>
                    <a:pt x="152400" y="4264"/>
                    <a:pt x="148136" y="0"/>
                    <a:pt x="142875" y="0"/>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2895C0C0-473A-DD92-E9C2-2439190C6703}"/>
                </a:ext>
              </a:extLst>
            </p:cNvPr>
            <p:cNvSpPr/>
            <p:nvPr/>
          </p:nvSpPr>
          <p:spPr>
            <a:xfrm>
              <a:off x="1018837" y="4721618"/>
              <a:ext cx="19050" cy="85725"/>
            </a:xfrm>
            <a:custGeom>
              <a:avLst/>
              <a:gdLst>
                <a:gd name="connsiteX0" fmla="*/ 9525 w 19050"/>
                <a:gd name="connsiteY0" fmla="*/ 85725 h 85725"/>
                <a:gd name="connsiteX1" fmla="*/ 19050 w 19050"/>
                <a:gd name="connsiteY1" fmla="*/ 76200 h 85725"/>
                <a:gd name="connsiteX2" fmla="*/ 19050 w 19050"/>
                <a:gd name="connsiteY2" fmla="*/ 9525 h 85725"/>
                <a:gd name="connsiteX3" fmla="*/ 9525 w 19050"/>
                <a:gd name="connsiteY3" fmla="*/ 0 h 85725"/>
                <a:gd name="connsiteX4" fmla="*/ 0 w 19050"/>
                <a:gd name="connsiteY4" fmla="*/ 9525 h 85725"/>
                <a:gd name="connsiteX5" fmla="*/ 0 w 19050"/>
                <a:gd name="connsiteY5" fmla="*/ 76200 h 85725"/>
                <a:gd name="connsiteX6" fmla="*/ 9525 w 19050"/>
                <a:gd name="connsiteY6" fmla="*/ 8572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5725">
                  <a:moveTo>
                    <a:pt x="9525" y="85725"/>
                  </a:moveTo>
                  <a:cubicBezTo>
                    <a:pt x="14786" y="85725"/>
                    <a:pt x="19050" y="81461"/>
                    <a:pt x="19050" y="76200"/>
                  </a:cubicBezTo>
                  <a:lnTo>
                    <a:pt x="19050" y="9525"/>
                  </a:lnTo>
                  <a:cubicBezTo>
                    <a:pt x="19050" y="4264"/>
                    <a:pt x="14786" y="0"/>
                    <a:pt x="9525" y="0"/>
                  </a:cubicBezTo>
                  <a:cubicBezTo>
                    <a:pt x="4264" y="0"/>
                    <a:pt x="0" y="4264"/>
                    <a:pt x="0" y="9525"/>
                  </a:cubicBezTo>
                  <a:lnTo>
                    <a:pt x="0" y="76200"/>
                  </a:lnTo>
                  <a:cubicBezTo>
                    <a:pt x="0" y="81461"/>
                    <a:pt x="4264" y="85725"/>
                    <a:pt x="9525" y="85725"/>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9714EADB-4104-AD3C-A917-21F2468E8085}"/>
                </a:ext>
              </a:extLst>
            </p:cNvPr>
            <p:cNvSpPr/>
            <p:nvPr/>
          </p:nvSpPr>
          <p:spPr>
            <a:xfrm>
              <a:off x="1254478" y="4838706"/>
              <a:ext cx="66369" cy="66361"/>
            </a:xfrm>
            <a:custGeom>
              <a:avLst/>
              <a:gdLst>
                <a:gd name="connsiteX0" fmla="*/ 50024 w 66369"/>
                <a:gd name="connsiteY0" fmla="*/ 2876 h 66361"/>
                <a:gd name="connsiteX1" fmla="*/ 2876 w 66369"/>
                <a:gd name="connsiteY1" fmla="*/ 50017 h 66361"/>
                <a:gd name="connsiteX2" fmla="*/ 2705 w 66369"/>
                <a:gd name="connsiteY2" fmla="*/ 63486 h 66361"/>
                <a:gd name="connsiteX3" fmla="*/ 16174 w 66369"/>
                <a:gd name="connsiteY3" fmla="*/ 63657 h 66361"/>
                <a:gd name="connsiteX4" fmla="*/ 16345 w 66369"/>
                <a:gd name="connsiteY4" fmla="*/ 63486 h 66361"/>
                <a:gd name="connsiteX5" fmla="*/ 63494 w 66369"/>
                <a:gd name="connsiteY5" fmla="*/ 16345 h 66361"/>
                <a:gd name="connsiteX6" fmla="*/ 63664 w 66369"/>
                <a:gd name="connsiteY6" fmla="*/ 2876 h 66361"/>
                <a:gd name="connsiteX7" fmla="*/ 50195 w 66369"/>
                <a:gd name="connsiteY7" fmla="*/ 2705 h 66361"/>
                <a:gd name="connsiteX8" fmla="*/ 50024 w 66369"/>
                <a:gd name="connsiteY8" fmla="*/ 2876 h 6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369" h="66361">
                  <a:moveTo>
                    <a:pt x="50024" y="2876"/>
                  </a:moveTo>
                  <a:lnTo>
                    <a:pt x="2876" y="50017"/>
                  </a:lnTo>
                  <a:cubicBezTo>
                    <a:pt x="-891" y="53689"/>
                    <a:pt x="-967" y="59720"/>
                    <a:pt x="2705" y="63486"/>
                  </a:cubicBezTo>
                  <a:cubicBezTo>
                    <a:pt x="6377" y="67253"/>
                    <a:pt x="12408" y="67329"/>
                    <a:pt x="16174" y="63657"/>
                  </a:cubicBezTo>
                  <a:cubicBezTo>
                    <a:pt x="16232" y="63601"/>
                    <a:pt x="16289" y="63544"/>
                    <a:pt x="16345" y="63486"/>
                  </a:cubicBezTo>
                  <a:lnTo>
                    <a:pt x="63494" y="16345"/>
                  </a:lnTo>
                  <a:cubicBezTo>
                    <a:pt x="67260" y="12673"/>
                    <a:pt x="67337" y="6642"/>
                    <a:pt x="63664" y="2876"/>
                  </a:cubicBezTo>
                  <a:cubicBezTo>
                    <a:pt x="59992" y="-891"/>
                    <a:pt x="53962" y="-967"/>
                    <a:pt x="50195" y="2705"/>
                  </a:cubicBezTo>
                  <a:cubicBezTo>
                    <a:pt x="50137" y="2761"/>
                    <a:pt x="50081" y="2818"/>
                    <a:pt x="50024" y="2876"/>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6840B187-C823-E3CC-7584-F081767E5848}"/>
                </a:ext>
              </a:extLst>
            </p:cNvPr>
            <p:cNvSpPr/>
            <p:nvPr/>
          </p:nvSpPr>
          <p:spPr>
            <a:xfrm>
              <a:off x="1352212" y="5121668"/>
              <a:ext cx="85725" cy="19050"/>
            </a:xfrm>
            <a:custGeom>
              <a:avLst/>
              <a:gdLst>
                <a:gd name="connsiteX0" fmla="*/ 76200 w 85725"/>
                <a:gd name="connsiteY0" fmla="*/ 0 h 19050"/>
                <a:gd name="connsiteX1" fmla="*/ 9525 w 85725"/>
                <a:gd name="connsiteY1" fmla="*/ 0 h 19050"/>
                <a:gd name="connsiteX2" fmla="*/ 0 w 85725"/>
                <a:gd name="connsiteY2" fmla="*/ 9525 h 19050"/>
                <a:gd name="connsiteX3" fmla="*/ 9525 w 85725"/>
                <a:gd name="connsiteY3" fmla="*/ 19050 h 19050"/>
                <a:gd name="connsiteX4" fmla="*/ 76200 w 85725"/>
                <a:gd name="connsiteY4" fmla="*/ 19050 h 19050"/>
                <a:gd name="connsiteX5" fmla="*/ 85725 w 85725"/>
                <a:gd name="connsiteY5" fmla="*/ 9525 h 19050"/>
                <a:gd name="connsiteX6" fmla="*/ 76200 w 85725"/>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25" h="19050">
                  <a:moveTo>
                    <a:pt x="76200" y="0"/>
                  </a:moveTo>
                  <a:lnTo>
                    <a:pt x="9525" y="0"/>
                  </a:lnTo>
                  <a:cubicBezTo>
                    <a:pt x="4264" y="0"/>
                    <a:pt x="0" y="4264"/>
                    <a:pt x="0" y="9525"/>
                  </a:cubicBezTo>
                  <a:cubicBezTo>
                    <a:pt x="0" y="14786"/>
                    <a:pt x="4264" y="19050"/>
                    <a:pt x="9525" y="19050"/>
                  </a:cubicBezTo>
                  <a:lnTo>
                    <a:pt x="76200" y="19050"/>
                  </a:lnTo>
                  <a:cubicBezTo>
                    <a:pt x="81461" y="19050"/>
                    <a:pt x="85725" y="14786"/>
                    <a:pt x="85725" y="9525"/>
                  </a:cubicBezTo>
                  <a:cubicBezTo>
                    <a:pt x="85725" y="4264"/>
                    <a:pt x="81461" y="0"/>
                    <a:pt x="76200" y="0"/>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61F4D53C-2365-A43D-0540-FEA6914DB78C}"/>
                </a:ext>
              </a:extLst>
            </p:cNvPr>
            <p:cNvSpPr/>
            <p:nvPr/>
          </p:nvSpPr>
          <p:spPr>
            <a:xfrm>
              <a:off x="1254652" y="5357488"/>
              <a:ext cx="66028" cy="66020"/>
            </a:xfrm>
            <a:custGeom>
              <a:avLst/>
              <a:gdLst>
                <a:gd name="connsiteX0" fmla="*/ 16174 w 66028"/>
                <a:gd name="connsiteY0" fmla="*/ 2705 h 66020"/>
                <a:gd name="connsiteX1" fmla="*/ 2705 w 66028"/>
                <a:gd name="connsiteY1" fmla="*/ 2876 h 66020"/>
                <a:gd name="connsiteX2" fmla="*/ 2705 w 66028"/>
                <a:gd name="connsiteY2" fmla="*/ 16174 h 66020"/>
                <a:gd name="connsiteX3" fmla="*/ 49854 w 66028"/>
                <a:gd name="connsiteY3" fmla="*/ 63315 h 66020"/>
                <a:gd name="connsiteX4" fmla="*/ 63323 w 66028"/>
                <a:gd name="connsiteY4" fmla="*/ 63145 h 66020"/>
                <a:gd name="connsiteX5" fmla="*/ 63323 w 66028"/>
                <a:gd name="connsiteY5" fmla="*/ 49846 h 66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28" h="66020">
                  <a:moveTo>
                    <a:pt x="16174" y="2705"/>
                  </a:moveTo>
                  <a:cubicBezTo>
                    <a:pt x="12408" y="-967"/>
                    <a:pt x="6377" y="-891"/>
                    <a:pt x="2705" y="2876"/>
                  </a:cubicBezTo>
                  <a:cubicBezTo>
                    <a:pt x="-902" y="6575"/>
                    <a:pt x="-902" y="12475"/>
                    <a:pt x="2705" y="16174"/>
                  </a:cubicBezTo>
                  <a:lnTo>
                    <a:pt x="49854" y="63315"/>
                  </a:lnTo>
                  <a:cubicBezTo>
                    <a:pt x="53620" y="66988"/>
                    <a:pt x="59651" y="66911"/>
                    <a:pt x="63323" y="63145"/>
                  </a:cubicBezTo>
                  <a:cubicBezTo>
                    <a:pt x="66930" y="59445"/>
                    <a:pt x="66930" y="53545"/>
                    <a:pt x="63323" y="49846"/>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0892C961-7833-63E0-BEBC-135949952958}"/>
                </a:ext>
              </a:extLst>
            </p:cNvPr>
            <p:cNvSpPr/>
            <p:nvPr/>
          </p:nvSpPr>
          <p:spPr>
            <a:xfrm>
              <a:off x="735872" y="5357488"/>
              <a:ext cx="66198" cy="66191"/>
            </a:xfrm>
            <a:custGeom>
              <a:avLst/>
              <a:gdLst>
                <a:gd name="connsiteX0" fmla="*/ 50024 w 66198"/>
                <a:gd name="connsiteY0" fmla="*/ 2705 h 66191"/>
                <a:gd name="connsiteX1" fmla="*/ 2876 w 66198"/>
                <a:gd name="connsiteY1" fmla="*/ 49846 h 66191"/>
                <a:gd name="connsiteX2" fmla="*/ 2705 w 66198"/>
                <a:gd name="connsiteY2" fmla="*/ 63315 h 66191"/>
                <a:gd name="connsiteX3" fmla="*/ 16174 w 66198"/>
                <a:gd name="connsiteY3" fmla="*/ 63486 h 66191"/>
                <a:gd name="connsiteX4" fmla="*/ 16345 w 66198"/>
                <a:gd name="connsiteY4" fmla="*/ 63315 h 66191"/>
                <a:gd name="connsiteX5" fmla="*/ 63494 w 66198"/>
                <a:gd name="connsiteY5" fmla="*/ 16174 h 66191"/>
                <a:gd name="connsiteX6" fmla="*/ 63323 w 66198"/>
                <a:gd name="connsiteY6" fmla="*/ 2705 h 66191"/>
                <a:gd name="connsiteX7" fmla="*/ 50024 w 66198"/>
                <a:gd name="connsiteY7" fmla="*/ 2705 h 66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198" h="66191">
                  <a:moveTo>
                    <a:pt x="50024" y="2705"/>
                  </a:moveTo>
                  <a:lnTo>
                    <a:pt x="2876" y="49846"/>
                  </a:lnTo>
                  <a:cubicBezTo>
                    <a:pt x="-891" y="53518"/>
                    <a:pt x="-967" y="59549"/>
                    <a:pt x="2705" y="63315"/>
                  </a:cubicBezTo>
                  <a:cubicBezTo>
                    <a:pt x="6377" y="67082"/>
                    <a:pt x="12408" y="67158"/>
                    <a:pt x="16174" y="63486"/>
                  </a:cubicBezTo>
                  <a:cubicBezTo>
                    <a:pt x="16232" y="63430"/>
                    <a:pt x="16289" y="63373"/>
                    <a:pt x="16345" y="63315"/>
                  </a:cubicBezTo>
                  <a:lnTo>
                    <a:pt x="63494" y="16174"/>
                  </a:lnTo>
                  <a:cubicBezTo>
                    <a:pt x="67166" y="12408"/>
                    <a:pt x="67090" y="6377"/>
                    <a:pt x="63323" y="2705"/>
                  </a:cubicBezTo>
                  <a:cubicBezTo>
                    <a:pt x="59624" y="-902"/>
                    <a:pt x="53724" y="-902"/>
                    <a:pt x="50024" y="2705"/>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3C47F9BD-3296-2CF9-F715-1468D81D9BF6}"/>
                </a:ext>
              </a:extLst>
            </p:cNvPr>
            <p:cNvSpPr/>
            <p:nvPr/>
          </p:nvSpPr>
          <p:spPr>
            <a:xfrm>
              <a:off x="618787" y="5121668"/>
              <a:ext cx="85725" cy="19050"/>
            </a:xfrm>
            <a:custGeom>
              <a:avLst/>
              <a:gdLst>
                <a:gd name="connsiteX0" fmla="*/ 76200 w 85725"/>
                <a:gd name="connsiteY0" fmla="*/ 0 h 19050"/>
                <a:gd name="connsiteX1" fmla="*/ 9525 w 85725"/>
                <a:gd name="connsiteY1" fmla="*/ 0 h 19050"/>
                <a:gd name="connsiteX2" fmla="*/ 0 w 85725"/>
                <a:gd name="connsiteY2" fmla="*/ 9525 h 19050"/>
                <a:gd name="connsiteX3" fmla="*/ 9525 w 85725"/>
                <a:gd name="connsiteY3" fmla="*/ 19050 h 19050"/>
                <a:gd name="connsiteX4" fmla="*/ 76200 w 85725"/>
                <a:gd name="connsiteY4" fmla="*/ 19050 h 19050"/>
                <a:gd name="connsiteX5" fmla="*/ 85725 w 85725"/>
                <a:gd name="connsiteY5" fmla="*/ 9525 h 19050"/>
                <a:gd name="connsiteX6" fmla="*/ 76200 w 85725"/>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25" h="19050">
                  <a:moveTo>
                    <a:pt x="76200" y="0"/>
                  </a:moveTo>
                  <a:lnTo>
                    <a:pt x="9525" y="0"/>
                  </a:lnTo>
                  <a:cubicBezTo>
                    <a:pt x="4264" y="0"/>
                    <a:pt x="0" y="4264"/>
                    <a:pt x="0" y="9525"/>
                  </a:cubicBezTo>
                  <a:cubicBezTo>
                    <a:pt x="0" y="14786"/>
                    <a:pt x="4264" y="19050"/>
                    <a:pt x="9525" y="19050"/>
                  </a:cubicBezTo>
                  <a:lnTo>
                    <a:pt x="76200" y="19050"/>
                  </a:lnTo>
                  <a:cubicBezTo>
                    <a:pt x="81461" y="19050"/>
                    <a:pt x="85725" y="14786"/>
                    <a:pt x="85725" y="9525"/>
                  </a:cubicBezTo>
                  <a:cubicBezTo>
                    <a:pt x="85725" y="4264"/>
                    <a:pt x="81461" y="0"/>
                    <a:pt x="76200" y="0"/>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F70D728D-11A2-8FB2-CF25-B6995B64EF4D}"/>
                </a:ext>
              </a:extLst>
            </p:cNvPr>
            <p:cNvSpPr/>
            <p:nvPr/>
          </p:nvSpPr>
          <p:spPr>
            <a:xfrm>
              <a:off x="735872" y="4838706"/>
              <a:ext cx="66369" cy="66361"/>
            </a:xfrm>
            <a:custGeom>
              <a:avLst/>
              <a:gdLst>
                <a:gd name="connsiteX0" fmla="*/ 50024 w 66369"/>
                <a:gd name="connsiteY0" fmla="*/ 63486 h 66361"/>
                <a:gd name="connsiteX1" fmla="*/ 63494 w 66369"/>
                <a:gd name="connsiteY1" fmla="*/ 63657 h 66361"/>
                <a:gd name="connsiteX2" fmla="*/ 63664 w 66369"/>
                <a:gd name="connsiteY2" fmla="*/ 50188 h 66361"/>
                <a:gd name="connsiteX3" fmla="*/ 63494 w 66369"/>
                <a:gd name="connsiteY3" fmla="*/ 50017 h 66361"/>
                <a:gd name="connsiteX4" fmla="*/ 16345 w 66369"/>
                <a:gd name="connsiteY4" fmla="*/ 2876 h 66361"/>
                <a:gd name="connsiteX5" fmla="*/ 2876 w 66369"/>
                <a:gd name="connsiteY5" fmla="*/ 2705 h 66361"/>
                <a:gd name="connsiteX6" fmla="*/ 2705 w 66369"/>
                <a:gd name="connsiteY6" fmla="*/ 16174 h 66361"/>
                <a:gd name="connsiteX7" fmla="*/ 2876 w 66369"/>
                <a:gd name="connsiteY7" fmla="*/ 16345 h 6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69" h="66361">
                  <a:moveTo>
                    <a:pt x="50024" y="63486"/>
                  </a:moveTo>
                  <a:cubicBezTo>
                    <a:pt x="53697" y="67253"/>
                    <a:pt x="59727" y="67329"/>
                    <a:pt x="63494" y="63657"/>
                  </a:cubicBezTo>
                  <a:cubicBezTo>
                    <a:pt x="67260" y="59985"/>
                    <a:pt x="67337" y="53954"/>
                    <a:pt x="63664" y="50188"/>
                  </a:cubicBezTo>
                  <a:cubicBezTo>
                    <a:pt x="63608" y="50130"/>
                    <a:pt x="63551" y="50073"/>
                    <a:pt x="63494" y="50017"/>
                  </a:cubicBezTo>
                  <a:lnTo>
                    <a:pt x="16345" y="2876"/>
                  </a:lnTo>
                  <a:cubicBezTo>
                    <a:pt x="12673" y="-891"/>
                    <a:pt x="6642" y="-967"/>
                    <a:pt x="2876" y="2705"/>
                  </a:cubicBezTo>
                  <a:cubicBezTo>
                    <a:pt x="-891" y="6377"/>
                    <a:pt x="-967" y="12408"/>
                    <a:pt x="2705" y="16174"/>
                  </a:cubicBezTo>
                  <a:cubicBezTo>
                    <a:pt x="2761" y="16232"/>
                    <a:pt x="2818" y="16289"/>
                    <a:pt x="2876" y="16345"/>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p:txBody>
        </p:sp>
      </p:grpSp>
      <p:pic>
        <p:nvPicPr>
          <p:cNvPr id="41" name="Picture Placeholder 40">
            <a:extLst>
              <a:ext uri="{FF2B5EF4-FFF2-40B4-BE49-F238E27FC236}">
                <a16:creationId xmlns:a16="http://schemas.microsoft.com/office/drawing/2014/main" id="{5CC37966-603E-4E6D-8899-E07957013D4B}"/>
              </a:ext>
            </a:extLst>
          </p:cNvPr>
          <p:cNvPicPr>
            <a:picLocks noGrp="1" noChangeAspect="1"/>
          </p:cNvPicPr>
          <p:nvPr>
            <p:ph type="pic" sz="quarter" idx="10"/>
          </p:nvPr>
        </p:nvPicPr>
        <p:blipFill>
          <a:blip r:embed="rId7">
            <a:extLst>
              <a:ext uri="{BEBA8EAE-BF5A-486C-A8C5-ECC9F3942E4B}">
                <a14:imgProps xmlns:a14="http://schemas.microsoft.com/office/drawing/2010/main">
                  <a14:imgLayer r:embed="rId8">
                    <a14:imgEffect>
                      <a14:brightnessContrast bright="4000"/>
                    </a14:imgEffect>
                  </a14:imgLayer>
                </a14:imgProps>
              </a:ext>
            </a:extLst>
          </a:blip>
          <a:srcRect l="16092" r="16092"/>
          <a:stretch/>
        </p:blipFill>
        <p:spPr>
          <a:xfrm>
            <a:off x="5842927" y="1096367"/>
            <a:ext cx="5929973" cy="4918553"/>
          </a:xfrm>
        </p:spPr>
      </p:pic>
    </p:spTree>
    <p:extLst>
      <p:ext uri="{BB962C8B-B14F-4D97-AF65-F5344CB8AC3E}">
        <p14:creationId xmlns:p14="http://schemas.microsoft.com/office/powerpoint/2010/main" val="15801115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err="1">
                <a:solidFill>
                  <a:schemeClr val="tx1"/>
                </a:solidFill>
                <a:latin typeface="Calibri" panose="020F0502020204030204" pitchFamily="34" charset="0"/>
                <a:ea typeface="Calibri" panose="020F0502020204030204" pitchFamily="34" charset="0"/>
                <a:cs typeface="Calibri" panose="020F0502020204030204" pitchFamily="34" charset="0"/>
              </a:rPr>
              <a:t>ATD</a:t>
            </a:r>
            <a:r>
              <a:rPr lang="en-US" sz="3600" i="0" dirty="0">
                <a:solidFill>
                  <a:schemeClr val="tx1"/>
                </a:solidFill>
                <a:latin typeface="Calibri" panose="020F0502020204030204" pitchFamily="34" charset="0"/>
                <a:ea typeface="Calibri" panose="020F0502020204030204" pitchFamily="34" charset="0"/>
                <a:cs typeface="Calibri" panose="020F0502020204030204" pitchFamily="34" charset="0"/>
              </a:rPr>
              <a:t> Product Focus </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406400" y="1127468"/>
            <a:ext cx="7473829" cy="2236912"/>
          </a:xfrm>
        </p:spPr>
        <p:txBody>
          <a:bodyPr>
            <a:normAutofit/>
          </a:bodyPr>
          <a:lstStyle/>
          <a:p>
            <a:pPr marL="342900" lvl="1" indent="-342900">
              <a:lnSpc>
                <a:spcPct val="100000"/>
              </a:lnSpc>
              <a:spcBef>
                <a:spcPts val="0"/>
              </a:spcBef>
              <a:buClr>
                <a:schemeClr val="tx1"/>
              </a:buClr>
              <a:buSzPct val="8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R&amp;D of new tech that can transform the industry</a:t>
            </a:r>
            <a:endPar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Technology Exploration – Distributed Computing, Blockchain, Robotics, AR/MR, AI</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Advanced Applications – TFDIR, DFDIR, </a:t>
            </a:r>
            <a:r>
              <a:rPr lang="en-US" sz="1800" dirty="0" err="1">
                <a:solidFill>
                  <a:srgbClr val="A20000"/>
                </a:solidFill>
                <a:latin typeface="Calibri" panose="020F0502020204030204" pitchFamily="34" charset="0"/>
                <a:ea typeface="Calibri" panose="020F0502020204030204" pitchFamily="34" charset="0"/>
                <a:cs typeface="Calibri" panose="020F0502020204030204" pitchFamily="34" charset="0"/>
              </a:rPr>
              <a:t>SafeClose</a:t>
            </a:r>
            <a:endPar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Automation – SAM, Feeder Buddy</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Sensors – </a:t>
            </a:r>
            <a:r>
              <a:rPr lang="en-US" sz="1800" dirty="0" err="1">
                <a:solidFill>
                  <a:srgbClr val="A20000"/>
                </a:solidFill>
                <a:latin typeface="Calibri" panose="020F0502020204030204" pitchFamily="34" charset="0"/>
                <a:ea typeface="Calibri" panose="020F0502020204030204" pitchFamily="34" charset="0"/>
                <a:cs typeface="Calibri" panose="020F0502020204030204" pitchFamily="34" charset="0"/>
              </a:rPr>
              <a:t>CapMD</a:t>
            </a: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 Arrester Health, Ground-grid, Far-Field I/V</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Anything that serves the purpose</a:t>
            </a: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5" name="Picture 14" descr="A white helmet on a couch&#10;&#10;Description automatically generated">
            <a:extLst>
              <a:ext uri="{FF2B5EF4-FFF2-40B4-BE49-F238E27FC236}">
                <a16:creationId xmlns:a16="http://schemas.microsoft.com/office/drawing/2014/main" id="{DFF701F1-DC1E-04DF-4B66-787D520CE0EA}"/>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0" b="100000" l="0" r="100000"/>
                    </a14:imgEffect>
                  </a14:imgLayer>
                </a14:imgProps>
              </a:ext>
              <a:ext uri="{28A0092B-C50C-407E-A947-70E740481C1C}">
                <a14:useLocalDpi xmlns:a14="http://schemas.microsoft.com/office/drawing/2010/main"/>
              </a:ext>
            </a:extLst>
          </a:blip>
          <a:srcRect/>
          <a:stretch/>
        </p:blipFill>
        <p:spPr>
          <a:xfrm rot="5400000">
            <a:off x="3630394" y="3743831"/>
            <a:ext cx="2282983" cy="2343429"/>
          </a:xfrm>
          <a:prstGeom prst="rect">
            <a:avLst/>
          </a:prstGeom>
        </p:spPr>
      </p:pic>
      <p:pic>
        <p:nvPicPr>
          <p:cNvPr id="16" name="Picture 15">
            <a:extLst>
              <a:ext uri="{FF2B5EF4-FFF2-40B4-BE49-F238E27FC236}">
                <a16:creationId xmlns:a16="http://schemas.microsoft.com/office/drawing/2014/main" id="{535A3EC6-8F18-6F9F-EB0F-C0F2DE25D756}"/>
              </a:ext>
            </a:extLst>
          </p:cNvPr>
          <p:cNvPicPr>
            <a:picLocks noChangeAspect="1"/>
          </p:cNvPicPr>
          <p:nvPr/>
        </p:nvPicPr>
        <p:blipFill>
          <a:blip r:embed="rId7">
            <a:extLst>
              <a:ext uri="{28A0092B-C50C-407E-A947-70E740481C1C}">
                <a14:useLocalDpi xmlns:a14="http://schemas.microsoft.com/office/drawing/2010/main"/>
              </a:ext>
            </a:extLst>
          </a:blip>
          <a:srcRect/>
          <a:stretch>
            <a:fillRect/>
          </a:stretch>
        </p:blipFill>
        <p:spPr>
          <a:xfrm>
            <a:off x="8383764" y="1036817"/>
            <a:ext cx="2893836" cy="2005051"/>
          </a:xfrm>
          <a:prstGeom prst="roundRect">
            <a:avLst>
              <a:gd name="adj" fmla="val 7193"/>
            </a:avLst>
          </a:prstGeom>
        </p:spPr>
      </p:pic>
      <p:pic>
        <p:nvPicPr>
          <p:cNvPr id="18" name="Picture 17" descr="A computer screen shot of a diagram&#10;&#10;AI-generated content may be incorrect.">
            <a:extLst>
              <a:ext uri="{FF2B5EF4-FFF2-40B4-BE49-F238E27FC236}">
                <a16:creationId xmlns:a16="http://schemas.microsoft.com/office/drawing/2014/main" id="{C2D6163A-72A7-F88E-F579-BF581227ACF2}"/>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6248401" y="3118946"/>
            <a:ext cx="5765136" cy="3242889"/>
          </a:xfrm>
          <a:prstGeom prst="rect">
            <a:avLst/>
          </a:prstGeom>
        </p:spPr>
      </p:pic>
      <p:pic>
        <p:nvPicPr>
          <p:cNvPr id="19" name="Picture 18">
            <a:extLst>
              <a:ext uri="{FF2B5EF4-FFF2-40B4-BE49-F238E27FC236}">
                <a16:creationId xmlns:a16="http://schemas.microsoft.com/office/drawing/2014/main" id="{C5B09311-8BCE-5EF1-5036-ECA7F62E3A11}"/>
              </a:ext>
            </a:extLst>
          </p:cNvPr>
          <p:cNvPicPr>
            <a:picLocks noChangeAspect="1"/>
          </p:cNvPicPr>
          <p:nvPr/>
        </p:nvPicPr>
        <p:blipFill>
          <a:blip r:embed="rId9">
            <a:extLst>
              <a:ext uri="{28A0092B-C50C-407E-A947-70E740481C1C}">
                <a14:useLocalDpi xmlns:a14="http://schemas.microsoft.com/office/drawing/2010/main"/>
              </a:ext>
            </a:extLst>
          </a:blip>
          <a:srcRect/>
          <a:stretch>
            <a:fillRect/>
          </a:stretch>
        </p:blipFill>
        <p:spPr>
          <a:xfrm rot="5400000">
            <a:off x="467166" y="3546089"/>
            <a:ext cx="2945292" cy="2711115"/>
          </a:xfrm>
          <a:prstGeom prst="roundRect">
            <a:avLst>
              <a:gd name="adj" fmla="val 6318"/>
            </a:avLst>
          </a:prstGeom>
        </p:spPr>
      </p:pic>
    </p:spTree>
    <p:extLst>
      <p:ext uri="{BB962C8B-B14F-4D97-AF65-F5344CB8AC3E}">
        <p14:creationId xmlns:p14="http://schemas.microsoft.com/office/powerpoint/2010/main" val="32366635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a:solidFill>
                  <a:schemeClr val="tx1"/>
                </a:solidFill>
                <a:latin typeface="Calibri" panose="020F0502020204030204" pitchFamily="34" charset="0"/>
                <a:ea typeface="Calibri" panose="020F0502020204030204" pitchFamily="34" charset="0"/>
                <a:cs typeface="Calibri" panose="020F0502020204030204" pitchFamily="34" charset="0"/>
              </a:rPr>
              <a:t>ATD Director – Steve Fan</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12">
            <a:extLst>
              <a:ext uri="{FF2B5EF4-FFF2-40B4-BE49-F238E27FC236}">
                <a16:creationId xmlns:a16="http://schemas.microsoft.com/office/drawing/2014/main" id="{FE880CD4-ECFF-5CB4-CB78-583357F50374}"/>
              </a:ext>
            </a:extLst>
          </p:cNvPr>
          <p:cNvGrpSpPr/>
          <p:nvPr/>
        </p:nvGrpSpPr>
        <p:grpSpPr>
          <a:xfrm>
            <a:off x="1372948" y="1879213"/>
            <a:ext cx="996389" cy="1336890"/>
            <a:chOff x="871638" y="2092111"/>
            <a:chExt cx="996389" cy="1336890"/>
          </a:xfrm>
        </p:grpSpPr>
        <p:sp>
          <p:nvSpPr>
            <p:cNvPr id="14" name="Rounded Rectangle 13">
              <a:extLst>
                <a:ext uri="{FF2B5EF4-FFF2-40B4-BE49-F238E27FC236}">
                  <a16:creationId xmlns:a16="http://schemas.microsoft.com/office/drawing/2014/main" id="{DD7832A5-EC03-87EC-5B89-A957BE3286AF}"/>
                </a:ext>
              </a:extLst>
            </p:cNvPr>
            <p:cNvSpPr/>
            <p:nvPr/>
          </p:nvSpPr>
          <p:spPr>
            <a:xfrm>
              <a:off x="871638" y="2092111"/>
              <a:ext cx="996389" cy="1336890"/>
            </a:xfrm>
            <a:prstGeom prst="roundRect">
              <a:avLst>
                <a:gd name="adj" fmla="val 5263"/>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85000"/>
                      <a:lumOff val="15000"/>
                    </a:srgbClr>
                  </a:solidFill>
                  <a:effectLst/>
                  <a:uLnTx/>
                  <a:uFillTx/>
                  <a:latin typeface="Arial"/>
                  <a:ea typeface="+mn-ea"/>
                  <a:cs typeface="+mn-cs"/>
                </a:rPr>
                <a:t>R&amp;D Engineer</a:t>
              </a:r>
            </a:p>
          </p:txBody>
        </p:sp>
        <p:pic>
          <p:nvPicPr>
            <p:cNvPr id="15" name="Picture 14">
              <a:extLst>
                <a:ext uri="{FF2B5EF4-FFF2-40B4-BE49-F238E27FC236}">
                  <a16:creationId xmlns:a16="http://schemas.microsoft.com/office/drawing/2014/main" id="{35A6EE36-4C3A-EFCE-4E47-5017D17032A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bwMode="auto">
            <a:xfrm>
              <a:off x="994995" y="2284518"/>
              <a:ext cx="738767" cy="318770"/>
            </a:xfrm>
            <a:prstGeom prst="rect">
              <a:avLst/>
            </a:prstGeom>
            <a:noFill/>
            <a:ln>
              <a:noFill/>
            </a:ln>
          </p:spPr>
        </p:pic>
      </p:grpSp>
      <p:sp>
        <p:nvSpPr>
          <p:cNvPr id="16" name="Freeform 15">
            <a:extLst>
              <a:ext uri="{FF2B5EF4-FFF2-40B4-BE49-F238E27FC236}">
                <a16:creationId xmlns:a16="http://schemas.microsoft.com/office/drawing/2014/main" id="{9CAEC031-F02F-A319-C94E-0B1552AEA52E}"/>
              </a:ext>
            </a:extLst>
          </p:cNvPr>
          <p:cNvSpPr/>
          <p:nvPr/>
        </p:nvSpPr>
        <p:spPr>
          <a:xfrm>
            <a:off x="457591" y="5430754"/>
            <a:ext cx="544815" cy="364275"/>
          </a:xfrm>
          <a:custGeom>
            <a:avLst/>
            <a:gdLst>
              <a:gd name="connsiteX0" fmla="*/ 0 w 544815"/>
              <a:gd name="connsiteY0" fmla="*/ 0 h 1921376"/>
              <a:gd name="connsiteX1" fmla="*/ 544815 w 544815"/>
              <a:gd name="connsiteY1" fmla="*/ 0 h 1921376"/>
              <a:gd name="connsiteX2" fmla="*/ 544815 w 544815"/>
              <a:gd name="connsiteY2" fmla="*/ 1921376 h 1921376"/>
              <a:gd name="connsiteX3" fmla="*/ 0 w 544815"/>
              <a:gd name="connsiteY3" fmla="*/ 1921376 h 1921376"/>
              <a:gd name="connsiteX4" fmla="*/ 0 w 544815"/>
              <a:gd name="connsiteY4" fmla="*/ 0 h 1921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815" h="1921376">
                <a:moveTo>
                  <a:pt x="0" y="0"/>
                </a:moveTo>
                <a:lnTo>
                  <a:pt x="544815" y="0"/>
                </a:lnTo>
                <a:lnTo>
                  <a:pt x="544815" y="1921376"/>
                </a:lnTo>
                <a:lnTo>
                  <a:pt x="0" y="19213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2456" tIns="92456" rIns="92456" bIns="92456" numCol="1" spcCol="1270" anchor="t"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333333">
                    <a:hueOff val="0"/>
                    <a:satOff val="0"/>
                    <a:lumOff val="0"/>
                    <a:alphaOff val="0"/>
                  </a:srgbClr>
                </a:solidFill>
                <a:effectLst/>
                <a:uLnTx/>
                <a:uFillTx/>
                <a:latin typeface="Arial"/>
                <a:ea typeface="+mn-ea"/>
                <a:cs typeface="+mn-cs"/>
              </a:rPr>
              <a:t>2004</a:t>
            </a:r>
          </a:p>
        </p:txBody>
      </p:sp>
      <p:sp>
        <p:nvSpPr>
          <p:cNvPr id="17" name="Freeform 16">
            <a:extLst>
              <a:ext uri="{FF2B5EF4-FFF2-40B4-BE49-F238E27FC236}">
                <a16:creationId xmlns:a16="http://schemas.microsoft.com/office/drawing/2014/main" id="{9F3B8009-830A-403E-540C-45AA57DD0EBC}"/>
              </a:ext>
            </a:extLst>
          </p:cNvPr>
          <p:cNvSpPr/>
          <p:nvPr/>
        </p:nvSpPr>
        <p:spPr>
          <a:xfrm>
            <a:off x="11126625" y="5419408"/>
            <a:ext cx="743301" cy="380229"/>
          </a:xfrm>
          <a:custGeom>
            <a:avLst/>
            <a:gdLst>
              <a:gd name="connsiteX0" fmla="*/ 0 w 544815"/>
              <a:gd name="connsiteY0" fmla="*/ 0 h 1921376"/>
              <a:gd name="connsiteX1" fmla="*/ 544815 w 544815"/>
              <a:gd name="connsiteY1" fmla="*/ 0 h 1921376"/>
              <a:gd name="connsiteX2" fmla="*/ 544815 w 544815"/>
              <a:gd name="connsiteY2" fmla="*/ 1921376 h 1921376"/>
              <a:gd name="connsiteX3" fmla="*/ 0 w 544815"/>
              <a:gd name="connsiteY3" fmla="*/ 1921376 h 1921376"/>
              <a:gd name="connsiteX4" fmla="*/ 0 w 544815"/>
              <a:gd name="connsiteY4" fmla="*/ 0 h 1921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815" h="1921376">
                <a:moveTo>
                  <a:pt x="0" y="0"/>
                </a:moveTo>
                <a:lnTo>
                  <a:pt x="544815" y="0"/>
                </a:lnTo>
                <a:lnTo>
                  <a:pt x="544815" y="1921376"/>
                </a:lnTo>
                <a:lnTo>
                  <a:pt x="0" y="19213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2456" tIns="92456" rIns="92456" bIns="92456" numCol="1" spcCol="1270" anchor="t"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333333">
                    <a:hueOff val="0"/>
                    <a:satOff val="0"/>
                    <a:lumOff val="0"/>
                    <a:alphaOff val="0"/>
                  </a:srgbClr>
                </a:solidFill>
                <a:effectLst/>
                <a:uLnTx/>
                <a:uFillTx/>
                <a:latin typeface="Arial"/>
                <a:ea typeface="+mn-ea"/>
                <a:cs typeface="+mn-cs"/>
              </a:rPr>
              <a:t>Present</a:t>
            </a:r>
          </a:p>
        </p:txBody>
      </p:sp>
      <p:cxnSp>
        <p:nvCxnSpPr>
          <p:cNvPr id="18" name="Straight Connector 17">
            <a:extLst>
              <a:ext uri="{FF2B5EF4-FFF2-40B4-BE49-F238E27FC236}">
                <a16:creationId xmlns:a16="http://schemas.microsoft.com/office/drawing/2014/main" id="{5BC664B5-04F5-633C-A38B-3541FC5AE7D5}"/>
              </a:ext>
            </a:extLst>
          </p:cNvPr>
          <p:cNvCxnSpPr>
            <a:cxnSpLocks/>
            <a:stCxn id="37" idx="6"/>
            <a:endCxn id="3328000" idx="2"/>
          </p:cNvCxnSpPr>
          <p:nvPr/>
        </p:nvCxnSpPr>
        <p:spPr>
          <a:xfrm flipV="1">
            <a:off x="821439" y="5285056"/>
            <a:ext cx="10631117" cy="28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5B3979B5-7C30-8FA9-C579-8786D3E17971}"/>
              </a:ext>
            </a:extLst>
          </p:cNvPr>
          <p:cNvSpPr/>
          <p:nvPr/>
        </p:nvSpPr>
        <p:spPr>
          <a:xfrm>
            <a:off x="1782671" y="5187053"/>
            <a:ext cx="182880" cy="182880"/>
          </a:xfrm>
          <a:prstGeom prst="ellipse">
            <a:avLst/>
          </a:pr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0" name="Oval 19">
            <a:extLst>
              <a:ext uri="{FF2B5EF4-FFF2-40B4-BE49-F238E27FC236}">
                <a16:creationId xmlns:a16="http://schemas.microsoft.com/office/drawing/2014/main" id="{A0A47AF6-3C20-7B57-6E85-E9E442BFF700}"/>
              </a:ext>
            </a:extLst>
          </p:cNvPr>
          <p:cNvSpPr/>
          <p:nvPr/>
        </p:nvSpPr>
        <p:spPr>
          <a:xfrm>
            <a:off x="1246983" y="5232773"/>
            <a:ext cx="91440" cy="9144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1" name="Oval 20">
            <a:extLst>
              <a:ext uri="{FF2B5EF4-FFF2-40B4-BE49-F238E27FC236}">
                <a16:creationId xmlns:a16="http://schemas.microsoft.com/office/drawing/2014/main" id="{1E325AD6-680C-6AF1-02B3-0AA744166095}"/>
              </a:ext>
            </a:extLst>
          </p:cNvPr>
          <p:cNvSpPr/>
          <p:nvPr/>
        </p:nvSpPr>
        <p:spPr>
          <a:xfrm>
            <a:off x="2391095" y="5236529"/>
            <a:ext cx="91440" cy="9144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2" name="Oval 21">
            <a:extLst>
              <a:ext uri="{FF2B5EF4-FFF2-40B4-BE49-F238E27FC236}">
                <a16:creationId xmlns:a16="http://schemas.microsoft.com/office/drawing/2014/main" id="{83E1DAC8-4CD7-9ECE-136C-1EC0A1CD292F}"/>
              </a:ext>
            </a:extLst>
          </p:cNvPr>
          <p:cNvSpPr/>
          <p:nvPr/>
        </p:nvSpPr>
        <p:spPr>
          <a:xfrm>
            <a:off x="2963151" y="5236529"/>
            <a:ext cx="91440" cy="9144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3" name="Oval 22">
            <a:extLst>
              <a:ext uri="{FF2B5EF4-FFF2-40B4-BE49-F238E27FC236}">
                <a16:creationId xmlns:a16="http://schemas.microsoft.com/office/drawing/2014/main" id="{A03675C5-15CD-D36D-4F06-5A3A34C5A617}"/>
              </a:ext>
            </a:extLst>
          </p:cNvPr>
          <p:cNvSpPr/>
          <p:nvPr/>
        </p:nvSpPr>
        <p:spPr>
          <a:xfrm>
            <a:off x="3535208" y="5196424"/>
            <a:ext cx="182880" cy="182880"/>
          </a:xfrm>
          <a:prstGeom prst="ellipse">
            <a:avLst/>
          </a:pr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4" name="Oval 23">
            <a:extLst>
              <a:ext uri="{FF2B5EF4-FFF2-40B4-BE49-F238E27FC236}">
                <a16:creationId xmlns:a16="http://schemas.microsoft.com/office/drawing/2014/main" id="{DF6BFE47-F3EA-89C9-6C89-A5201081AB12}"/>
              </a:ext>
            </a:extLst>
          </p:cNvPr>
          <p:cNvSpPr/>
          <p:nvPr/>
        </p:nvSpPr>
        <p:spPr>
          <a:xfrm>
            <a:off x="4107264" y="5236529"/>
            <a:ext cx="91440" cy="9144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extLst>
              <a:ext uri="{FF2B5EF4-FFF2-40B4-BE49-F238E27FC236}">
                <a16:creationId xmlns:a16="http://schemas.microsoft.com/office/drawing/2014/main" id="{B14E7011-9AB0-CA86-D9AF-726EEA3DC51E}"/>
              </a:ext>
            </a:extLst>
          </p:cNvPr>
          <p:cNvSpPr/>
          <p:nvPr/>
        </p:nvSpPr>
        <p:spPr>
          <a:xfrm>
            <a:off x="4679320" y="5236529"/>
            <a:ext cx="91440" cy="9144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6" name="Oval 25">
            <a:extLst>
              <a:ext uri="{FF2B5EF4-FFF2-40B4-BE49-F238E27FC236}">
                <a16:creationId xmlns:a16="http://schemas.microsoft.com/office/drawing/2014/main" id="{D3E09FEF-8116-A5ED-E751-D414FCD7274B}"/>
              </a:ext>
            </a:extLst>
          </p:cNvPr>
          <p:cNvSpPr/>
          <p:nvPr/>
        </p:nvSpPr>
        <p:spPr>
          <a:xfrm>
            <a:off x="5251377" y="5236529"/>
            <a:ext cx="91440" cy="9144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7" name="Oval 26">
            <a:extLst>
              <a:ext uri="{FF2B5EF4-FFF2-40B4-BE49-F238E27FC236}">
                <a16:creationId xmlns:a16="http://schemas.microsoft.com/office/drawing/2014/main" id="{106B97ED-E7E3-AC12-B0B8-ABF567B2F491}"/>
              </a:ext>
            </a:extLst>
          </p:cNvPr>
          <p:cNvSpPr/>
          <p:nvPr/>
        </p:nvSpPr>
        <p:spPr>
          <a:xfrm>
            <a:off x="5823433" y="5196424"/>
            <a:ext cx="182880" cy="182880"/>
          </a:xfrm>
          <a:prstGeom prst="ellipse">
            <a:avLst/>
          </a:pr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8" name="Oval 27">
            <a:extLst>
              <a:ext uri="{FF2B5EF4-FFF2-40B4-BE49-F238E27FC236}">
                <a16:creationId xmlns:a16="http://schemas.microsoft.com/office/drawing/2014/main" id="{B1D4DDC0-7527-E1D2-4C55-E61F4E841702}"/>
              </a:ext>
            </a:extLst>
          </p:cNvPr>
          <p:cNvSpPr/>
          <p:nvPr/>
        </p:nvSpPr>
        <p:spPr>
          <a:xfrm>
            <a:off x="6395489" y="5236529"/>
            <a:ext cx="91440" cy="9144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9" name="Oval 28">
            <a:extLst>
              <a:ext uri="{FF2B5EF4-FFF2-40B4-BE49-F238E27FC236}">
                <a16:creationId xmlns:a16="http://schemas.microsoft.com/office/drawing/2014/main" id="{C4294ED8-65B8-DD8C-187E-EE03956EEACE}"/>
              </a:ext>
            </a:extLst>
          </p:cNvPr>
          <p:cNvSpPr/>
          <p:nvPr/>
        </p:nvSpPr>
        <p:spPr>
          <a:xfrm>
            <a:off x="6967546" y="5196424"/>
            <a:ext cx="182880" cy="182880"/>
          </a:xfrm>
          <a:prstGeom prst="ellipse">
            <a:avLst/>
          </a:pr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30" name="Oval 29">
            <a:extLst>
              <a:ext uri="{FF2B5EF4-FFF2-40B4-BE49-F238E27FC236}">
                <a16:creationId xmlns:a16="http://schemas.microsoft.com/office/drawing/2014/main" id="{C018EFD3-C700-0F29-BEDF-11CDDA42CD6A}"/>
              </a:ext>
            </a:extLst>
          </p:cNvPr>
          <p:cNvSpPr/>
          <p:nvPr/>
        </p:nvSpPr>
        <p:spPr>
          <a:xfrm>
            <a:off x="7539602" y="5236529"/>
            <a:ext cx="91440" cy="9144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31" name="Oval 30">
            <a:extLst>
              <a:ext uri="{FF2B5EF4-FFF2-40B4-BE49-F238E27FC236}">
                <a16:creationId xmlns:a16="http://schemas.microsoft.com/office/drawing/2014/main" id="{09982D0A-1687-F6CE-C1E1-F5AA3A2E0A16}"/>
              </a:ext>
            </a:extLst>
          </p:cNvPr>
          <p:cNvSpPr/>
          <p:nvPr/>
        </p:nvSpPr>
        <p:spPr>
          <a:xfrm>
            <a:off x="8111658" y="5236529"/>
            <a:ext cx="91440" cy="9144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32" name="Oval 31">
            <a:extLst>
              <a:ext uri="{FF2B5EF4-FFF2-40B4-BE49-F238E27FC236}">
                <a16:creationId xmlns:a16="http://schemas.microsoft.com/office/drawing/2014/main" id="{050E5FBA-D90B-0AC1-4B14-BFB7A094F33C}"/>
              </a:ext>
            </a:extLst>
          </p:cNvPr>
          <p:cNvSpPr/>
          <p:nvPr/>
        </p:nvSpPr>
        <p:spPr>
          <a:xfrm>
            <a:off x="8683715" y="5196424"/>
            <a:ext cx="182880" cy="182880"/>
          </a:xfrm>
          <a:prstGeom prst="ellipse">
            <a:avLst/>
          </a:pr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33" name="Oval 32">
            <a:extLst>
              <a:ext uri="{FF2B5EF4-FFF2-40B4-BE49-F238E27FC236}">
                <a16:creationId xmlns:a16="http://schemas.microsoft.com/office/drawing/2014/main" id="{83730CA6-8F13-BA8C-0A8E-906A23771801}"/>
              </a:ext>
            </a:extLst>
          </p:cNvPr>
          <p:cNvSpPr/>
          <p:nvPr/>
        </p:nvSpPr>
        <p:spPr>
          <a:xfrm>
            <a:off x="9255771" y="5236529"/>
            <a:ext cx="91440" cy="9144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34" name="Oval 33">
            <a:extLst>
              <a:ext uri="{FF2B5EF4-FFF2-40B4-BE49-F238E27FC236}">
                <a16:creationId xmlns:a16="http://schemas.microsoft.com/office/drawing/2014/main" id="{13634109-DDC2-C5BB-9B50-B6B4707ACF95}"/>
              </a:ext>
            </a:extLst>
          </p:cNvPr>
          <p:cNvSpPr/>
          <p:nvPr/>
        </p:nvSpPr>
        <p:spPr>
          <a:xfrm>
            <a:off x="9827827" y="5236529"/>
            <a:ext cx="91440" cy="9144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35" name="Oval 34">
            <a:extLst>
              <a:ext uri="{FF2B5EF4-FFF2-40B4-BE49-F238E27FC236}">
                <a16:creationId xmlns:a16="http://schemas.microsoft.com/office/drawing/2014/main" id="{1EA03DF9-766D-B5B2-1756-9788BBC46591}"/>
              </a:ext>
            </a:extLst>
          </p:cNvPr>
          <p:cNvSpPr/>
          <p:nvPr/>
        </p:nvSpPr>
        <p:spPr>
          <a:xfrm>
            <a:off x="10399884" y="5236529"/>
            <a:ext cx="91440" cy="9144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36" name="Oval 35">
            <a:extLst>
              <a:ext uri="{FF2B5EF4-FFF2-40B4-BE49-F238E27FC236}">
                <a16:creationId xmlns:a16="http://schemas.microsoft.com/office/drawing/2014/main" id="{184FDF50-02E5-BB7E-8583-9D05D7E3B23B}"/>
              </a:ext>
            </a:extLst>
          </p:cNvPr>
          <p:cNvSpPr/>
          <p:nvPr/>
        </p:nvSpPr>
        <p:spPr>
          <a:xfrm>
            <a:off x="10932185" y="5236529"/>
            <a:ext cx="91440" cy="9144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37" name="Oval 36">
            <a:extLst>
              <a:ext uri="{FF2B5EF4-FFF2-40B4-BE49-F238E27FC236}">
                <a16:creationId xmlns:a16="http://schemas.microsoft.com/office/drawing/2014/main" id="{B58956B0-A133-6D33-6FB6-BDDAB8282DB9}"/>
              </a:ext>
            </a:extLst>
          </p:cNvPr>
          <p:cNvSpPr/>
          <p:nvPr/>
        </p:nvSpPr>
        <p:spPr>
          <a:xfrm>
            <a:off x="638559" y="5196424"/>
            <a:ext cx="182880" cy="182880"/>
          </a:xfrm>
          <a:prstGeom prst="ellipse">
            <a:avLst/>
          </a:pr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11295D4F-977C-14E7-58D8-E072375B88E7}"/>
              </a:ext>
            </a:extLst>
          </p:cNvPr>
          <p:cNvGrpSpPr/>
          <p:nvPr/>
        </p:nvGrpSpPr>
        <p:grpSpPr>
          <a:xfrm>
            <a:off x="231803" y="3463120"/>
            <a:ext cx="996389" cy="1336890"/>
            <a:chOff x="118860" y="3401967"/>
            <a:chExt cx="996389" cy="1336890"/>
          </a:xfrm>
        </p:grpSpPr>
        <p:sp>
          <p:nvSpPr>
            <p:cNvPr id="39" name="Rounded Rectangle 38">
              <a:extLst>
                <a:ext uri="{FF2B5EF4-FFF2-40B4-BE49-F238E27FC236}">
                  <a16:creationId xmlns:a16="http://schemas.microsoft.com/office/drawing/2014/main" id="{7BA00FFB-6390-576C-3E26-3B738EFF6DD6}"/>
                </a:ext>
              </a:extLst>
            </p:cNvPr>
            <p:cNvSpPr/>
            <p:nvPr/>
          </p:nvSpPr>
          <p:spPr>
            <a:xfrm>
              <a:off x="118860" y="3401967"/>
              <a:ext cx="996389" cy="1336890"/>
            </a:xfrm>
            <a:prstGeom prst="roundRect">
              <a:avLst>
                <a:gd name="adj" fmla="val 5263"/>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lumMod val="85000"/>
                      <a:lumOff val="15000"/>
                    </a:srgbClr>
                  </a:solidFill>
                  <a:effectLst/>
                  <a:uLnTx/>
                  <a:uFillTx/>
                  <a:latin typeface="Arial"/>
                  <a:ea typeface="+mn-ea"/>
                  <a:cs typeface="+mn-cs"/>
                </a:rPr>
                <a:t>Pre-Med</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lumMod val="85000"/>
                      <a:lumOff val="15000"/>
                    </a:srgbClr>
                  </a:solidFill>
                  <a:effectLst/>
                  <a:uLnTx/>
                  <a:uFillTx/>
                  <a:latin typeface="Arial"/>
                  <a:ea typeface="+mn-ea"/>
                  <a:cs typeface="+mn-cs"/>
                </a:rPr>
                <a:t>BSEE</a:t>
              </a:r>
            </a:p>
          </p:txBody>
        </p:sp>
        <p:pic>
          <p:nvPicPr>
            <p:cNvPr id="40" name="Picture 39">
              <a:extLst>
                <a:ext uri="{FF2B5EF4-FFF2-40B4-BE49-F238E27FC236}">
                  <a16:creationId xmlns:a16="http://schemas.microsoft.com/office/drawing/2014/main" id="{6F67F161-45AC-6750-214A-33C7637B9977}"/>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286748" y="3495880"/>
              <a:ext cx="660611" cy="648565"/>
            </a:xfrm>
            <a:prstGeom prst="rect">
              <a:avLst/>
            </a:prstGeom>
            <a:noFill/>
            <a:ln>
              <a:noFill/>
            </a:ln>
          </p:spPr>
        </p:pic>
      </p:grpSp>
      <p:sp>
        <p:nvSpPr>
          <p:cNvPr id="41" name="Freeform 40">
            <a:extLst>
              <a:ext uri="{FF2B5EF4-FFF2-40B4-BE49-F238E27FC236}">
                <a16:creationId xmlns:a16="http://schemas.microsoft.com/office/drawing/2014/main" id="{F7E188A8-67BF-69F5-0689-4231158A3898}"/>
              </a:ext>
            </a:extLst>
          </p:cNvPr>
          <p:cNvSpPr/>
          <p:nvPr/>
        </p:nvSpPr>
        <p:spPr>
          <a:xfrm>
            <a:off x="1596252" y="5422429"/>
            <a:ext cx="544815" cy="364275"/>
          </a:xfrm>
          <a:custGeom>
            <a:avLst/>
            <a:gdLst>
              <a:gd name="connsiteX0" fmla="*/ 0 w 544815"/>
              <a:gd name="connsiteY0" fmla="*/ 0 h 1921376"/>
              <a:gd name="connsiteX1" fmla="*/ 544815 w 544815"/>
              <a:gd name="connsiteY1" fmla="*/ 0 h 1921376"/>
              <a:gd name="connsiteX2" fmla="*/ 544815 w 544815"/>
              <a:gd name="connsiteY2" fmla="*/ 1921376 h 1921376"/>
              <a:gd name="connsiteX3" fmla="*/ 0 w 544815"/>
              <a:gd name="connsiteY3" fmla="*/ 1921376 h 1921376"/>
              <a:gd name="connsiteX4" fmla="*/ 0 w 544815"/>
              <a:gd name="connsiteY4" fmla="*/ 0 h 1921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815" h="1921376">
                <a:moveTo>
                  <a:pt x="0" y="0"/>
                </a:moveTo>
                <a:lnTo>
                  <a:pt x="544815" y="0"/>
                </a:lnTo>
                <a:lnTo>
                  <a:pt x="544815" y="1921376"/>
                </a:lnTo>
                <a:lnTo>
                  <a:pt x="0" y="19213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2456" tIns="92456" rIns="92456" bIns="92456" numCol="1" spcCol="1270" anchor="t"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333333">
                    <a:hueOff val="0"/>
                    <a:satOff val="0"/>
                    <a:lumOff val="0"/>
                    <a:alphaOff val="0"/>
                  </a:srgbClr>
                </a:solidFill>
                <a:effectLst/>
                <a:uLnTx/>
                <a:uFillTx/>
                <a:latin typeface="Arial"/>
                <a:ea typeface="+mn-ea"/>
                <a:cs typeface="+mn-cs"/>
              </a:rPr>
              <a:t>2006</a:t>
            </a:r>
          </a:p>
        </p:txBody>
      </p:sp>
      <p:sp>
        <p:nvSpPr>
          <p:cNvPr id="42" name="Freeform 41">
            <a:extLst>
              <a:ext uri="{FF2B5EF4-FFF2-40B4-BE49-F238E27FC236}">
                <a16:creationId xmlns:a16="http://schemas.microsoft.com/office/drawing/2014/main" id="{37FB9445-7DA4-DBF1-DA49-DDE064CC5290}"/>
              </a:ext>
            </a:extLst>
          </p:cNvPr>
          <p:cNvSpPr/>
          <p:nvPr/>
        </p:nvSpPr>
        <p:spPr>
          <a:xfrm>
            <a:off x="3354240" y="5426087"/>
            <a:ext cx="544815" cy="364275"/>
          </a:xfrm>
          <a:custGeom>
            <a:avLst/>
            <a:gdLst>
              <a:gd name="connsiteX0" fmla="*/ 0 w 544815"/>
              <a:gd name="connsiteY0" fmla="*/ 0 h 1921376"/>
              <a:gd name="connsiteX1" fmla="*/ 544815 w 544815"/>
              <a:gd name="connsiteY1" fmla="*/ 0 h 1921376"/>
              <a:gd name="connsiteX2" fmla="*/ 544815 w 544815"/>
              <a:gd name="connsiteY2" fmla="*/ 1921376 h 1921376"/>
              <a:gd name="connsiteX3" fmla="*/ 0 w 544815"/>
              <a:gd name="connsiteY3" fmla="*/ 1921376 h 1921376"/>
              <a:gd name="connsiteX4" fmla="*/ 0 w 544815"/>
              <a:gd name="connsiteY4" fmla="*/ 0 h 1921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815" h="1921376">
                <a:moveTo>
                  <a:pt x="0" y="0"/>
                </a:moveTo>
                <a:lnTo>
                  <a:pt x="544815" y="0"/>
                </a:lnTo>
                <a:lnTo>
                  <a:pt x="544815" y="1921376"/>
                </a:lnTo>
                <a:lnTo>
                  <a:pt x="0" y="19213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2456" tIns="92456" rIns="92456" bIns="92456" numCol="1" spcCol="1270" anchor="t"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333333">
                    <a:hueOff val="0"/>
                    <a:satOff val="0"/>
                    <a:lumOff val="0"/>
                    <a:alphaOff val="0"/>
                  </a:srgbClr>
                </a:solidFill>
                <a:effectLst/>
                <a:uLnTx/>
                <a:uFillTx/>
                <a:latin typeface="Arial"/>
                <a:ea typeface="+mn-ea"/>
                <a:cs typeface="+mn-cs"/>
              </a:rPr>
              <a:t>2009</a:t>
            </a:r>
          </a:p>
        </p:txBody>
      </p:sp>
      <p:grpSp>
        <p:nvGrpSpPr>
          <p:cNvPr id="43" name="Group 42">
            <a:extLst>
              <a:ext uri="{FF2B5EF4-FFF2-40B4-BE49-F238E27FC236}">
                <a16:creationId xmlns:a16="http://schemas.microsoft.com/office/drawing/2014/main" id="{EC08434D-F4AD-2592-30EA-9CD9D55BDBB1}"/>
              </a:ext>
            </a:extLst>
          </p:cNvPr>
          <p:cNvGrpSpPr/>
          <p:nvPr/>
        </p:nvGrpSpPr>
        <p:grpSpPr>
          <a:xfrm>
            <a:off x="3123545" y="1869477"/>
            <a:ext cx="996389" cy="1336873"/>
            <a:chOff x="2327574" y="2987101"/>
            <a:chExt cx="996389" cy="1336873"/>
          </a:xfrm>
        </p:grpSpPr>
        <p:sp>
          <p:nvSpPr>
            <p:cNvPr id="44" name="Rounded Rectangle 43">
              <a:extLst>
                <a:ext uri="{FF2B5EF4-FFF2-40B4-BE49-F238E27FC236}">
                  <a16:creationId xmlns:a16="http://schemas.microsoft.com/office/drawing/2014/main" id="{4060DD6B-7546-65B9-F518-B7435855B23F}"/>
                </a:ext>
              </a:extLst>
            </p:cNvPr>
            <p:cNvSpPr/>
            <p:nvPr/>
          </p:nvSpPr>
          <p:spPr>
            <a:xfrm>
              <a:off x="2327574" y="2987101"/>
              <a:ext cx="996389" cy="1336873"/>
            </a:xfrm>
            <a:prstGeom prst="roundRect">
              <a:avLst>
                <a:gd name="adj" fmla="val 5263"/>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85000"/>
                      <a:lumOff val="15000"/>
                    </a:srgbClr>
                  </a:solidFill>
                  <a:effectLst/>
                  <a:uLnTx/>
                  <a:uFillTx/>
                  <a:latin typeface="Arial"/>
                  <a:ea typeface="+mn-ea"/>
                  <a:cs typeface="+mn-cs"/>
                </a:rPr>
                <a:t>Senior Engineering Manager</a:t>
              </a:r>
            </a:p>
          </p:txBody>
        </p:sp>
        <p:pic>
          <p:nvPicPr>
            <p:cNvPr id="45" name="Picture 44">
              <a:extLst>
                <a:ext uri="{FF2B5EF4-FFF2-40B4-BE49-F238E27FC236}">
                  <a16:creationId xmlns:a16="http://schemas.microsoft.com/office/drawing/2014/main" id="{DE278178-67D9-E452-787D-3EE0DC92B675}"/>
                </a:ext>
              </a:extLst>
            </p:cNvPr>
            <p:cNvPicPr>
              <a:picLocks noChangeAspect="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2571768" y="3069094"/>
              <a:ext cx="508000" cy="508000"/>
            </a:xfrm>
            <a:prstGeom prst="rect">
              <a:avLst/>
            </a:prstGeom>
            <a:noFill/>
            <a:ln>
              <a:noFill/>
            </a:ln>
          </p:spPr>
        </p:pic>
      </p:grpSp>
      <p:sp>
        <p:nvSpPr>
          <p:cNvPr id="46" name="Freeform 45">
            <a:extLst>
              <a:ext uri="{FF2B5EF4-FFF2-40B4-BE49-F238E27FC236}">
                <a16:creationId xmlns:a16="http://schemas.microsoft.com/office/drawing/2014/main" id="{7E1F8B9B-6C93-7779-6F25-18CD5D32177B}"/>
              </a:ext>
            </a:extLst>
          </p:cNvPr>
          <p:cNvSpPr/>
          <p:nvPr/>
        </p:nvSpPr>
        <p:spPr>
          <a:xfrm>
            <a:off x="5647917" y="5426087"/>
            <a:ext cx="544815" cy="364275"/>
          </a:xfrm>
          <a:custGeom>
            <a:avLst/>
            <a:gdLst>
              <a:gd name="connsiteX0" fmla="*/ 0 w 544815"/>
              <a:gd name="connsiteY0" fmla="*/ 0 h 1921376"/>
              <a:gd name="connsiteX1" fmla="*/ 544815 w 544815"/>
              <a:gd name="connsiteY1" fmla="*/ 0 h 1921376"/>
              <a:gd name="connsiteX2" fmla="*/ 544815 w 544815"/>
              <a:gd name="connsiteY2" fmla="*/ 1921376 h 1921376"/>
              <a:gd name="connsiteX3" fmla="*/ 0 w 544815"/>
              <a:gd name="connsiteY3" fmla="*/ 1921376 h 1921376"/>
              <a:gd name="connsiteX4" fmla="*/ 0 w 544815"/>
              <a:gd name="connsiteY4" fmla="*/ 0 h 1921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815" h="1921376">
                <a:moveTo>
                  <a:pt x="0" y="0"/>
                </a:moveTo>
                <a:lnTo>
                  <a:pt x="544815" y="0"/>
                </a:lnTo>
                <a:lnTo>
                  <a:pt x="544815" y="1921376"/>
                </a:lnTo>
                <a:lnTo>
                  <a:pt x="0" y="19213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2456" tIns="92456" rIns="92456" bIns="92456" numCol="1" spcCol="1270" anchor="t"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333333">
                    <a:hueOff val="0"/>
                    <a:satOff val="0"/>
                    <a:lumOff val="0"/>
                    <a:alphaOff val="0"/>
                  </a:srgbClr>
                </a:solidFill>
                <a:effectLst/>
                <a:uLnTx/>
                <a:uFillTx/>
                <a:latin typeface="Arial"/>
                <a:ea typeface="+mn-ea"/>
                <a:cs typeface="+mn-cs"/>
              </a:rPr>
              <a:t>2013</a:t>
            </a:r>
          </a:p>
        </p:txBody>
      </p:sp>
      <p:sp>
        <p:nvSpPr>
          <p:cNvPr id="47" name="Freeform 46">
            <a:extLst>
              <a:ext uri="{FF2B5EF4-FFF2-40B4-BE49-F238E27FC236}">
                <a16:creationId xmlns:a16="http://schemas.microsoft.com/office/drawing/2014/main" id="{CAEBAB5A-9830-00DE-5443-D4EF5FEA0AF7}"/>
              </a:ext>
            </a:extLst>
          </p:cNvPr>
          <p:cNvSpPr/>
          <p:nvPr/>
        </p:nvSpPr>
        <p:spPr>
          <a:xfrm>
            <a:off x="6786578" y="5426087"/>
            <a:ext cx="544815" cy="364275"/>
          </a:xfrm>
          <a:custGeom>
            <a:avLst/>
            <a:gdLst>
              <a:gd name="connsiteX0" fmla="*/ 0 w 544815"/>
              <a:gd name="connsiteY0" fmla="*/ 0 h 1921376"/>
              <a:gd name="connsiteX1" fmla="*/ 544815 w 544815"/>
              <a:gd name="connsiteY1" fmla="*/ 0 h 1921376"/>
              <a:gd name="connsiteX2" fmla="*/ 544815 w 544815"/>
              <a:gd name="connsiteY2" fmla="*/ 1921376 h 1921376"/>
              <a:gd name="connsiteX3" fmla="*/ 0 w 544815"/>
              <a:gd name="connsiteY3" fmla="*/ 1921376 h 1921376"/>
              <a:gd name="connsiteX4" fmla="*/ 0 w 544815"/>
              <a:gd name="connsiteY4" fmla="*/ 0 h 1921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815" h="1921376">
                <a:moveTo>
                  <a:pt x="0" y="0"/>
                </a:moveTo>
                <a:lnTo>
                  <a:pt x="544815" y="0"/>
                </a:lnTo>
                <a:lnTo>
                  <a:pt x="544815" y="1921376"/>
                </a:lnTo>
                <a:lnTo>
                  <a:pt x="0" y="19213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2456" tIns="92456" rIns="92456" bIns="92456" numCol="1" spcCol="1270" anchor="t"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333333">
                    <a:hueOff val="0"/>
                    <a:satOff val="0"/>
                    <a:lumOff val="0"/>
                    <a:alphaOff val="0"/>
                  </a:srgbClr>
                </a:solidFill>
                <a:effectLst/>
                <a:uLnTx/>
                <a:uFillTx/>
                <a:latin typeface="Arial"/>
                <a:ea typeface="+mn-ea"/>
                <a:cs typeface="+mn-cs"/>
              </a:rPr>
              <a:t>2015</a:t>
            </a:r>
          </a:p>
        </p:txBody>
      </p:sp>
      <p:sp>
        <p:nvSpPr>
          <p:cNvPr id="48" name="Freeform 47">
            <a:extLst>
              <a:ext uri="{FF2B5EF4-FFF2-40B4-BE49-F238E27FC236}">
                <a16:creationId xmlns:a16="http://schemas.microsoft.com/office/drawing/2014/main" id="{19CC7822-A9D8-2B4F-D2CB-F6294D8A5A67}"/>
              </a:ext>
            </a:extLst>
          </p:cNvPr>
          <p:cNvSpPr/>
          <p:nvPr/>
        </p:nvSpPr>
        <p:spPr>
          <a:xfrm>
            <a:off x="8502747" y="5426086"/>
            <a:ext cx="544815" cy="364275"/>
          </a:xfrm>
          <a:custGeom>
            <a:avLst/>
            <a:gdLst>
              <a:gd name="connsiteX0" fmla="*/ 0 w 544815"/>
              <a:gd name="connsiteY0" fmla="*/ 0 h 1921376"/>
              <a:gd name="connsiteX1" fmla="*/ 544815 w 544815"/>
              <a:gd name="connsiteY1" fmla="*/ 0 h 1921376"/>
              <a:gd name="connsiteX2" fmla="*/ 544815 w 544815"/>
              <a:gd name="connsiteY2" fmla="*/ 1921376 h 1921376"/>
              <a:gd name="connsiteX3" fmla="*/ 0 w 544815"/>
              <a:gd name="connsiteY3" fmla="*/ 1921376 h 1921376"/>
              <a:gd name="connsiteX4" fmla="*/ 0 w 544815"/>
              <a:gd name="connsiteY4" fmla="*/ 0 h 1921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815" h="1921376">
                <a:moveTo>
                  <a:pt x="0" y="0"/>
                </a:moveTo>
                <a:lnTo>
                  <a:pt x="544815" y="0"/>
                </a:lnTo>
                <a:lnTo>
                  <a:pt x="544815" y="1921376"/>
                </a:lnTo>
                <a:lnTo>
                  <a:pt x="0" y="19213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2456" tIns="92456" rIns="92456" bIns="92456" numCol="1" spcCol="1270" anchor="t"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333333">
                    <a:hueOff val="0"/>
                    <a:satOff val="0"/>
                    <a:lumOff val="0"/>
                    <a:alphaOff val="0"/>
                  </a:srgbClr>
                </a:solidFill>
                <a:effectLst/>
                <a:uLnTx/>
                <a:uFillTx/>
                <a:latin typeface="Arial"/>
                <a:ea typeface="+mn-ea"/>
                <a:cs typeface="+mn-cs"/>
              </a:rPr>
              <a:t>2018</a:t>
            </a:r>
          </a:p>
        </p:txBody>
      </p:sp>
      <p:grpSp>
        <p:nvGrpSpPr>
          <p:cNvPr id="49" name="Group 48">
            <a:extLst>
              <a:ext uri="{FF2B5EF4-FFF2-40B4-BE49-F238E27FC236}">
                <a16:creationId xmlns:a16="http://schemas.microsoft.com/office/drawing/2014/main" id="{979617A2-14A0-278F-FE42-C88279A18432}"/>
              </a:ext>
            </a:extLst>
          </p:cNvPr>
          <p:cNvGrpSpPr/>
          <p:nvPr/>
        </p:nvGrpSpPr>
        <p:grpSpPr>
          <a:xfrm>
            <a:off x="8276959" y="3438209"/>
            <a:ext cx="996389" cy="1336873"/>
            <a:chOff x="8536587" y="3089145"/>
            <a:chExt cx="996389" cy="1336873"/>
          </a:xfrm>
        </p:grpSpPr>
        <p:sp>
          <p:nvSpPr>
            <p:cNvPr id="50" name="Rounded Rectangle 49">
              <a:extLst>
                <a:ext uri="{FF2B5EF4-FFF2-40B4-BE49-F238E27FC236}">
                  <a16:creationId xmlns:a16="http://schemas.microsoft.com/office/drawing/2014/main" id="{5614C08A-F5FD-3BD2-AEED-9C47BD726E12}"/>
                </a:ext>
              </a:extLst>
            </p:cNvPr>
            <p:cNvSpPr/>
            <p:nvPr/>
          </p:nvSpPr>
          <p:spPr>
            <a:xfrm>
              <a:off x="8536587" y="3089145"/>
              <a:ext cx="996389" cy="1336873"/>
            </a:xfrm>
            <a:prstGeom prst="roundRect">
              <a:avLst>
                <a:gd name="adj" fmla="val 5263"/>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85000"/>
                      <a:lumOff val="15000"/>
                    </a:srgbClr>
                  </a:solidFill>
                  <a:effectLst/>
                  <a:uLnTx/>
                  <a:uFillTx/>
                  <a:latin typeface="Arial"/>
                  <a:ea typeface="+mn-ea"/>
                  <a:cs typeface="+mn-cs"/>
                </a:rPr>
                <a:t>Dir of R&amp;D</a:t>
              </a:r>
            </a:p>
          </p:txBody>
        </p:sp>
        <p:pic>
          <p:nvPicPr>
            <p:cNvPr id="51" name="Picture 50" descr="A blue and white logo&#10;&#10;Description automatically generated with low confidence">
              <a:extLst>
                <a:ext uri="{FF2B5EF4-FFF2-40B4-BE49-F238E27FC236}">
                  <a16:creationId xmlns:a16="http://schemas.microsoft.com/office/drawing/2014/main" id="{137380E6-4950-78AD-33FE-29F6A29EBFE0}"/>
                </a:ext>
              </a:extLst>
            </p:cNvPr>
            <p:cNvPicPr>
              <a:picLocks noChangeAspect="1"/>
            </p:cNvPicPr>
            <p:nvPr/>
          </p:nvPicPr>
          <p:blipFill>
            <a:blip r:embed="rId8"/>
            <a:stretch>
              <a:fillRect/>
            </a:stretch>
          </p:blipFill>
          <p:spPr>
            <a:xfrm>
              <a:off x="8623806" y="3194634"/>
              <a:ext cx="792195" cy="560087"/>
            </a:xfrm>
            <a:prstGeom prst="rect">
              <a:avLst/>
            </a:prstGeom>
          </p:spPr>
        </p:pic>
      </p:grpSp>
      <p:grpSp>
        <p:nvGrpSpPr>
          <p:cNvPr id="52" name="Group 51">
            <a:extLst>
              <a:ext uri="{FF2B5EF4-FFF2-40B4-BE49-F238E27FC236}">
                <a16:creationId xmlns:a16="http://schemas.microsoft.com/office/drawing/2014/main" id="{ADA4D782-4EB0-E5EE-F737-8AB5D1865255}"/>
              </a:ext>
            </a:extLst>
          </p:cNvPr>
          <p:cNvGrpSpPr/>
          <p:nvPr/>
        </p:nvGrpSpPr>
        <p:grpSpPr>
          <a:xfrm>
            <a:off x="5416677" y="3438211"/>
            <a:ext cx="996389" cy="1336873"/>
            <a:chOff x="5833772" y="3401965"/>
            <a:chExt cx="996389" cy="1336873"/>
          </a:xfrm>
        </p:grpSpPr>
        <p:sp>
          <p:nvSpPr>
            <p:cNvPr id="53" name="Rounded Rectangle 52">
              <a:extLst>
                <a:ext uri="{FF2B5EF4-FFF2-40B4-BE49-F238E27FC236}">
                  <a16:creationId xmlns:a16="http://schemas.microsoft.com/office/drawing/2014/main" id="{985B0029-0C8D-CC2C-0B30-95D730691C9B}"/>
                </a:ext>
              </a:extLst>
            </p:cNvPr>
            <p:cNvSpPr/>
            <p:nvPr/>
          </p:nvSpPr>
          <p:spPr>
            <a:xfrm>
              <a:off x="5833772" y="3401965"/>
              <a:ext cx="996389" cy="1336873"/>
            </a:xfrm>
            <a:prstGeom prst="roundRect">
              <a:avLst>
                <a:gd name="adj" fmla="val 5263"/>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85000"/>
                      <a:lumOff val="15000"/>
                    </a:srgbClr>
                  </a:solidFill>
                  <a:effectLst/>
                  <a:uLnTx/>
                  <a:uFillTx/>
                  <a:latin typeface="Arial"/>
                  <a:ea typeface="+mn-ea"/>
                  <a:cs typeface="+mn-cs"/>
                </a:rPr>
                <a:t>Dir of Utility Apps &amp; Solutions</a:t>
              </a:r>
            </a:p>
          </p:txBody>
        </p:sp>
        <p:pic>
          <p:nvPicPr>
            <p:cNvPr id="54" name="Picture 53">
              <a:extLst>
                <a:ext uri="{FF2B5EF4-FFF2-40B4-BE49-F238E27FC236}">
                  <a16:creationId xmlns:a16="http://schemas.microsoft.com/office/drawing/2014/main" id="{E2E4B3D3-4075-1193-B445-EE50BC0FBAFC}"/>
                </a:ext>
              </a:extLst>
            </p:cNvPr>
            <p:cNvPicPr>
              <a:picLocks noChangeAspect="1"/>
            </p:cNvPicPr>
            <p:nvPr/>
          </p:nvPicPr>
          <p:blipFill>
            <a:blip r:embed="rId9"/>
            <a:stretch>
              <a:fillRect/>
            </a:stretch>
          </p:blipFill>
          <p:spPr>
            <a:xfrm>
              <a:off x="6012326" y="3417354"/>
              <a:ext cx="650185" cy="650185"/>
            </a:xfrm>
            <a:prstGeom prst="rect">
              <a:avLst/>
            </a:prstGeom>
          </p:spPr>
        </p:pic>
      </p:grpSp>
      <p:grpSp>
        <p:nvGrpSpPr>
          <p:cNvPr id="55" name="Group 54">
            <a:extLst>
              <a:ext uri="{FF2B5EF4-FFF2-40B4-BE49-F238E27FC236}">
                <a16:creationId xmlns:a16="http://schemas.microsoft.com/office/drawing/2014/main" id="{9AD973BA-F023-288F-86AC-437341A2DAEC}"/>
              </a:ext>
            </a:extLst>
          </p:cNvPr>
          <p:cNvGrpSpPr/>
          <p:nvPr/>
        </p:nvGrpSpPr>
        <p:grpSpPr>
          <a:xfrm>
            <a:off x="6556233" y="3438210"/>
            <a:ext cx="996389" cy="1336873"/>
            <a:chOff x="6973328" y="3401964"/>
            <a:chExt cx="996389" cy="1336873"/>
          </a:xfrm>
        </p:grpSpPr>
        <p:sp>
          <p:nvSpPr>
            <p:cNvPr id="56" name="Rounded Rectangle 55">
              <a:extLst>
                <a:ext uri="{FF2B5EF4-FFF2-40B4-BE49-F238E27FC236}">
                  <a16:creationId xmlns:a16="http://schemas.microsoft.com/office/drawing/2014/main" id="{103DA8AF-0C38-C2EF-5CB1-23ED09679AB2}"/>
                </a:ext>
              </a:extLst>
            </p:cNvPr>
            <p:cNvSpPr/>
            <p:nvPr/>
          </p:nvSpPr>
          <p:spPr>
            <a:xfrm>
              <a:off x="6973328" y="3401964"/>
              <a:ext cx="996389" cy="1336873"/>
            </a:xfrm>
            <a:prstGeom prst="roundRect">
              <a:avLst>
                <a:gd name="adj" fmla="val 5263"/>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85000"/>
                      <a:lumOff val="15000"/>
                    </a:srgbClr>
                  </a:solidFill>
                  <a:effectLst/>
                  <a:uLnTx/>
                  <a:uFillTx/>
                  <a:latin typeface="Arial"/>
                  <a:ea typeface="+mn-ea"/>
                  <a:cs typeface="+mn-cs"/>
                </a:rPr>
                <a:t>AVP of Engineering</a:t>
              </a:r>
            </a:p>
          </p:txBody>
        </p:sp>
        <p:pic>
          <p:nvPicPr>
            <p:cNvPr id="57" name="Picture 56">
              <a:extLst>
                <a:ext uri="{FF2B5EF4-FFF2-40B4-BE49-F238E27FC236}">
                  <a16:creationId xmlns:a16="http://schemas.microsoft.com/office/drawing/2014/main" id="{790BF6F2-47CF-4726-3DC6-57E36A574A63}"/>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7000226" y="3518299"/>
              <a:ext cx="942592" cy="448294"/>
            </a:xfrm>
            <a:prstGeom prst="rect">
              <a:avLst/>
            </a:prstGeom>
          </p:spPr>
        </p:pic>
      </p:grpSp>
      <p:grpSp>
        <p:nvGrpSpPr>
          <p:cNvPr id="58" name="Group 57">
            <a:extLst>
              <a:ext uri="{FF2B5EF4-FFF2-40B4-BE49-F238E27FC236}">
                <a16:creationId xmlns:a16="http://schemas.microsoft.com/office/drawing/2014/main" id="{26863E89-D87D-E937-3F47-5728C371313E}"/>
              </a:ext>
            </a:extLst>
          </p:cNvPr>
          <p:cNvGrpSpPr/>
          <p:nvPr/>
        </p:nvGrpSpPr>
        <p:grpSpPr>
          <a:xfrm>
            <a:off x="1372948" y="3464462"/>
            <a:ext cx="996389" cy="1336890"/>
            <a:chOff x="118860" y="3401967"/>
            <a:chExt cx="996389" cy="1336890"/>
          </a:xfrm>
        </p:grpSpPr>
        <p:sp>
          <p:nvSpPr>
            <p:cNvPr id="59" name="Rounded Rectangle 58">
              <a:extLst>
                <a:ext uri="{FF2B5EF4-FFF2-40B4-BE49-F238E27FC236}">
                  <a16:creationId xmlns:a16="http://schemas.microsoft.com/office/drawing/2014/main" id="{4BFCC642-53C3-F810-BFF3-3DD713A99449}"/>
                </a:ext>
              </a:extLst>
            </p:cNvPr>
            <p:cNvSpPr/>
            <p:nvPr/>
          </p:nvSpPr>
          <p:spPr>
            <a:xfrm>
              <a:off x="118860" y="3401967"/>
              <a:ext cx="996389" cy="1336890"/>
            </a:xfrm>
            <a:prstGeom prst="roundRect">
              <a:avLst>
                <a:gd name="adj" fmla="val 5263"/>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85000"/>
                      <a:lumOff val="15000"/>
                    </a:srgbClr>
                  </a:solidFill>
                  <a:effectLst/>
                  <a:uLnTx/>
                  <a:uFillTx/>
                  <a:latin typeface="Arial"/>
                  <a:ea typeface="+mn-ea"/>
                  <a:cs typeface="+mn-cs"/>
                </a:rPr>
                <a:t>MSEE</a:t>
              </a:r>
            </a:p>
          </p:txBody>
        </p:sp>
        <p:pic>
          <p:nvPicPr>
            <p:cNvPr id="60" name="Picture 59">
              <a:extLst>
                <a:ext uri="{FF2B5EF4-FFF2-40B4-BE49-F238E27FC236}">
                  <a16:creationId xmlns:a16="http://schemas.microsoft.com/office/drawing/2014/main" id="{44AD74BF-60AD-16BA-CDAD-A843B3A26CF8}"/>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286748" y="3495880"/>
              <a:ext cx="660611" cy="648565"/>
            </a:xfrm>
            <a:prstGeom prst="rect">
              <a:avLst/>
            </a:prstGeom>
            <a:noFill/>
            <a:ln>
              <a:noFill/>
            </a:ln>
          </p:spPr>
        </p:pic>
      </p:grpSp>
      <p:grpSp>
        <p:nvGrpSpPr>
          <p:cNvPr id="61" name="Group 60">
            <a:extLst>
              <a:ext uri="{FF2B5EF4-FFF2-40B4-BE49-F238E27FC236}">
                <a16:creationId xmlns:a16="http://schemas.microsoft.com/office/drawing/2014/main" id="{9EFBC8D0-87F4-DB37-ECCA-7995186A78E2}"/>
              </a:ext>
            </a:extLst>
          </p:cNvPr>
          <p:cNvGrpSpPr/>
          <p:nvPr/>
        </p:nvGrpSpPr>
        <p:grpSpPr>
          <a:xfrm>
            <a:off x="3123545" y="3463120"/>
            <a:ext cx="996389" cy="1336890"/>
            <a:chOff x="118860" y="3401967"/>
            <a:chExt cx="996389" cy="1336890"/>
          </a:xfrm>
        </p:grpSpPr>
        <p:sp>
          <p:nvSpPr>
            <p:cNvPr id="62" name="Rounded Rectangle 61">
              <a:extLst>
                <a:ext uri="{FF2B5EF4-FFF2-40B4-BE49-F238E27FC236}">
                  <a16:creationId xmlns:a16="http://schemas.microsoft.com/office/drawing/2014/main" id="{2A71B3A6-D2BF-0057-415A-7FA00D2BAF96}"/>
                </a:ext>
              </a:extLst>
            </p:cNvPr>
            <p:cNvSpPr/>
            <p:nvPr/>
          </p:nvSpPr>
          <p:spPr>
            <a:xfrm>
              <a:off x="118860" y="3401967"/>
              <a:ext cx="996389" cy="1336890"/>
            </a:xfrm>
            <a:prstGeom prst="roundRect">
              <a:avLst>
                <a:gd name="adj" fmla="val 5263"/>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85000"/>
                      <a:lumOff val="15000"/>
                    </a:srgbClr>
                  </a:solidFill>
                  <a:effectLst/>
                  <a:uLnTx/>
                  <a:uFillTx/>
                  <a:latin typeface="Arial"/>
                  <a:ea typeface="+mn-ea"/>
                  <a:cs typeface="+mn-cs"/>
                </a:rPr>
                <a:t>MBA</a:t>
              </a:r>
            </a:p>
          </p:txBody>
        </p:sp>
        <p:pic>
          <p:nvPicPr>
            <p:cNvPr id="63" name="Picture 62">
              <a:extLst>
                <a:ext uri="{FF2B5EF4-FFF2-40B4-BE49-F238E27FC236}">
                  <a16:creationId xmlns:a16="http://schemas.microsoft.com/office/drawing/2014/main" id="{10D723E8-E0AA-6D70-CC99-A3BD280058CD}"/>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286748" y="3495880"/>
              <a:ext cx="660611" cy="648565"/>
            </a:xfrm>
            <a:prstGeom prst="rect">
              <a:avLst/>
            </a:prstGeom>
            <a:noFill/>
            <a:ln>
              <a:noFill/>
            </a:ln>
          </p:spPr>
        </p:pic>
      </p:grpSp>
      <p:sp>
        <p:nvSpPr>
          <p:cNvPr id="3328000" name="Oval 3327999">
            <a:extLst>
              <a:ext uri="{FF2B5EF4-FFF2-40B4-BE49-F238E27FC236}">
                <a16:creationId xmlns:a16="http://schemas.microsoft.com/office/drawing/2014/main" id="{17BAAB41-25C9-26E7-7D43-B5913F215AD0}"/>
              </a:ext>
            </a:extLst>
          </p:cNvPr>
          <p:cNvSpPr/>
          <p:nvPr/>
        </p:nvSpPr>
        <p:spPr>
          <a:xfrm>
            <a:off x="11452556" y="5239336"/>
            <a:ext cx="91440" cy="9144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cxnSp>
        <p:nvCxnSpPr>
          <p:cNvPr id="3328001" name="Straight Connector 3328000">
            <a:extLst>
              <a:ext uri="{FF2B5EF4-FFF2-40B4-BE49-F238E27FC236}">
                <a16:creationId xmlns:a16="http://schemas.microsoft.com/office/drawing/2014/main" id="{C5CE3B6F-A2E0-FDEC-54E1-206A7915C071}"/>
              </a:ext>
            </a:extLst>
          </p:cNvPr>
          <p:cNvCxnSpPr>
            <a:cxnSpLocks/>
            <a:stCxn id="39" idx="2"/>
            <a:endCxn id="37" idx="0"/>
          </p:cNvCxnSpPr>
          <p:nvPr/>
        </p:nvCxnSpPr>
        <p:spPr>
          <a:xfrm>
            <a:off x="729998" y="4800010"/>
            <a:ext cx="1" cy="396414"/>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28003" name="Straight Connector 3328002">
            <a:extLst>
              <a:ext uri="{FF2B5EF4-FFF2-40B4-BE49-F238E27FC236}">
                <a16:creationId xmlns:a16="http://schemas.microsoft.com/office/drawing/2014/main" id="{8C8A2BE6-3D42-2519-8795-7EC876925E8F}"/>
              </a:ext>
            </a:extLst>
          </p:cNvPr>
          <p:cNvCxnSpPr>
            <a:cxnSpLocks/>
            <a:stCxn id="59" idx="2"/>
            <a:endCxn id="19" idx="0"/>
          </p:cNvCxnSpPr>
          <p:nvPr/>
        </p:nvCxnSpPr>
        <p:spPr>
          <a:xfrm>
            <a:off x="1871143" y="4801352"/>
            <a:ext cx="2968" cy="38570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28004" name="Straight Connector 3328003">
            <a:extLst>
              <a:ext uri="{FF2B5EF4-FFF2-40B4-BE49-F238E27FC236}">
                <a16:creationId xmlns:a16="http://schemas.microsoft.com/office/drawing/2014/main" id="{2AB5B77B-2B22-F7FC-A1AF-E88BCB59B20E}"/>
              </a:ext>
            </a:extLst>
          </p:cNvPr>
          <p:cNvCxnSpPr>
            <a:cxnSpLocks/>
            <a:stCxn id="14" idx="2"/>
            <a:endCxn id="59" idx="0"/>
          </p:cNvCxnSpPr>
          <p:nvPr/>
        </p:nvCxnSpPr>
        <p:spPr>
          <a:xfrm>
            <a:off x="1871143" y="3216103"/>
            <a:ext cx="0" cy="24835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28005" name="Straight Connector 3328004">
            <a:extLst>
              <a:ext uri="{FF2B5EF4-FFF2-40B4-BE49-F238E27FC236}">
                <a16:creationId xmlns:a16="http://schemas.microsoft.com/office/drawing/2014/main" id="{E9FFB17C-5754-6AFC-1B2B-74D3E7DB2E41}"/>
              </a:ext>
            </a:extLst>
          </p:cNvPr>
          <p:cNvCxnSpPr>
            <a:cxnSpLocks/>
            <a:stCxn id="44" idx="2"/>
            <a:endCxn id="62" idx="0"/>
          </p:cNvCxnSpPr>
          <p:nvPr/>
        </p:nvCxnSpPr>
        <p:spPr>
          <a:xfrm>
            <a:off x="3621740" y="3206350"/>
            <a:ext cx="0" cy="25677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28006" name="Straight Connector 3328005">
            <a:extLst>
              <a:ext uri="{FF2B5EF4-FFF2-40B4-BE49-F238E27FC236}">
                <a16:creationId xmlns:a16="http://schemas.microsoft.com/office/drawing/2014/main" id="{49600206-D834-6134-A677-559D07E06060}"/>
              </a:ext>
            </a:extLst>
          </p:cNvPr>
          <p:cNvCxnSpPr>
            <a:cxnSpLocks/>
            <a:stCxn id="62" idx="2"/>
            <a:endCxn id="23" idx="0"/>
          </p:cNvCxnSpPr>
          <p:nvPr/>
        </p:nvCxnSpPr>
        <p:spPr>
          <a:xfrm>
            <a:off x="3621740" y="4800010"/>
            <a:ext cx="4908" cy="396414"/>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28007" name="Straight Connector 3328006">
            <a:extLst>
              <a:ext uri="{FF2B5EF4-FFF2-40B4-BE49-F238E27FC236}">
                <a16:creationId xmlns:a16="http://schemas.microsoft.com/office/drawing/2014/main" id="{F5CED96C-E4A2-3902-EFDD-F925AA70991B}"/>
              </a:ext>
            </a:extLst>
          </p:cNvPr>
          <p:cNvCxnSpPr>
            <a:cxnSpLocks/>
            <a:stCxn id="53" idx="2"/>
            <a:endCxn id="27" idx="0"/>
          </p:cNvCxnSpPr>
          <p:nvPr/>
        </p:nvCxnSpPr>
        <p:spPr>
          <a:xfrm>
            <a:off x="5914872" y="4775084"/>
            <a:ext cx="1" cy="42134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28008" name="Straight Connector 3328007">
            <a:extLst>
              <a:ext uri="{FF2B5EF4-FFF2-40B4-BE49-F238E27FC236}">
                <a16:creationId xmlns:a16="http://schemas.microsoft.com/office/drawing/2014/main" id="{DCA80955-3BCD-C7EC-B488-47971A1DAE04}"/>
              </a:ext>
            </a:extLst>
          </p:cNvPr>
          <p:cNvCxnSpPr>
            <a:cxnSpLocks/>
            <a:stCxn id="56" idx="2"/>
            <a:endCxn id="29" idx="0"/>
          </p:cNvCxnSpPr>
          <p:nvPr/>
        </p:nvCxnSpPr>
        <p:spPr>
          <a:xfrm>
            <a:off x="7054428" y="4775083"/>
            <a:ext cx="4558" cy="42134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28009" name="Straight Connector 3328008">
            <a:extLst>
              <a:ext uri="{FF2B5EF4-FFF2-40B4-BE49-F238E27FC236}">
                <a16:creationId xmlns:a16="http://schemas.microsoft.com/office/drawing/2014/main" id="{3114C670-5E84-5BB3-497B-5F46AC28868A}"/>
              </a:ext>
            </a:extLst>
          </p:cNvPr>
          <p:cNvCxnSpPr>
            <a:cxnSpLocks/>
            <a:stCxn id="50" idx="2"/>
            <a:endCxn id="32" idx="0"/>
          </p:cNvCxnSpPr>
          <p:nvPr/>
        </p:nvCxnSpPr>
        <p:spPr>
          <a:xfrm>
            <a:off x="8775154" y="4775082"/>
            <a:ext cx="1" cy="421342"/>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328010" name="Oval 3328009">
            <a:extLst>
              <a:ext uri="{FF2B5EF4-FFF2-40B4-BE49-F238E27FC236}">
                <a16:creationId xmlns:a16="http://schemas.microsoft.com/office/drawing/2014/main" id="{8481642D-5566-D9F2-36FE-01C951A6ADC0}"/>
              </a:ext>
            </a:extLst>
          </p:cNvPr>
          <p:cNvSpPr/>
          <p:nvPr/>
        </p:nvSpPr>
        <p:spPr>
          <a:xfrm>
            <a:off x="10655216" y="5237857"/>
            <a:ext cx="91440" cy="9144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3328011" name="Oval 3328010">
            <a:extLst>
              <a:ext uri="{FF2B5EF4-FFF2-40B4-BE49-F238E27FC236}">
                <a16:creationId xmlns:a16="http://schemas.microsoft.com/office/drawing/2014/main" id="{A12B92C3-6B11-B91B-B615-3A06428183DE}"/>
              </a:ext>
            </a:extLst>
          </p:cNvPr>
          <p:cNvSpPr/>
          <p:nvPr/>
        </p:nvSpPr>
        <p:spPr>
          <a:xfrm>
            <a:off x="11175587" y="5240664"/>
            <a:ext cx="91440" cy="9144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2387318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err="1">
                <a:solidFill>
                  <a:schemeClr val="tx1"/>
                </a:solidFill>
                <a:latin typeface="Calibri" panose="020F0502020204030204" pitchFamily="34" charset="0"/>
                <a:ea typeface="Calibri" panose="020F0502020204030204" pitchFamily="34" charset="0"/>
                <a:cs typeface="Calibri" panose="020F0502020204030204" pitchFamily="34" charset="0"/>
              </a:rPr>
              <a:t>ATD</a:t>
            </a:r>
            <a:r>
              <a:rPr lang="en-US" sz="3600" i="0" dirty="0">
                <a:solidFill>
                  <a:schemeClr val="tx1"/>
                </a:solidFill>
                <a:latin typeface="Calibri" panose="020F0502020204030204" pitchFamily="34" charset="0"/>
                <a:ea typeface="Calibri" panose="020F0502020204030204" pitchFamily="34" charset="0"/>
                <a:cs typeface="Calibri" panose="020F0502020204030204" pitchFamily="34" charset="0"/>
              </a:rPr>
              <a:t> Recent Intra-Group Collaborations</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406400" y="1078299"/>
            <a:ext cx="6018463" cy="4978738"/>
          </a:xfrm>
        </p:spPr>
        <p:txBody>
          <a:bodyPr>
            <a:normAutofit/>
          </a:bodyPr>
          <a:lstStyle/>
          <a:p>
            <a:pPr marL="342900" lvl="1" indent="-342900">
              <a:lnSpc>
                <a:spcPct val="100000"/>
              </a:lnSpc>
              <a:spcBef>
                <a:spcPts val="0"/>
              </a:spcBef>
              <a:buClr>
                <a:schemeClr val="tx1"/>
              </a:buClr>
              <a:buSzPct val="8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Diram</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PCBA designs</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SAM PCBA and enclosure Assemblies</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Prototype PCBA manufacturing</a:t>
            </a:r>
          </a:p>
          <a:p>
            <a:pPr marL="342900" lvl="1" indent="-342900">
              <a:lnSpc>
                <a:spcPct val="100000"/>
              </a:lnSpc>
              <a:spcBef>
                <a:spcPts val="0"/>
              </a:spcBef>
              <a:buClr>
                <a:schemeClr val="tx1"/>
              </a:buClr>
              <a:buSzPct val="8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SWI</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Arrester health monitoring prototype thermal sensor (IM500)</a:t>
            </a: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 name="Picture 1" descr="A close-up of a circuit board&#10;&#10;AI-generated content may be incorrect.">
            <a:extLst>
              <a:ext uri="{FF2B5EF4-FFF2-40B4-BE49-F238E27FC236}">
                <a16:creationId xmlns:a16="http://schemas.microsoft.com/office/drawing/2014/main" id="{AC5EA427-1584-173A-5803-E7E54FAA4531}"/>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a:xfrm rot="16200000">
            <a:off x="3166223" y="3006944"/>
            <a:ext cx="2760939" cy="3644045"/>
          </a:xfrm>
          <a:prstGeom prst="roundRect">
            <a:avLst>
              <a:gd name="adj" fmla="val 8922"/>
            </a:avLst>
          </a:prstGeom>
        </p:spPr>
      </p:pic>
      <p:pic>
        <p:nvPicPr>
          <p:cNvPr id="12" name="Picture 11" descr="A white box with wires on top of it&#10;&#10;AI-generated content may be incorrect.">
            <a:extLst>
              <a:ext uri="{FF2B5EF4-FFF2-40B4-BE49-F238E27FC236}">
                <a16:creationId xmlns:a16="http://schemas.microsoft.com/office/drawing/2014/main" id="{49A356A0-134D-1724-6CCC-076B4F020850}"/>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a:xfrm>
            <a:off x="128645" y="3437879"/>
            <a:ext cx="2435954" cy="2111652"/>
          </a:xfrm>
          <a:prstGeom prst="roundRect">
            <a:avLst>
              <a:gd name="adj" fmla="val 8922"/>
            </a:avLst>
          </a:prstGeom>
        </p:spPr>
      </p:pic>
      <p:pic>
        <p:nvPicPr>
          <p:cNvPr id="16" name="Picture 15">
            <a:extLst>
              <a:ext uri="{FF2B5EF4-FFF2-40B4-BE49-F238E27FC236}">
                <a16:creationId xmlns:a16="http://schemas.microsoft.com/office/drawing/2014/main" id="{5641B985-788B-EB24-7D9C-FA4BF4D7FB6F}"/>
              </a:ext>
            </a:extLst>
          </p:cNvPr>
          <p:cNvPicPr>
            <a:picLocks noChangeAspect="1"/>
          </p:cNvPicPr>
          <p:nvPr/>
        </p:nvPicPr>
        <p:blipFill>
          <a:blip r:embed="rId7">
            <a:extLst>
              <a:ext uri="{28A0092B-C50C-407E-A947-70E740481C1C}">
                <a14:useLocalDpi xmlns:a14="http://schemas.microsoft.com/office/drawing/2010/main"/>
              </a:ext>
            </a:extLst>
          </a:blip>
          <a:srcRect/>
          <a:stretch/>
        </p:blipFill>
        <p:spPr>
          <a:xfrm>
            <a:off x="6521074" y="1430696"/>
            <a:ext cx="5542281" cy="4118835"/>
          </a:xfrm>
          <a:prstGeom prst="roundRect">
            <a:avLst>
              <a:gd name="adj" fmla="val 0"/>
            </a:avLst>
          </a:prstGeom>
        </p:spPr>
      </p:pic>
    </p:spTree>
    <p:extLst>
      <p:ext uri="{BB962C8B-B14F-4D97-AF65-F5344CB8AC3E}">
        <p14:creationId xmlns:p14="http://schemas.microsoft.com/office/powerpoint/2010/main" val="20849490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err="1">
                <a:solidFill>
                  <a:schemeClr val="tx1"/>
                </a:solidFill>
                <a:latin typeface="Calibri" panose="020F0502020204030204" pitchFamily="34" charset="0"/>
                <a:ea typeface="Calibri" panose="020F0502020204030204" pitchFamily="34" charset="0"/>
                <a:cs typeface="Calibri" panose="020F0502020204030204" pitchFamily="34" charset="0"/>
              </a:rPr>
              <a:t>ATD</a:t>
            </a:r>
            <a:r>
              <a:rPr lang="en-US" sz="3600" i="0" dirty="0">
                <a:solidFill>
                  <a:schemeClr val="tx1"/>
                </a:solidFill>
                <a:latin typeface="Calibri" panose="020F0502020204030204" pitchFamily="34" charset="0"/>
                <a:ea typeface="Calibri" panose="020F0502020204030204" pitchFamily="34" charset="0"/>
                <a:cs typeface="Calibri" panose="020F0502020204030204" pitchFamily="34" charset="0"/>
              </a:rPr>
              <a:t> Employees</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aphicFrame>
        <p:nvGraphicFramePr>
          <p:cNvPr id="13" name="Diagram 12">
            <a:extLst>
              <a:ext uri="{FF2B5EF4-FFF2-40B4-BE49-F238E27FC236}">
                <a16:creationId xmlns:a16="http://schemas.microsoft.com/office/drawing/2014/main" id="{7B20051B-7869-4D52-69F8-02B422E80442}"/>
              </a:ext>
            </a:extLst>
          </p:cNvPr>
          <p:cNvGraphicFramePr/>
          <p:nvPr>
            <p:extLst>
              <p:ext uri="{D42A27DB-BD31-4B8C-83A1-F6EECF244321}">
                <p14:modId xmlns:p14="http://schemas.microsoft.com/office/powerpoint/2010/main" val="3208539912"/>
              </p:ext>
            </p:extLst>
          </p:nvPr>
        </p:nvGraphicFramePr>
        <p:xfrm>
          <a:off x="-8018" y="1143000"/>
          <a:ext cx="12192000" cy="352719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1" name="TextBox 20">
            <a:extLst>
              <a:ext uri="{FF2B5EF4-FFF2-40B4-BE49-F238E27FC236}">
                <a16:creationId xmlns:a16="http://schemas.microsoft.com/office/drawing/2014/main" id="{FC6678C4-F3F8-7BC5-51A1-0774F95DF539}"/>
              </a:ext>
            </a:extLst>
          </p:cNvPr>
          <p:cNvSpPr txBox="1"/>
          <p:nvPr/>
        </p:nvSpPr>
        <p:spPr>
          <a:xfrm>
            <a:off x="3481137" y="5037221"/>
            <a:ext cx="0" cy="0"/>
          </a:xfrm>
          <a:prstGeom prst="rect">
            <a:avLst/>
          </a:prstGeom>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E06D16F3-E92B-066B-E21A-B85B637A4D00}"/>
              </a:ext>
            </a:extLst>
          </p:cNvPr>
          <p:cNvSpPr txBox="1"/>
          <p:nvPr/>
        </p:nvSpPr>
        <p:spPr>
          <a:xfrm>
            <a:off x="3007895" y="5069305"/>
            <a:ext cx="0" cy="0"/>
          </a:xfrm>
          <a:prstGeom prst="rect">
            <a:avLst/>
          </a:prstGeom>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F9A010DA-E289-AE43-838D-807443658A08}"/>
              </a:ext>
            </a:extLst>
          </p:cNvPr>
          <p:cNvSpPr txBox="1"/>
          <p:nvPr/>
        </p:nvSpPr>
        <p:spPr>
          <a:xfrm>
            <a:off x="2939494" y="3970268"/>
            <a:ext cx="6031832" cy="970548"/>
          </a:xfrm>
          <a:prstGeom prst="rect">
            <a:avLst/>
          </a:prstGeom>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05488"/>
              </a:solidFill>
              <a:effectLst/>
              <a:uLnTx/>
              <a:uFillTx/>
              <a:latin typeface="Arial"/>
              <a:ea typeface="+mn-ea"/>
              <a:cs typeface="+mn-cs"/>
            </a:endParaRPr>
          </a:p>
        </p:txBody>
      </p:sp>
      <p:sp>
        <p:nvSpPr>
          <p:cNvPr id="24" name="TextBox 23">
            <a:extLst>
              <a:ext uri="{FF2B5EF4-FFF2-40B4-BE49-F238E27FC236}">
                <a16:creationId xmlns:a16="http://schemas.microsoft.com/office/drawing/2014/main" id="{2B8CC32F-83F6-FECD-0501-C1860BEDF9BB}"/>
              </a:ext>
            </a:extLst>
          </p:cNvPr>
          <p:cNvSpPr txBox="1"/>
          <p:nvPr/>
        </p:nvSpPr>
        <p:spPr>
          <a:xfrm>
            <a:off x="235132" y="4101261"/>
            <a:ext cx="10679713" cy="2510448"/>
          </a:xfrm>
          <a:prstGeom prst="rect">
            <a:avLst/>
          </a:prstGeom>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5488"/>
                </a:solidFill>
                <a:effectLst/>
                <a:uLnTx/>
                <a:uFillTx/>
                <a:latin typeface="Calibri" panose="020F0502020204030204" pitchFamily="34" charset="0"/>
                <a:ea typeface="Calibri" panose="020F0502020204030204" pitchFamily="34" charset="0"/>
                <a:cs typeface="Calibri" panose="020F0502020204030204" pitchFamily="34" charset="0"/>
              </a:rPr>
              <a:t>Freedom to Explore and Fa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05488"/>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5488"/>
                </a:solidFill>
                <a:effectLst/>
                <a:uLnTx/>
                <a:uFillTx/>
                <a:latin typeface="Calibri" panose="020F0502020204030204" pitchFamily="34" charset="0"/>
                <a:ea typeface="Calibri" panose="020F0502020204030204" pitchFamily="34" charset="0"/>
                <a:cs typeface="Calibri" panose="020F0502020204030204" pitchFamily="34" charset="0"/>
              </a:rPr>
              <a:t>“Failure is a prerequisite for great success.  If you want to succeed faster, double your rate of failure.” – Brian Trac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05488"/>
              </a:solidFill>
              <a:effectLst/>
              <a:uLnTx/>
              <a:uFillTx/>
              <a:latin typeface="Arial"/>
              <a:ea typeface="+mn-ea"/>
              <a:cs typeface="+mn-cs"/>
            </a:endParaRPr>
          </a:p>
        </p:txBody>
      </p:sp>
    </p:spTree>
    <p:extLst>
      <p:ext uri="{BB962C8B-B14F-4D97-AF65-F5344CB8AC3E}">
        <p14:creationId xmlns:p14="http://schemas.microsoft.com/office/powerpoint/2010/main" val="14173826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4B9DE94-06FD-BA6E-27D9-D5411C1CAB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6" name="think-cell data - do not delete" hidden="1">
                        <a:extLst>
                          <a:ext uri="{FF2B5EF4-FFF2-40B4-BE49-F238E27FC236}">
                            <a16:creationId xmlns:a16="http://schemas.microsoft.com/office/drawing/2014/main" id="{74B9DE94-06FD-BA6E-27D9-D5411C1CAB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EFA49A-D6F0-94EB-2E4A-46AC510574DD}"/>
              </a:ext>
            </a:extLst>
          </p:cNvPr>
          <p:cNvSpPr>
            <a:spLocks noGrp="1"/>
          </p:cNvSpPr>
          <p:nvPr>
            <p:ph type="title"/>
          </p:nvPr>
        </p:nvSpPr>
        <p:spPr>
          <a:xfrm>
            <a:off x="518584" y="1869548"/>
            <a:ext cx="6134143" cy="2124075"/>
          </a:xfrm>
        </p:spPr>
        <p:txBody>
          <a:bodyPr vert="horz"/>
          <a:lstStyle/>
          <a:p>
            <a:r>
              <a:rPr lang="en-US" sz="4000" dirty="0">
                <a:latin typeface="Calibri" panose="020F0502020204030204" pitchFamily="34" charset="0"/>
                <a:ea typeface="Calibri" panose="020F0502020204030204" pitchFamily="34" charset="0"/>
                <a:cs typeface="Calibri" panose="020F0502020204030204" pitchFamily="34" charset="0"/>
              </a:rPr>
              <a:t>Power Systems Solutions Division</a:t>
            </a:r>
          </a:p>
        </p:txBody>
      </p:sp>
      <p:pic>
        <p:nvPicPr>
          <p:cNvPr id="5" name="Picture 4" descr="A logo with a black background&#10;&#10;Description automatically generated">
            <a:extLst>
              <a:ext uri="{FF2B5EF4-FFF2-40B4-BE49-F238E27FC236}">
                <a16:creationId xmlns:a16="http://schemas.microsoft.com/office/drawing/2014/main" id="{D3A6B119-F6CC-4047-805C-52E2D186234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92" y="228600"/>
            <a:ext cx="2197848" cy="928955"/>
          </a:xfrm>
          <a:prstGeom prst="rect">
            <a:avLst/>
          </a:prstGeom>
        </p:spPr>
      </p:pic>
      <p:pic>
        <p:nvPicPr>
          <p:cNvPr id="3" name="Picture 2">
            <a:extLst>
              <a:ext uri="{FF2B5EF4-FFF2-40B4-BE49-F238E27FC236}">
                <a16:creationId xmlns:a16="http://schemas.microsoft.com/office/drawing/2014/main" id="{E5C7A4F3-CB5E-4A99-973F-D43659E1DAD5}"/>
              </a:ext>
            </a:extLst>
          </p:cNvPr>
          <p:cNvPicPr>
            <a:picLocks noChangeAspect="1"/>
          </p:cNvPicPr>
          <p:nvPr/>
        </p:nvPicPr>
        <p:blipFill>
          <a:blip r:embed="rId7"/>
          <a:stretch>
            <a:fillRect/>
          </a:stretch>
        </p:blipFill>
        <p:spPr>
          <a:xfrm>
            <a:off x="6344816" y="337512"/>
            <a:ext cx="5428084" cy="5428084"/>
          </a:xfrm>
          <a:prstGeom prst="rect">
            <a:avLst/>
          </a:prstGeom>
        </p:spPr>
      </p:pic>
    </p:spTree>
    <p:extLst>
      <p:ext uri="{BB962C8B-B14F-4D97-AF65-F5344CB8AC3E}">
        <p14:creationId xmlns:p14="http://schemas.microsoft.com/office/powerpoint/2010/main" val="26543559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2900" i="0" dirty="0">
                <a:solidFill>
                  <a:schemeClr val="tx1"/>
                </a:solidFill>
                <a:latin typeface="Calibri" panose="020F0502020204030204" pitchFamily="34" charset="0"/>
                <a:ea typeface="Calibri" panose="020F0502020204030204" pitchFamily="34" charset="0"/>
                <a:cs typeface="Calibri" panose="020F0502020204030204" pitchFamily="34" charset="0"/>
              </a:rPr>
              <a:t>Power Solutions Division Vice President and General Manager</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8" y="1444752"/>
            <a:ext cx="11152004" cy="4978738"/>
          </a:xfrm>
        </p:spPr>
        <p:txBody>
          <a:bodyPr>
            <a:normAutofit/>
          </a:bodyPr>
          <a:lstStyle/>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Karl Fender</a:t>
            </a: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BSEE and MBA from USC</a:t>
            </a:r>
            <a:endPar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endParaRP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US Navy Officer</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USS Tecumseh (SSBN-628)</a:t>
            </a: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USS Narwhal (SSN-671)</a:t>
            </a: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23 years in various engineering and commercial leadership roles at Cooper Power Systems / Eaton all in the power capacitor business unit</a:t>
            </a: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7 months as a FACTS Business Development Manager for Siemens</a:t>
            </a: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9.5 years at Southern States, LLC</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National Sales Manager – Power Switching Division</a:t>
            </a: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General Manager – Power Switching and Power Systems Solutions Divisions</a:t>
            </a: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General Manager – Power Systems Solutions Division</a:t>
            </a: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7902727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400" dirty="0">
                <a:effectLst/>
              </a:rPr>
              <a:t>Power Systems Solution Division </a:t>
            </a:r>
            <a:r>
              <a:rPr lang="en-US" sz="3400" i="0" dirty="0">
                <a:effectLst/>
              </a:rPr>
              <a:t>Management Team</a:t>
            </a:r>
            <a:endParaRPr lang="en-US" sz="3400" i="0" dirty="0">
              <a:effectLst/>
              <a:ea typeface="ＭＳ Ｐゴシック" pitchFamily="34" charset="-128"/>
              <a:cs typeface="Calibri"/>
            </a:endParaRPr>
          </a:p>
        </p:txBody>
      </p:sp>
      <p:pic>
        <p:nvPicPr>
          <p:cNvPr id="5" name="Picture 4" descr="A logo with a black background&#10;&#10;Description automatically generated">
            <a:extLst>
              <a:ext uri="{FF2B5EF4-FFF2-40B4-BE49-F238E27FC236}">
                <a16:creationId xmlns:a16="http://schemas.microsoft.com/office/drawing/2014/main" id="{BBD93E03-E1A9-4442-920C-FE128D61BB5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sp>
        <p:nvSpPr>
          <p:cNvPr id="8" name="_s1048">
            <a:extLst>
              <a:ext uri="{FF2B5EF4-FFF2-40B4-BE49-F238E27FC236}">
                <a16:creationId xmlns:a16="http://schemas.microsoft.com/office/drawing/2014/main" id="{D9195898-5299-4EF8-BA1B-10F685FBCF58}"/>
              </a:ext>
            </a:extLst>
          </p:cNvPr>
          <p:cNvSpPr>
            <a:spLocks noChangeArrowheads="1"/>
          </p:cNvSpPr>
          <p:nvPr/>
        </p:nvSpPr>
        <p:spPr bwMode="auto">
          <a:xfrm>
            <a:off x="5475074" y="2225271"/>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VP and GM</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Power Systems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olutions Division</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Karl Fender</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25" name="Straight Connector 24">
            <a:extLst>
              <a:ext uri="{FF2B5EF4-FFF2-40B4-BE49-F238E27FC236}">
                <a16:creationId xmlns:a16="http://schemas.microsoft.com/office/drawing/2014/main" id="{A8D7D701-0665-40E5-899F-F2E392362F6F}"/>
              </a:ext>
            </a:extLst>
          </p:cNvPr>
          <p:cNvCxnSpPr>
            <a:cxnSpLocks/>
          </p:cNvCxnSpPr>
          <p:nvPr/>
        </p:nvCxnSpPr>
        <p:spPr>
          <a:xfrm flipV="1">
            <a:off x="2539664" y="3034382"/>
            <a:ext cx="7299852" cy="3129"/>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_s1065">
            <a:extLst>
              <a:ext uri="{FF2B5EF4-FFF2-40B4-BE49-F238E27FC236}">
                <a16:creationId xmlns:a16="http://schemas.microsoft.com/office/drawing/2014/main" id="{996B0B4C-BAA1-4BD7-A2B3-2838EA5DFE70}"/>
              </a:ext>
            </a:extLst>
          </p:cNvPr>
          <p:cNvSpPr>
            <a:spLocks noChangeArrowheads="1"/>
          </p:cNvSpPr>
          <p:nvPr/>
        </p:nvSpPr>
        <p:spPr bwMode="auto">
          <a:xfrm>
            <a:off x="1983662" y="3302681"/>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irecto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rketing</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Alejandro Reynoso</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2" name="_s1065">
            <a:extLst>
              <a:ext uri="{FF2B5EF4-FFF2-40B4-BE49-F238E27FC236}">
                <a16:creationId xmlns:a16="http://schemas.microsoft.com/office/drawing/2014/main" id="{F700CDAD-0C5C-4873-9A5F-2CF9F7F7BA81}"/>
              </a:ext>
            </a:extLst>
          </p:cNvPr>
          <p:cNvSpPr>
            <a:spLocks noChangeArrowheads="1"/>
          </p:cNvSpPr>
          <p:nvPr/>
        </p:nvSpPr>
        <p:spPr bwMode="auto">
          <a:xfrm>
            <a:off x="4285159" y="3302681"/>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irecto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Business</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evelopment</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tt Pugh</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5" name="_s1065">
            <a:extLst>
              <a:ext uri="{FF2B5EF4-FFF2-40B4-BE49-F238E27FC236}">
                <a16:creationId xmlns:a16="http://schemas.microsoft.com/office/drawing/2014/main" id="{5833EE2F-61C4-459D-8BFA-0956A4B1A890}"/>
              </a:ext>
            </a:extLst>
          </p:cNvPr>
          <p:cNvSpPr>
            <a:spLocks noChangeArrowheads="1"/>
          </p:cNvSpPr>
          <p:nvPr/>
        </p:nvSpPr>
        <p:spPr bwMode="auto">
          <a:xfrm>
            <a:off x="9264599" y="3302681"/>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Chief</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Engine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ＭＳ Ｐゴシック"/>
                <a:cs typeface="+mn-cs"/>
              </a:rPr>
              <a:t>Alejandro Deschamps</a:t>
            </a:r>
            <a:endParaRPr kumimoji="0" lang="en-US" sz="8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85" name="Straight Connector 84">
            <a:extLst>
              <a:ext uri="{FF2B5EF4-FFF2-40B4-BE49-F238E27FC236}">
                <a16:creationId xmlns:a16="http://schemas.microsoft.com/office/drawing/2014/main" id="{CCD7E179-8168-4C33-9AAF-A0C2952E27F2}"/>
              </a:ext>
            </a:extLst>
          </p:cNvPr>
          <p:cNvCxnSpPr>
            <a:cxnSpLocks/>
          </p:cNvCxnSpPr>
          <p:nvPr/>
        </p:nvCxnSpPr>
        <p:spPr>
          <a:xfrm>
            <a:off x="2539664" y="3046936"/>
            <a:ext cx="0" cy="26566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504E0C-DB90-4BCB-A55F-E15262170549}"/>
              </a:ext>
            </a:extLst>
          </p:cNvPr>
          <p:cNvCxnSpPr>
            <a:cxnSpLocks/>
          </p:cNvCxnSpPr>
          <p:nvPr/>
        </p:nvCxnSpPr>
        <p:spPr>
          <a:xfrm>
            <a:off x="4883465" y="3046936"/>
            <a:ext cx="0" cy="26566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E211A8-A5B6-4243-85DE-00D0B98E8581}"/>
              </a:ext>
            </a:extLst>
          </p:cNvPr>
          <p:cNvCxnSpPr>
            <a:cxnSpLocks/>
          </p:cNvCxnSpPr>
          <p:nvPr/>
        </p:nvCxnSpPr>
        <p:spPr>
          <a:xfrm>
            <a:off x="7241857" y="3046936"/>
            <a:ext cx="0" cy="26566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BA23260-AEB1-4DD4-9D52-FDF8B1BE144A}"/>
              </a:ext>
            </a:extLst>
          </p:cNvPr>
          <p:cNvCxnSpPr>
            <a:cxnSpLocks/>
          </p:cNvCxnSpPr>
          <p:nvPr/>
        </p:nvCxnSpPr>
        <p:spPr>
          <a:xfrm>
            <a:off x="6046574" y="2819631"/>
            <a:ext cx="0" cy="22730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_s1065">
            <a:extLst>
              <a:ext uri="{FF2B5EF4-FFF2-40B4-BE49-F238E27FC236}">
                <a16:creationId xmlns:a16="http://schemas.microsoft.com/office/drawing/2014/main" id="{5E31E2D5-F65B-4252-B584-D813496F6BF5}"/>
              </a:ext>
            </a:extLst>
          </p:cNvPr>
          <p:cNvSpPr>
            <a:spLocks noChangeArrowheads="1"/>
          </p:cNvSpPr>
          <p:nvPr/>
        </p:nvSpPr>
        <p:spPr bwMode="auto">
          <a:xfrm>
            <a:off x="6670357" y="3302681"/>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irector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Power Electronics</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ＭＳ Ｐゴシック"/>
                <a:cs typeface="+mn-cs"/>
              </a:rPr>
              <a:t>John Schwartzenberg</a:t>
            </a:r>
            <a:endParaRPr kumimoji="0" lang="en-US" sz="8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21" name="Straight Connector 20">
            <a:extLst>
              <a:ext uri="{FF2B5EF4-FFF2-40B4-BE49-F238E27FC236}">
                <a16:creationId xmlns:a16="http://schemas.microsoft.com/office/drawing/2014/main" id="{800DE300-447F-4074-ADC7-ECAF3026E91B}"/>
              </a:ext>
            </a:extLst>
          </p:cNvPr>
          <p:cNvCxnSpPr>
            <a:cxnSpLocks/>
          </p:cNvCxnSpPr>
          <p:nvPr/>
        </p:nvCxnSpPr>
        <p:spPr>
          <a:xfrm>
            <a:off x="9836099" y="3037013"/>
            <a:ext cx="0" cy="26566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075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a:solidFill>
                  <a:schemeClr val="tx1"/>
                </a:solidFill>
                <a:latin typeface="Calibri" panose="020F0502020204030204" pitchFamily="34" charset="0"/>
                <a:ea typeface="Calibri" panose="020F0502020204030204" pitchFamily="34" charset="0"/>
                <a:cs typeface="Calibri" panose="020F0502020204030204" pitchFamily="34" charset="0"/>
              </a:rPr>
              <a:t>Power Solutions Division Product Focus </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8" y="1444752"/>
            <a:ext cx="11160252" cy="4978738"/>
          </a:xfrm>
        </p:spPr>
        <p:txBody>
          <a:bodyPr>
            <a:normAutofit/>
          </a:bodyPr>
          <a:lstStyle/>
          <a:p>
            <a:pPr marL="0" lvl="1" indent="0" algn="ctr">
              <a:lnSpc>
                <a:spcPct val="100000"/>
              </a:lnSpc>
              <a:spcBef>
                <a:spcPts val="0"/>
              </a:spcBef>
              <a:buClr>
                <a:schemeClr val="tx1"/>
              </a:buClr>
              <a:buSzPct val="80000"/>
              <a:buNone/>
            </a:pPr>
            <a:r>
              <a:rPr lang="en-US" sz="2400" i="1" dirty="0">
                <a:solidFill>
                  <a:schemeClr val="tx1"/>
                </a:solidFill>
                <a:latin typeface="Calibri" panose="020F0502020204030204" pitchFamily="34" charset="0"/>
                <a:ea typeface="Calibri" panose="020F0502020204030204" pitchFamily="34" charset="0"/>
                <a:cs typeface="Calibri" panose="020F0502020204030204" pitchFamily="34" charset="0"/>
              </a:rPr>
              <a:t>PSSD </a:t>
            </a:r>
            <a:r>
              <a:rPr lang="en-US" sz="2400" i="1" dirty="0">
                <a:solidFill>
                  <a:schemeClr val="tx1"/>
                </a:solidFill>
                <a:latin typeface="Calibri" panose="020F0502020204030204" pitchFamily="34" charset="0"/>
                <a:cs typeface="Calibri" panose="020F0502020204030204" pitchFamily="34" charset="0"/>
              </a:rPr>
              <a:t>delivers </a:t>
            </a:r>
            <a:r>
              <a:rPr lang="en-US" sz="2400" b="1" i="1" dirty="0">
                <a:solidFill>
                  <a:schemeClr val="tx1"/>
                </a:solidFill>
                <a:latin typeface="Calibri" panose="020F0502020204030204" pitchFamily="34" charset="0"/>
                <a:cs typeface="Calibri" panose="020F0502020204030204" pitchFamily="34" charset="0"/>
              </a:rPr>
              <a:t>engineered solutions </a:t>
            </a:r>
            <a:r>
              <a:rPr lang="en-US" sz="2400" i="1" dirty="0">
                <a:solidFill>
                  <a:schemeClr val="tx1"/>
                </a:solidFill>
                <a:latin typeface="Calibri" panose="020F0502020204030204" pitchFamily="34" charset="0"/>
                <a:cs typeface="Calibri" panose="020F0502020204030204" pitchFamily="34" charset="0"/>
              </a:rPr>
              <a:t>that improve power quality, grid stability, and overall system reliability by combining proven and advanced power systems technologies.</a:t>
            </a:r>
          </a:p>
          <a:p>
            <a:pPr marL="0" lvl="1" indent="0">
              <a:lnSpc>
                <a:spcPct val="100000"/>
              </a:lnSpc>
              <a:spcBef>
                <a:spcPts val="0"/>
              </a:spcBef>
              <a:buClr>
                <a:schemeClr val="tx1"/>
              </a:buClr>
              <a:buSzPct val="80000"/>
              <a:buNone/>
            </a:pPr>
            <a:endPar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342900" lvl="1" indent="-342900">
              <a:lnSpc>
                <a:spcPct val="10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Shunt </a:t>
            </a:r>
            <a:r>
              <a:rPr lang="en-US" sz="2400" b="1" dirty="0">
                <a:solidFill>
                  <a:schemeClr val="tx1"/>
                </a:solidFill>
                <a:latin typeface="Calibri" panose="020F0502020204030204" pitchFamily="34" charset="0"/>
                <a:ea typeface="Calibri" panose="020F0502020204030204" pitchFamily="34" charset="0"/>
                <a:cs typeface="Calibri" panose="020F0502020204030204" pitchFamily="34" charset="0"/>
              </a:rPr>
              <a:t>capacitor banks and harmonic filters </a:t>
            </a: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for utility and industrial applications </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Open style (IP00) – MV to EHV</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Metal enclosed – 2.4 to 38 kV</a:t>
            </a:r>
          </a:p>
          <a:p>
            <a:pPr marL="342900" lvl="1" indent="-342900">
              <a:lnSpc>
                <a:spcPct val="100000"/>
              </a:lnSpc>
              <a:spcBef>
                <a:spcPts val="600"/>
              </a:spcBef>
              <a:buClr>
                <a:schemeClr val="tx1"/>
              </a:buClr>
              <a:buSzPct val="100000"/>
              <a:buFont typeface="Wingdings" panose="05000000000000000000" pitchFamily="2" charset="2"/>
              <a:buChar char="Ø"/>
            </a:pPr>
            <a:r>
              <a:rPr lang="en-US" sz="2400" b="1" dirty="0">
                <a:solidFill>
                  <a:schemeClr val="tx1"/>
                </a:solidFill>
                <a:latin typeface="Calibri" panose="020F0502020204030204" pitchFamily="34" charset="0"/>
                <a:ea typeface="Calibri" panose="020F0502020204030204" pitchFamily="34" charset="0"/>
                <a:cs typeface="Calibri" panose="020F0502020204030204" pitchFamily="34" charset="0"/>
              </a:rPr>
              <a:t>STATCOMs</a:t>
            </a: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 for fast dynamic reactive power control and improved voltage stability</a:t>
            </a:r>
            <a:endPar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endParaRPr>
          </a:p>
          <a:p>
            <a:pPr marL="342900" lvl="1" indent="-342900">
              <a:lnSpc>
                <a:spcPct val="100000"/>
              </a:lnSpc>
              <a:spcBef>
                <a:spcPts val="600"/>
              </a:spcBef>
              <a:buClr>
                <a:schemeClr val="tx1"/>
              </a:buClr>
              <a:buSzPct val="100000"/>
              <a:buFont typeface="Wingdings" panose="05000000000000000000" pitchFamily="2" charset="2"/>
              <a:buChar char="Ø"/>
            </a:pPr>
            <a:r>
              <a:rPr lang="en-US" sz="2400" b="1" dirty="0">
                <a:solidFill>
                  <a:schemeClr val="tx1"/>
                </a:solidFill>
                <a:latin typeface="Calibri" panose="020F0502020204030204" pitchFamily="34" charset="0"/>
                <a:ea typeface="Calibri" panose="020F0502020204030204" pitchFamily="34" charset="0"/>
                <a:cs typeface="Calibri" panose="020F0502020204030204" pitchFamily="34" charset="0"/>
              </a:rPr>
              <a:t>Sub-cycle transfer and disconnect switches </a:t>
            </a: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for critical power continuity</a:t>
            </a:r>
          </a:p>
          <a:p>
            <a:pPr marL="342900" lvl="1" indent="-342900">
              <a:lnSpc>
                <a:spcPct val="100000"/>
              </a:lnSpc>
              <a:spcBef>
                <a:spcPts val="60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Modernization and upgrade programs for legacy SVC and HVDC systems</a:t>
            </a:r>
          </a:p>
          <a:p>
            <a:pPr marL="342900" lvl="1" indent="-342900">
              <a:lnSpc>
                <a:spcPct val="100000"/>
              </a:lnSpc>
              <a:spcBef>
                <a:spcPts val="600"/>
              </a:spcBef>
              <a:buClr>
                <a:schemeClr val="tx1"/>
              </a:buClr>
              <a:buSzPct val="100000"/>
              <a:buFont typeface="Wingdings" panose="05000000000000000000" pitchFamily="2" charset="2"/>
              <a:buChar char="Ø"/>
            </a:pPr>
            <a:r>
              <a:rPr lang="en-US" sz="2400" b="1" dirty="0">
                <a:solidFill>
                  <a:schemeClr val="tx1"/>
                </a:solidFill>
                <a:latin typeface="Calibri" panose="020F0502020204030204" pitchFamily="34" charset="0"/>
                <a:ea typeface="Calibri" panose="020F0502020204030204" pitchFamily="34" charset="0"/>
                <a:cs typeface="Calibri" panose="020F0502020204030204" pitchFamily="34" charset="0"/>
              </a:rPr>
              <a:t>Electrical studies </a:t>
            </a: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to help customers solve problems and specify optimal solutions</a:t>
            </a: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1845590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a:solidFill>
                  <a:schemeClr val="tx1"/>
                </a:solidFill>
                <a:latin typeface="Calibri" panose="020F0502020204030204" pitchFamily="34" charset="0"/>
                <a:ea typeface="Calibri" panose="020F0502020204030204" pitchFamily="34" charset="0"/>
                <a:cs typeface="Calibri" panose="020F0502020204030204" pitchFamily="34" charset="0"/>
              </a:rPr>
              <a:t>Power Solutions Division Market Focus </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8" y="1444752"/>
            <a:ext cx="10412164" cy="4978738"/>
          </a:xfrm>
        </p:spPr>
        <p:txBody>
          <a:bodyPr>
            <a:noAutofit/>
          </a:bodyPr>
          <a:lstStyle/>
          <a:p>
            <a:pPr marL="0" lvl="1" indent="0" algn="ctr">
              <a:lnSpc>
                <a:spcPct val="100000"/>
              </a:lnSpc>
              <a:spcBef>
                <a:spcPts val="0"/>
              </a:spcBef>
              <a:buClr>
                <a:schemeClr val="tx1"/>
              </a:buClr>
              <a:buSzPct val="80000"/>
              <a:buNone/>
            </a:pPr>
            <a:r>
              <a:rPr lang="en-US" sz="2400" i="1" dirty="0">
                <a:solidFill>
                  <a:schemeClr val="tx1"/>
                </a:solidFill>
                <a:latin typeface="Calibri" panose="020F0502020204030204" pitchFamily="34" charset="0"/>
                <a:cs typeface="Calibri" panose="020F0502020204030204" pitchFamily="34" charset="0"/>
              </a:rPr>
              <a:t>PSSD focuses on multiple markets, adapting its portfolio to the specific needs of each sector, from technical configuration to delivery time, standardization level, and service approach. In 2026 our market focus will be on:</a:t>
            </a:r>
          </a:p>
          <a:p>
            <a:pPr marL="0" lvl="1" indent="0">
              <a:lnSpc>
                <a:spcPct val="100000"/>
              </a:lnSpc>
              <a:spcBef>
                <a:spcPts val="0"/>
              </a:spcBef>
              <a:buClr>
                <a:schemeClr val="tx1"/>
              </a:buClr>
              <a:buSzPct val="80000"/>
              <a:buNone/>
            </a:pPr>
            <a:endParaRPr lang="en-US" sz="2400" dirty="0">
              <a:solidFill>
                <a:schemeClr val="tx1"/>
              </a:solidFill>
              <a:latin typeface="Calibri" panose="020F0502020204030204" pitchFamily="34" charset="0"/>
              <a:cs typeface="Calibri" panose="020F0502020204030204" pitchFamily="34" charset="0"/>
            </a:endParaRP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cs typeface="Calibri" panose="020F0502020204030204" pitchFamily="34" charset="0"/>
              </a:rPr>
              <a:t>STATCOMs for the US C&amp;I and Canadian markets</a:t>
            </a: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cs typeface="Calibri" panose="020F0502020204030204" pitchFamily="34" charset="0"/>
              </a:rPr>
              <a:t>Renewable and energy storage capacitor banks</a:t>
            </a: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cs typeface="Calibri" panose="020F0502020204030204" pitchFamily="34" charset="0"/>
              </a:rPr>
              <a:t>Metal-enclosed capacitor banks and filters</a:t>
            </a: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cs typeface="Calibri" panose="020F0502020204030204" pitchFamily="34" charset="0"/>
              </a:rPr>
              <a:t>Commercial &amp; Industrial MV power quality</a:t>
            </a: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cs typeface="Calibri" panose="020F0502020204030204" pitchFamily="34" charset="0"/>
              </a:rPr>
              <a:t>Utility MV to EHV capacitor bank</a:t>
            </a:r>
          </a:p>
          <a:p>
            <a:pPr marL="342900" lvl="1" indent="-342900">
              <a:lnSpc>
                <a:spcPct val="110000"/>
              </a:lnSpc>
              <a:spcBef>
                <a:spcPts val="0"/>
              </a:spcBef>
              <a:buClr>
                <a:schemeClr val="tx1"/>
              </a:buClr>
              <a:buSzPct val="100000"/>
              <a:buFont typeface="Wingdings" panose="05000000000000000000" pitchFamily="2" charset="2"/>
              <a:buChar char="Ø"/>
            </a:pPr>
            <a:r>
              <a:rPr lang="en-US" sz="2400" b="1" dirty="0">
                <a:solidFill>
                  <a:schemeClr val="tx1"/>
                </a:solidFill>
                <a:latin typeface="Calibri" panose="020F0502020204030204" pitchFamily="34" charset="0"/>
                <a:cs typeface="Calibri" panose="020F0502020204030204" pitchFamily="34" charset="0"/>
              </a:rPr>
              <a:t>Data centers </a:t>
            </a:r>
            <a:r>
              <a:rPr lang="en-US" sz="2400" dirty="0">
                <a:solidFill>
                  <a:schemeClr val="tx1"/>
                </a:solidFill>
                <a:latin typeface="Calibri" panose="020F0502020204030204" pitchFamily="34" charset="0"/>
                <a:cs typeface="Calibri" panose="020F0502020204030204" pitchFamily="34" charset="0"/>
              </a:rPr>
              <a:t>requiring voltage stability, harmonic mitigation, and high reliability power systems</a:t>
            </a: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7005498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000" i="0" dirty="0">
                <a:solidFill>
                  <a:schemeClr val="tx1"/>
                </a:solidFill>
                <a:latin typeface="Calibri" panose="020F0502020204030204" pitchFamily="34" charset="0"/>
                <a:ea typeface="Calibri" panose="020F0502020204030204" pitchFamily="34" charset="0"/>
                <a:cs typeface="Calibri" panose="020F0502020204030204" pitchFamily="34" charset="0"/>
              </a:rPr>
              <a:t>Power Solutions Division Recent Intra-Group Collaborations</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0090" y="1444752"/>
            <a:ext cx="7856513" cy="4978738"/>
          </a:xfrm>
        </p:spPr>
        <p:txBody>
          <a:bodyPr>
            <a:normAutofit/>
          </a:bodyPr>
          <a:lstStyle/>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Diram</a:t>
            </a: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cs typeface="Calibri" panose="020F0502020204030204" pitchFamily="34" charset="0"/>
              </a:rPr>
              <a:t>PSSD’s business with Diram has grown at a 129.85% CAGR</a:t>
            </a: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cs typeface="Calibri" panose="020F0502020204030204" pitchFamily="34" charset="0"/>
              </a:rPr>
              <a:t>Over 250 capacitor banks manufactured at </a:t>
            </a:r>
            <a:r>
              <a:rPr lang="en-US" sz="1800" dirty="0" err="1">
                <a:solidFill>
                  <a:srgbClr val="A20000"/>
                </a:solidFill>
                <a:latin typeface="Calibri" panose="020F0502020204030204" pitchFamily="34" charset="0"/>
                <a:cs typeface="Calibri" panose="020F0502020204030204" pitchFamily="34" charset="0"/>
              </a:rPr>
              <a:t>Diram</a:t>
            </a:r>
            <a:r>
              <a:rPr lang="en-US" sz="1800" dirty="0">
                <a:solidFill>
                  <a:srgbClr val="A20000"/>
                </a:solidFill>
                <a:latin typeface="Calibri" panose="020F0502020204030204" pitchFamily="34" charset="0"/>
                <a:cs typeface="Calibri" panose="020F0502020204030204" pitchFamily="34" charset="0"/>
              </a:rPr>
              <a:t> shipped into the USA</a:t>
            </a: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cs typeface="Calibri" panose="020F0502020204030204" pitchFamily="34" charset="0"/>
              </a:rPr>
              <a:t>Just delivered the our STATCOM to a Gerdau steel facility in Texas</a:t>
            </a: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cs typeface="Calibri" panose="020F0502020204030204" pitchFamily="34" charset="0"/>
              </a:rPr>
              <a:t>Jointly developing creative approaches to address evolving market challenges and opportunities</a:t>
            </a:r>
            <a:endPar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endParaRP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Northern Transformers</a:t>
            </a:r>
          </a:p>
          <a:p>
            <a:pPr marL="685800" lvl="1" indent="-342900">
              <a:lnSpc>
                <a:spcPct val="110000"/>
              </a:lnSpc>
              <a:spcBef>
                <a:spcPts val="0"/>
              </a:spcBef>
              <a:buClr>
                <a:srgbClr val="A20000"/>
              </a:buClr>
              <a:buSzPct val="80000"/>
              <a:buFont typeface="Arial" panose="020B0604020202020204" pitchFamily="34" charset="0"/>
              <a:buChar char="•"/>
            </a:pPr>
            <a:r>
              <a:rPr lang="en-US" sz="1800" dirty="0">
                <a:solidFill>
                  <a:srgbClr val="A20000"/>
                </a:solidFill>
                <a:latin typeface="Calibri" panose="020F0502020204030204" pitchFamily="34" charset="0"/>
                <a:cs typeface="Calibri" panose="020F0502020204030204" pitchFamily="34" charset="0"/>
              </a:rPr>
              <a:t>Occasional RFQ for STATCOM transformers in Canada. Looking for opportunities to strengthen collaboration</a:t>
            </a:r>
            <a:endPar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Cactus materials</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Collaborating on the PSSD product roadmap as a strategic partner</a:t>
            </a: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Vanguard Electric</a:t>
            </a: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Southern States largest supplier of station post insulators</a:t>
            </a:r>
          </a:p>
          <a:p>
            <a:pPr marL="685800" lvl="1" indent="-342900">
              <a:lnSpc>
                <a:spcPct val="100000"/>
              </a:lnSpc>
              <a:spcBef>
                <a:spcPts val="0"/>
              </a:spcBef>
              <a:buClr>
                <a:srgbClr val="A20000"/>
              </a:buClr>
              <a:buFont typeface="Arial" panose="020B0604020202020204" pitchFamily="34" charset="0"/>
              <a:buChar char="•"/>
            </a:pPr>
            <a:endPar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a:extLst>
              <a:ext uri="{FF2B5EF4-FFF2-40B4-BE49-F238E27FC236}">
                <a16:creationId xmlns:a16="http://schemas.microsoft.com/office/drawing/2014/main" id="{79F67374-A42F-D7D9-8845-3B4A1CA63A47}"/>
              </a:ext>
            </a:extLst>
          </p:cNvPr>
          <p:cNvGrpSpPr/>
          <p:nvPr/>
        </p:nvGrpSpPr>
        <p:grpSpPr>
          <a:xfrm>
            <a:off x="8997696" y="1443789"/>
            <a:ext cx="2581656" cy="1738323"/>
            <a:chOff x="7351776" y="1443789"/>
            <a:chExt cx="4591572" cy="2890467"/>
          </a:xfrm>
        </p:grpSpPr>
        <p:graphicFrame>
          <p:nvGraphicFramePr>
            <p:cNvPr id="2" name="Gráfico 5">
              <a:extLst>
                <a:ext uri="{FF2B5EF4-FFF2-40B4-BE49-F238E27FC236}">
                  <a16:creationId xmlns:a16="http://schemas.microsoft.com/office/drawing/2014/main" id="{E302CBD2-63E8-52BB-F004-BAD532232017}"/>
                </a:ext>
              </a:extLst>
            </p:cNvPr>
            <p:cNvGraphicFramePr>
              <a:graphicFrameLocks/>
            </p:cNvGraphicFramePr>
            <p:nvPr/>
          </p:nvGraphicFramePr>
          <p:xfrm>
            <a:off x="7351776" y="1443789"/>
            <a:ext cx="4591572" cy="2890467"/>
          </p:xfrm>
          <a:graphic>
            <a:graphicData uri="http://schemas.openxmlformats.org/drawingml/2006/chart">
              <c:chart xmlns:c="http://schemas.openxmlformats.org/drawingml/2006/chart" xmlns:r="http://schemas.openxmlformats.org/officeDocument/2006/relationships" r:id="rId5"/>
            </a:graphicData>
          </a:graphic>
        </p:graphicFrame>
        <p:cxnSp>
          <p:nvCxnSpPr>
            <p:cNvPr id="13" name="Straight Arrow Connector 12">
              <a:extLst>
                <a:ext uri="{FF2B5EF4-FFF2-40B4-BE49-F238E27FC236}">
                  <a16:creationId xmlns:a16="http://schemas.microsoft.com/office/drawing/2014/main" id="{B7EF09DE-5498-F44C-31E6-405673EE868D}"/>
                </a:ext>
              </a:extLst>
            </p:cNvPr>
            <p:cNvCxnSpPr>
              <a:cxnSpLocks/>
            </p:cNvCxnSpPr>
            <p:nvPr/>
          </p:nvCxnSpPr>
          <p:spPr>
            <a:xfrm flipV="1">
              <a:off x="7982712" y="1787776"/>
              <a:ext cx="3294888" cy="199784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EA63635-90E8-7922-931D-8648705428F2}"/>
                </a:ext>
              </a:extLst>
            </p:cNvPr>
            <p:cNvSpPr txBox="1"/>
            <p:nvPr/>
          </p:nvSpPr>
          <p:spPr>
            <a:xfrm>
              <a:off x="7859424" y="1681575"/>
              <a:ext cx="1965960" cy="914400"/>
            </a:xfrm>
            <a:prstGeom prst="rect">
              <a:avLst/>
            </a:prstGeom>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33333"/>
                  </a:solidFill>
                  <a:effectLst/>
                  <a:uLnTx/>
                  <a:uFillTx/>
                  <a:latin typeface="Arial"/>
                  <a:ea typeface="+mn-ea"/>
                  <a:cs typeface="+mn-cs"/>
                </a:rPr>
                <a:t>CAGR – 129.85%</a:t>
              </a:r>
            </a:p>
          </p:txBody>
        </p:sp>
      </p:grpSp>
      <p:pic>
        <p:nvPicPr>
          <p:cNvPr id="23" name="Picture 22">
            <a:extLst>
              <a:ext uri="{FF2B5EF4-FFF2-40B4-BE49-F238E27FC236}">
                <a16:creationId xmlns:a16="http://schemas.microsoft.com/office/drawing/2014/main" id="{CF1C86EE-366A-7FB3-C479-F0DF9CB7C739}"/>
              </a:ext>
            </a:extLst>
          </p:cNvPr>
          <p:cNvPicPr>
            <a:picLocks noChangeAspect="1"/>
          </p:cNvPicPr>
          <p:nvPr/>
        </p:nvPicPr>
        <p:blipFill>
          <a:blip r:embed="rId6"/>
          <a:stretch>
            <a:fillRect/>
          </a:stretch>
        </p:blipFill>
        <p:spPr>
          <a:xfrm>
            <a:off x="9283126" y="3806551"/>
            <a:ext cx="2084328" cy="1066607"/>
          </a:xfrm>
          <a:prstGeom prst="rect">
            <a:avLst/>
          </a:prstGeom>
        </p:spPr>
      </p:pic>
      <p:pic>
        <p:nvPicPr>
          <p:cNvPr id="12" name="Picture 11">
            <a:extLst>
              <a:ext uri="{FF2B5EF4-FFF2-40B4-BE49-F238E27FC236}">
                <a16:creationId xmlns:a16="http://schemas.microsoft.com/office/drawing/2014/main" id="{813FE3E1-2B8D-DA21-DA52-9809F2806C6E}"/>
              </a:ext>
            </a:extLst>
          </p:cNvPr>
          <p:cNvPicPr>
            <a:picLocks noChangeAspect="1"/>
          </p:cNvPicPr>
          <p:nvPr/>
        </p:nvPicPr>
        <p:blipFill>
          <a:blip r:embed="rId7"/>
          <a:stretch>
            <a:fillRect/>
          </a:stretch>
        </p:blipFill>
        <p:spPr>
          <a:xfrm>
            <a:off x="8907357" y="4952575"/>
            <a:ext cx="2962297" cy="1333510"/>
          </a:xfrm>
          <a:prstGeom prst="rect">
            <a:avLst/>
          </a:prstGeom>
        </p:spPr>
      </p:pic>
    </p:spTree>
    <p:extLst>
      <p:ext uri="{BB962C8B-B14F-4D97-AF65-F5344CB8AC3E}">
        <p14:creationId xmlns:p14="http://schemas.microsoft.com/office/powerpoint/2010/main" val="26545201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a:solidFill>
                  <a:schemeClr val="tx1"/>
                </a:solidFill>
                <a:latin typeface="Calibri" panose="020F0502020204030204" pitchFamily="34" charset="0"/>
                <a:ea typeface="Calibri" panose="020F0502020204030204" pitchFamily="34" charset="0"/>
                <a:cs typeface="Calibri" panose="020F0502020204030204" pitchFamily="34" charset="0"/>
              </a:rPr>
              <a:t>Regular Engagements with Employees</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7" y="1444751"/>
            <a:ext cx="11338347" cy="5336170"/>
          </a:xfrm>
        </p:spPr>
        <p:txBody>
          <a:bodyPr>
            <a:noAutofit/>
          </a:bodyPr>
          <a:lstStyle/>
          <a:p>
            <a:pPr marL="342900" lvl="1" indent="-342900">
              <a:lnSpc>
                <a:spcPct val="100000"/>
              </a:lnSpc>
              <a:spcBef>
                <a:spcPts val="0"/>
              </a:spcBef>
              <a:buClr>
                <a:schemeClr val="tx1"/>
              </a:buClr>
              <a:buSzPct val="80000"/>
              <a:buFont typeface="Wingdings" panose="05000000000000000000" pitchFamily="2" charset="2"/>
              <a:buChar char="Ø"/>
            </a:pPr>
            <a:r>
              <a:rPr lang="en-US" dirty="0">
                <a:solidFill>
                  <a:schemeClr val="tx1"/>
                </a:solidFill>
                <a:latin typeface="Calibri" panose="020F0502020204030204" pitchFamily="34" charset="0"/>
                <a:ea typeface="Calibri" panose="020F0502020204030204" pitchFamily="34" charset="0"/>
                <a:cs typeface="Calibri" panose="020F0502020204030204" pitchFamily="34" charset="0"/>
              </a:rPr>
              <a:t>Monthly Communications Meeting (Business Update)</a:t>
            </a:r>
          </a:p>
          <a:p>
            <a:pPr marL="742950" lvl="2" indent="-342900">
              <a:lnSpc>
                <a:spcPct val="100000"/>
              </a:lnSpc>
              <a:spcBef>
                <a:spcPts val="0"/>
              </a:spcBef>
              <a:buClr>
                <a:srgbClr val="C00000"/>
              </a:buClr>
              <a:buSzPct val="80000"/>
            </a:pPr>
            <a:r>
              <a:rPr lang="en-US" sz="1700" dirty="0">
                <a:solidFill>
                  <a:srgbClr val="A20000"/>
                </a:solidFill>
                <a:latin typeface="Calibri" panose="020F0502020204030204" pitchFamily="34" charset="0"/>
                <a:ea typeface="Calibri" panose="020F0502020204030204" pitchFamily="34" charset="0"/>
                <a:cs typeface="Calibri" panose="020F0502020204030204" pitchFamily="34" charset="0"/>
              </a:rPr>
              <a:t>For all employees. 1</a:t>
            </a:r>
            <a:r>
              <a:rPr lang="en-US" sz="1700" baseline="30000" dirty="0">
                <a:solidFill>
                  <a:srgbClr val="A20000"/>
                </a:solidFill>
                <a:latin typeface="Calibri" panose="020F0502020204030204" pitchFamily="34" charset="0"/>
                <a:ea typeface="Calibri" panose="020F0502020204030204" pitchFamily="34" charset="0"/>
                <a:cs typeface="Calibri" panose="020F0502020204030204" pitchFamily="34" charset="0"/>
              </a:rPr>
              <a:t>st</a:t>
            </a:r>
            <a:r>
              <a:rPr lang="en-US" sz="1700" dirty="0">
                <a:solidFill>
                  <a:srgbClr val="A20000"/>
                </a:solidFill>
                <a:latin typeface="Calibri" panose="020F0502020204030204" pitchFamily="34" charset="0"/>
                <a:ea typeface="Calibri" panose="020F0502020204030204" pitchFamily="34" charset="0"/>
                <a:cs typeface="Calibri" panose="020F0502020204030204" pitchFamily="34" charset="0"/>
              </a:rPr>
              <a:t> shift, 2</a:t>
            </a:r>
            <a:r>
              <a:rPr lang="en-US" sz="1700" baseline="30000" dirty="0">
                <a:solidFill>
                  <a:srgbClr val="A20000"/>
                </a:solidFill>
                <a:latin typeface="Calibri" panose="020F0502020204030204" pitchFamily="34" charset="0"/>
                <a:ea typeface="Calibri" panose="020F0502020204030204" pitchFamily="34" charset="0"/>
                <a:cs typeface="Calibri" panose="020F0502020204030204" pitchFamily="34" charset="0"/>
              </a:rPr>
              <a:t>nd</a:t>
            </a:r>
            <a:r>
              <a:rPr lang="en-US" sz="1700" dirty="0">
                <a:solidFill>
                  <a:srgbClr val="A20000"/>
                </a:solidFill>
                <a:latin typeface="Calibri" panose="020F0502020204030204" pitchFamily="34" charset="0"/>
                <a:ea typeface="Calibri" panose="020F0502020204030204" pitchFamily="34" charset="0"/>
                <a:cs typeface="Calibri" panose="020F0502020204030204" pitchFamily="34" charset="0"/>
              </a:rPr>
              <a:t> shift, TEAMS for remote and travelers</a:t>
            </a:r>
          </a:p>
          <a:p>
            <a:pPr marL="342900" lvl="1" indent="-342900">
              <a:lnSpc>
                <a:spcPct val="100000"/>
              </a:lnSpc>
              <a:spcBef>
                <a:spcPts val="0"/>
              </a:spcBef>
              <a:buClr>
                <a:schemeClr val="tx1"/>
              </a:buClr>
              <a:buSzPct val="80000"/>
              <a:buFont typeface="Wingdings" panose="05000000000000000000" pitchFamily="2" charset="2"/>
              <a:buChar char="Ø"/>
            </a:pPr>
            <a:r>
              <a:rPr lang="en-US" dirty="0">
                <a:solidFill>
                  <a:schemeClr val="tx1"/>
                </a:solidFill>
                <a:latin typeface="Calibri" panose="020F0502020204030204" pitchFamily="34" charset="0"/>
                <a:ea typeface="Calibri" panose="020F0502020204030204" pitchFamily="34" charset="0"/>
                <a:cs typeface="Calibri" panose="020F0502020204030204" pitchFamily="34" charset="0"/>
              </a:rPr>
              <a:t>Monthly Employee Empower Hour with CEO</a:t>
            </a:r>
            <a:endParaRPr lang="en-US"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00000"/>
              </a:lnSpc>
              <a:spcBef>
                <a:spcPts val="0"/>
              </a:spcBef>
              <a:buClr>
                <a:srgbClr val="A20000"/>
              </a:buClr>
              <a:buFont typeface="Arial" panose="020B0604020202020204" pitchFamily="34" charset="0"/>
              <a:buChar char="•"/>
            </a:pPr>
            <a:r>
              <a:rPr lang="en-US" sz="1700" dirty="0">
                <a:solidFill>
                  <a:srgbClr val="A20000"/>
                </a:solidFill>
                <a:latin typeface="Calibri" panose="020F0502020204030204" pitchFamily="34" charset="0"/>
                <a:ea typeface="Calibri" panose="020F0502020204030204" pitchFamily="34" charset="0"/>
                <a:cs typeface="Calibri" panose="020F0502020204030204" pitchFamily="34" charset="0"/>
              </a:rPr>
              <a:t>Monthly 1-hour open forum with cross section of employees on first shift and second shift</a:t>
            </a:r>
          </a:p>
          <a:p>
            <a:pPr marL="685800" lvl="1" indent="-342900">
              <a:lnSpc>
                <a:spcPct val="100000"/>
              </a:lnSpc>
              <a:spcBef>
                <a:spcPts val="0"/>
              </a:spcBef>
              <a:buClr>
                <a:srgbClr val="A20000"/>
              </a:buClr>
              <a:buFont typeface="Arial" panose="020B0604020202020204" pitchFamily="34" charset="0"/>
              <a:buChar char="•"/>
            </a:pPr>
            <a:r>
              <a:rPr lang="en-US" sz="1700" dirty="0">
                <a:solidFill>
                  <a:srgbClr val="A20000"/>
                </a:solidFill>
                <a:latin typeface="Calibri" panose="020F0502020204030204" pitchFamily="34" charset="0"/>
                <a:ea typeface="Calibri" panose="020F0502020204030204" pitchFamily="34" charset="0"/>
                <a:cs typeface="Calibri" panose="020F0502020204030204" pitchFamily="34" charset="0"/>
              </a:rPr>
              <a:t>The group of invitees each month are selected randomly from everyone who celebrates a birthday in that month</a:t>
            </a:r>
            <a:endParaRPr lang="en-US" sz="1500"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00000"/>
              </a:lnSpc>
              <a:spcBef>
                <a:spcPts val="0"/>
              </a:spcBef>
              <a:buClr>
                <a:srgbClr val="A20000"/>
              </a:buClr>
              <a:buFont typeface="Arial" panose="020B0604020202020204" pitchFamily="34" charset="0"/>
              <a:buChar char="•"/>
            </a:pPr>
            <a:r>
              <a:rPr lang="en-US" sz="1700" dirty="0">
                <a:solidFill>
                  <a:srgbClr val="A20000"/>
                </a:solidFill>
                <a:latin typeface="Calibri" panose="020F0502020204030204" pitchFamily="34" charset="0"/>
                <a:ea typeface="Calibri" panose="020F0502020204030204" pitchFamily="34" charset="0"/>
                <a:cs typeface="Calibri" panose="020F0502020204030204" pitchFamily="34" charset="0"/>
              </a:rPr>
              <a:t>During this meeting, employees are able to voice their thoughts on any of the topics below or any other specific one they would like to discuss including </a:t>
            </a:r>
            <a:r>
              <a:rPr lang="en-US" sz="1500" dirty="0">
                <a:solidFill>
                  <a:srgbClr val="0070C0"/>
                </a:solidFill>
                <a:latin typeface="Calibri" panose="020F0502020204030204" pitchFamily="34" charset="0"/>
                <a:ea typeface="Calibri" panose="020F0502020204030204" pitchFamily="34" charset="0"/>
                <a:cs typeface="Calibri" panose="020F0502020204030204" pitchFamily="34" charset="0"/>
              </a:rPr>
              <a:t>Culture, Activities, Workday, Work Related Concerns, Policies, Training, Improvement on Communications, Safety Culture, Quality, Other</a:t>
            </a:r>
          </a:p>
          <a:p>
            <a:pPr marL="342900" lvl="1" indent="-342900">
              <a:lnSpc>
                <a:spcPct val="100000"/>
              </a:lnSpc>
              <a:spcBef>
                <a:spcPts val="0"/>
              </a:spcBef>
              <a:buClr>
                <a:schemeClr val="tx1"/>
              </a:buClr>
              <a:buSzPct val="80000"/>
              <a:buFont typeface="Wingdings" panose="05000000000000000000" pitchFamily="2" charset="2"/>
              <a:buChar char="Ø"/>
            </a:pPr>
            <a:r>
              <a:rPr lang="en-US" dirty="0">
                <a:solidFill>
                  <a:schemeClr val="tx1"/>
                </a:solidFill>
                <a:latin typeface="Calibri" panose="020F0502020204030204" pitchFamily="34" charset="0"/>
                <a:ea typeface="Calibri" panose="020F0502020204030204" pitchFamily="34" charset="0"/>
                <a:cs typeface="Calibri" panose="020F0502020204030204" pitchFamily="34" charset="0"/>
              </a:rPr>
              <a:t>Quarterly Management/Leadership Exchange</a:t>
            </a:r>
            <a:endParaRPr lang="en-US" dirty="0">
              <a:latin typeface="Calibri" panose="020F0502020204030204" pitchFamily="34" charset="0"/>
              <a:ea typeface="Calibri" panose="020F0502020204030204" pitchFamily="34" charset="0"/>
              <a:cs typeface="Calibri" panose="020F0502020204030204" pitchFamily="34" charset="0"/>
            </a:endParaRPr>
          </a:p>
          <a:p>
            <a:pPr lvl="1">
              <a:lnSpc>
                <a:spcPct val="100000"/>
              </a:lnSpc>
              <a:spcBef>
                <a:spcPts val="0"/>
              </a:spcBef>
              <a:buClr>
                <a:srgbClr val="C00000"/>
              </a:buClr>
              <a:buFont typeface="Arial" panose="020B0604020202020204" pitchFamily="34" charset="0"/>
              <a:buChar char="•"/>
            </a:pPr>
            <a:r>
              <a:rPr lang="en-US" sz="1700" dirty="0">
                <a:solidFill>
                  <a:srgbClr val="A20000"/>
                </a:solidFill>
                <a:latin typeface="Calibri" panose="020F0502020204030204" pitchFamily="34" charset="0"/>
                <a:ea typeface="Calibri" panose="020F0502020204030204" pitchFamily="34" charset="0"/>
                <a:cs typeface="Calibri" panose="020F0502020204030204" pitchFamily="34" charset="0"/>
              </a:rPr>
              <a:t>To bring together the SSL Management/Leadership team to share business philosophies and practices to drive to:</a:t>
            </a:r>
          </a:p>
          <a:p>
            <a:pPr lvl="2">
              <a:lnSpc>
                <a:spcPct val="100000"/>
              </a:lnSpc>
              <a:spcBef>
                <a:spcPts val="0"/>
              </a:spcBef>
              <a:buFont typeface="Calibri" panose="020F0502020204030204" pitchFamily="34" charset="0"/>
              <a:buChar char="‐"/>
            </a:pPr>
            <a:r>
              <a:rPr lang="en-US" sz="1500" dirty="0">
                <a:solidFill>
                  <a:srgbClr val="0070C0"/>
                </a:solidFill>
                <a:latin typeface="Calibri" panose="020F0502020204030204" pitchFamily="34" charset="0"/>
                <a:ea typeface="Calibri" panose="020F0502020204030204" pitchFamily="34" charset="0"/>
                <a:cs typeface="Calibri" panose="020F0502020204030204" pitchFamily="34" charset="0"/>
              </a:rPr>
              <a:t>A common experience of our Customers as “one-SSL” from all Divisions and Support Functions</a:t>
            </a:r>
          </a:p>
          <a:p>
            <a:pPr lvl="2">
              <a:lnSpc>
                <a:spcPct val="100000"/>
              </a:lnSpc>
              <a:spcBef>
                <a:spcPts val="0"/>
              </a:spcBef>
              <a:buFont typeface="Calibri" panose="020F0502020204030204" pitchFamily="34" charset="0"/>
              <a:buChar char="‐"/>
            </a:pPr>
            <a:r>
              <a:rPr lang="en-US" sz="1500" dirty="0">
                <a:solidFill>
                  <a:srgbClr val="0070C0"/>
                </a:solidFill>
                <a:latin typeface="Calibri" panose="020F0502020204030204" pitchFamily="34" charset="0"/>
                <a:ea typeface="Calibri" panose="020F0502020204030204" pitchFamily="34" charset="0"/>
                <a:cs typeface="Calibri" panose="020F0502020204030204" pitchFamily="34" charset="0"/>
              </a:rPr>
              <a:t>A common experience of our fellow employees as “one-SSL” from all Management levels</a:t>
            </a:r>
          </a:p>
          <a:p>
            <a:pPr lvl="2">
              <a:lnSpc>
                <a:spcPct val="100000"/>
              </a:lnSpc>
              <a:spcBef>
                <a:spcPts val="0"/>
              </a:spcBef>
              <a:buFont typeface="Calibri" panose="020F0502020204030204" pitchFamily="34" charset="0"/>
              <a:buChar char="‐"/>
            </a:pPr>
            <a:r>
              <a:rPr lang="en-US" sz="1500" dirty="0">
                <a:solidFill>
                  <a:srgbClr val="0070C0"/>
                </a:solidFill>
                <a:latin typeface="Calibri" panose="020F0502020204030204" pitchFamily="34" charset="0"/>
                <a:ea typeface="Calibri" panose="020F0502020204030204" pitchFamily="34" charset="0"/>
                <a:cs typeface="Calibri" panose="020F0502020204030204" pitchFamily="34" charset="0"/>
              </a:rPr>
              <a:t>A common message to our stakeholders as “one-SSL”</a:t>
            </a:r>
          </a:p>
          <a:p>
            <a:pPr marL="1428750" lvl="5" indent="-285750">
              <a:lnSpc>
                <a:spcPct val="100000"/>
              </a:lnSpc>
              <a:spcBef>
                <a:spcPts val="0"/>
              </a:spcBef>
              <a:buFont typeface="Calibri" panose="020F0502020204030204" pitchFamily="34" charset="0"/>
              <a:buChar char="-"/>
            </a:pPr>
            <a:r>
              <a:rPr lang="en-US" sz="1200" dirty="0">
                <a:solidFill>
                  <a:srgbClr val="008000"/>
                </a:solidFill>
                <a:latin typeface="Calibri" panose="020F0502020204030204" pitchFamily="34" charset="0"/>
                <a:ea typeface="Calibri" panose="020F0502020204030204" pitchFamily="34" charset="0"/>
                <a:cs typeface="Calibri" panose="020F0502020204030204" pitchFamily="34" charset="0"/>
              </a:rPr>
              <a:t>Our Stake holders include our Owners, Board of Directors, Customers, SSIH Partners, Suppliers, Service Providers, SSL Employees, and our Community </a:t>
            </a:r>
            <a:endParaRPr lang="en-US" sz="1200"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342900" lvl="1" indent="-342900">
              <a:lnSpc>
                <a:spcPct val="100000"/>
              </a:lnSpc>
              <a:spcBef>
                <a:spcPts val="0"/>
              </a:spcBef>
              <a:buClr>
                <a:schemeClr val="tx1"/>
              </a:buClr>
              <a:buSzPct val="80000"/>
              <a:buFont typeface="Wingdings" panose="05000000000000000000" pitchFamily="2" charset="2"/>
              <a:buChar char="Ø"/>
            </a:pPr>
            <a:r>
              <a:rPr lang="en-US" dirty="0">
                <a:solidFill>
                  <a:schemeClr val="tx1"/>
                </a:solidFill>
                <a:latin typeface="Calibri" panose="020F0502020204030204" pitchFamily="34" charset="0"/>
                <a:ea typeface="Calibri" panose="020F0502020204030204" pitchFamily="34" charset="0"/>
                <a:cs typeface="Calibri" panose="020F0502020204030204" pitchFamily="34" charset="0"/>
              </a:rPr>
              <a:t>Executive Leadership</a:t>
            </a:r>
            <a:endParaRPr lang="en-US"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00000"/>
              </a:lnSpc>
              <a:spcBef>
                <a:spcPts val="0"/>
              </a:spcBef>
              <a:buClr>
                <a:srgbClr val="A20000"/>
              </a:buClr>
              <a:buFont typeface="Arial" panose="020B0604020202020204" pitchFamily="34" charset="0"/>
              <a:buChar char="•"/>
            </a:pPr>
            <a:r>
              <a:rPr lang="en-US" sz="1700" dirty="0">
                <a:solidFill>
                  <a:srgbClr val="C00000"/>
                </a:solidFill>
                <a:latin typeface="Calibri" panose="020F0502020204030204" pitchFamily="34" charset="0"/>
                <a:ea typeface="Calibri" panose="020F0502020204030204" pitchFamily="34" charset="0"/>
                <a:cs typeface="Calibri" panose="020F0502020204030204" pitchFamily="34" charset="0"/>
              </a:rPr>
              <a:t>Truist Leadership Institute, Communications, Management Assessment and next-phase leadership development</a:t>
            </a:r>
          </a:p>
          <a:p>
            <a:pPr marL="342900" lvl="1" indent="-342900">
              <a:lnSpc>
                <a:spcPct val="100000"/>
              </a:lnSpc>
              <a:spcBef>
                <a:spcPts val="0"/>
              </a:spcBef>
              <a:buClr>
                <a:schemeClr val="tx1"/>
              </a:buClr>
              <a:buSzPct val="80000"/>
              <a:buFont typeface="Wingdings" panose="05000000000000000000" pitchFamily="2" charset="2"/>
              <a:buChar char="Ø"/>
            </a:pPr>
            <a:r>
              <a:rPr lang="en-US" dirty="0">
                <a:solidFill>
                  <a:schemeClr val="tx1"/>
                </a:solidFill>
                <a:latin typeface="Calibri" panose="020F0502020204030204" pitchFamily="34" charset="0"/>
                <a:ea typeface="Calibri" panose="020F0502020204030204" pitchFamily="34" charset="0"/>
                <a:cs typeface="Calibri" panose="020F0502020204030204" pitchFamily="34" charset="0"/>
              </a:rPr>
              <a:t>Annual Family Day, Christmas Luncheon, Halloween Dress up, Health Fairs, Annual Retirement Luncheon, others</a:t>
            </a:r>
            <a:endParaRPr lang="en-US"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0037907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4B9DE94-06FD-BA6E-27D9-D5411C1CAB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6" name="think-cell data - do not delete" hidden="1">
                        <a:extLst>
                          <a:ext uri="{FF2B5EF4-FFF2-40B4-BE49-F238E27FC236}">
                            <a16:creationId xmlns:a16="http://schemas.microsoft.com/office/drawing/2014/main" id="{74B9DE94-06FD-BA6E-27D9-D5411C1CAB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EFA49A-D6F0-94EB-2E4A-46AC510574DD}"/>
              </a:ext>
            </a:extLst>
          </p:cNvPr>
          <p:cNvSpPr>
            <a:spLocks noGrp="1"/>
          </p:cNvSpPr>
          <p:nvPr>
            <p:ph type="title"/>
          </p:nvPr>
        </p:nvSpPr>
        <p:spPr>
          <a:xfrm>
            <a:off x="518584" y="1869548"/>
            <a:ext cx="7711016" cy="2124075"/>
          </a:xfrm>
        </p:spPr>
        <p:txBody>
          <a:bodyPr vert="horz"/>
          <a:lstStyle/>
          <a:p>
            <a:r>
              <a:rPr lang="en-US" sz="4000" dirty="0">
                <a:latin typeface="Calibri" panose="020F0502020204030204" pitchFamily="34" charset="0"/>
                <a:ea typeface="Calibri" panose="020F0502020204030204" pitchFamily="34" charset="0"/>
                <a:cs typeface="Calibri" panose="020F0502020204030204" pitchFamily="34" charset="0"/>
              </a:rPr>
              <a:t>Power Switching Division</a:t>
            </a:r>
          </a:p>
        </p:txBody>
      </p:sp>
      <p:pic>
        <p:nvPicPr>
          <p:cNvPr id="5" name="Picture 4" descr="A logo with a black background&#10;&#10;Description automatically generated">
            <a:extLst>
              <a:ext uri="{FF2B5EF4-FFF2-40B4-BE49-F238E27FC236}">
                <a16:creationId xmlns:a16="http://schemas.microsoft.com/office/drawing/2014/main" id="{D3A6B119-F6CC-4047-805C-52E2D186234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92" y="228600"/>
            <a:ext cx="2197848" cy="928955"/>
          </a:xfrm>
          <a:prstGeom prst="rect">
            <a:avLst/>
          </a:prstGeom>
        </p:spPr>
      </p:pic>
      <p:pic>
        <p:nvPicPr>
          <p:cNvPr id="7" name="Picture Placeholder 5">
            <a:extLst>
              <a:ext uri="{FF2B5EF4-FFF2-40B4-BE49-F238E27FC236}">
                <a16:creationId xmlns:a16="http://schemas.microsoft.com/office/drawing/2014/main" id="{E4D386D1-9134-409B-A7A6-0E558F410960}"/>
              </a:ext>
            </a:extLst>
          </p:cNvPr>
          <p:cNvPicPr>
            <a:picLocks noGrp="1" noChangeAspect="1"/>
          </p:cNvPicPr>
          <p:nvPr>
            <p:ph type="pic" sz="quarter" idx="13"/>
          </p:nvPr>
        </p:nvPicPr>
        <p:blipFill>
          <a:blip r:embed="rId7" cstate="screen">
            <a:extLst>
              <a:ext uri="{28A0092B-C50C-407E-A947-70E740481C1C}">
                <a14:useLocalDpi xmlns:a14="http://schemas.microsoft.com/office/drawing/2010/main"/>
              </a:ext>
            </a:extLst>
          </a:blip>
          <a:srcRect/>
          <a:stretch>
            <a:fillRect/>
          </a:stretch>
        </p:blipFill>
        <p:spPr>
          <a:xfrm>
            <a:off x="6586538" y="339197"/>
            <a:ext cx="5186362" cy="5184775"/>
          </a:xfrm>
          <a:prstGeom prst="rect">
            <a:avLst/>
          </a:prstGeom>
        </p:spPr>
      </p:pic>
    </p:spTree>
    <p:extLst>
      <p:ext uri="{BB962C8B-B14F-4D97-AF65-F5344CB8AC3E}">
        <p14:creationId xmlns:p14="http://schemas.microsoft.com/office/powerpoint/2010/main" val="7389529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2800" i="0" dirty="0">
                <a:solidFill>
                  <a:schemeClr val="tx1"/>
                </a:solidFill>
                <a:latin typeface="Calibri" panose="020F0502020204030204" pitchFamily="34" charset="0"/>
                <a:ea typeface="Calibri" panose="020F0502020204030204" pitchFamily="34" charset="0"/>
                <a:cs typeface="Calibri" panose="020F0502020204030204" pitchFamily="34" charset="0"/>
              </a:rPr>
              <a:t>Power Switching Division Vice President and General Manager</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8" y="1444752"/>
            <a:ext cx="11683999" cy="5454600"/>
          </a:xfrm>
        </p:spPr>
        <p:txBody>
          <a:bodyPr>
            <a:normAutofit/>
          </a:bodyPr>
          <a:lstStyle/>
          <a:p>
            <a:pPr marL="342900" lvl="1" indent="-342900">
              <a:lnSpc>
                <a:spcPct val="10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My Background</a:t>
            </a:r>
          </a:p>
          <a:p>
            <a:pPr marL="342900" lvl="1" indent="0">
              <a:lnSpc>
                <a:spcPct val="100000"/>
              </a:lnSpc>
              <a:spcBef>
                <a:spcPts val="0"/>
              </a:spcBef>
              <a:buClr>
                <a:srgbClr val="A20000"/>
              </a:buClr>
              <a:buNone/>
            </a:pPr>
            <a:r>
              <a:rPr lang="en-US" sz="1800" i="1" dirty="0">
                <a:solidFill>
                  <a:srgbClr val="C00000"/>
                </a:solidFill>
                <a:latin typeface="Calibri" panose="020F0502020204030204" pitchFamily="34" charset="0"/>
                <a:ea typeface="Calibri" panose="020F0502020204030204" pitchFamily="34" charset="0"/>
                <a:cs typeface="Calibri" panose="020F0502020204030204" pitchFamily="34" charset="0"/>
              </a:rPr>
              <a:t>More than two decades in the global high-voltage switchgear industry, leading engineering organizations, manufacturing operations, and strategic growth initiatives across multiple international regions. My career has centered on new product development, customer partnerships, and technical solutions that support reliability and technology evolution.</a:t>
            </a:r>
          </a:p>
          <a:p>
            <a:pPr marL="342900" lvl="1" indent="0">
              <a:lnSpc>
                <a:spcPct val="100000"/>
              </a:lnSpc>
              <a:spcBef>
                <a:spcPts val="0"/>
              </a:spcBef>
              <a:buClr>
                <a:srgbClr val="A20000"/>
              </a:buClr>
              <a:buNone/>
            </a:pPr>
            <a:endParaRPr lang="en-US" sz="700" dirty="0">
              <a:latin typeface="Calibri" panose="020F0502020204030204" pitchFamily="34" charset="0"/>
              <a:ea typeface="Calibri" panose="020F0502020204030204" pitchFamily="34" charset="0"/>
              <a:cs typeface="Calibri" panose="020F0502020204030204" pitchFamily="34" charset="0"/>
            </a:endParaRPr>
          </a:p>
          <a:p>
            <a:pPr marL="342900" lvl="1" indent="-342900">
              <a:lnSpc>
                <a:spcPct val="100000"/>
              </a:lnSpc>
              <a:spcBef>
                <a:spcPts val="0"/>
              </a:spcBef>
              <a:buClr>
                <a:schemeClr val="tx1"/>
              </a:buClr>
              <a:buSzPct val="100000"/>
              <a:buFont typeface="Wingdings" panose="05000000000000000000" pitchFamily="2" charset="2"/>
              <a:buChar char="Ø"/>
            </a:pPr>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Career Highlights</a:t>
            </a:r>
          </a:p>
          <a:p>
            <a:pPr marL="742950" lvl="2" indent="-342900">
              <a:lnSpc>
                <a:spcPct val="100000"/>
              </a:lnSpc>
              <a:spcBef>
                <a:spcPts val="0"/>
              </a:spcBef>
              <a:buClr>
                <a:srgbClr val="C00000"/>
              </a:buClr>
              <a:buSzPct val="80000"/>
            </a:pPr>
            <a:r>
              <a:rPr lang="en-US" sz="1400" dirty="0">
                <a:solidFill>
                  <a:srgbClr val="C00000"/>
                </a:solidFill>
                <a:latin typeface="Calibri" panose="020F0502020204030204" pitchFamily="34" charset="0"/>
                <a:ea typeface="Calibri" panose="020F0502020204030204" pitchFamily="34" charset="0"/>
                <a:cs typeface="Calibri" panose="020F0502020204030204" pitchFamily="34" charset="0"/>
              </a:rPr>
              <a:t>25+ years in high-voltage switchgear, power distribution, and industrial equipment</a:t>
            </a:r>
          </a:p>
          <a:p>
            <a:pPr marL="742950" lvl="2" indent="-342900">
              <a:lnSpc>
                <a:spcPct val="100000"/>
              </a:lnSpc>
              <a:spcBef>
                <a:spcPts val="0"/>
              </a:spcBef>
              <a:buClr>
                <a:srgbClr val="C00000"/>
              </a:buClr>
              <a:buSzPct val="80000"/>
            </a:pPr>
            <a:r>
              <a:rPr lang="en-US" sz="1400" dirty="0">
                <a:solidFill>
                  <a:srgbClr val="C00000"/>
                </a:solidFill>
                <a:latin typeface="Calibri" panose="020F0502020204030204" pitchFamily="34" charset="0"/>
                <a:ea typeface="Calibri" panose="020F0502020204030204" pitchFamily="34" charset="0"/>
                <a:cs typeface="Calibri" panose="020F0502020204030204" pitchFamily="34" charset="0"/>
              </a:rPr>
              <a:t>Leadership of engineering, manufacturing, quality, service, and commercial teams</a:t>
            </a:r>
          </a:p>
          <a:p>
            <a:pPr marL="742950" lvl="2" indent="-342900">
              <a:lnSpc>
                <a:spcPct val="100000"/>
              </a:lnSpc>
              <a:spcBef>
                <a:spcPts val="0"/>
              </a:spcBef>
              <a:buClr>
                <a:srgbClr val="C00000"/>
              </a:buClr>
              <a:buSzPct val="80000"/>
            </a:pPr>
            <a:r>
              <a:rPr lang="en-US" sz="1400" dirty="0">
                <a:solidFill>
                  <a:schemeClr val="accent2"/>
                </a:solidFill>
                <a:latin typeface="Calibri" panose="020F0502020204030204" pitchFamily="34" charset="0"/>
                <a:ea typeface="Calibri" panose="020F0502020204030204" pitchFamily="34" charset="0"/>
                <a:cs typeface="Calibri" panose="020F0502020204030204" pitchFamily="34" charset="0"/>
              </a:rPr>
              <a:t>Proven track record of turning around product lines, building new P&amp;Ls, and driving revenue growth</a:t>
            </a:r>
          </a:p>
          <a:p>
            <a:pPr marL="742950" lvl="2" indent="-342900">
              <a:lnSpc>
                <a:spcPct val="100000"/>
              </a:lnSpc>
              <a:spcBef>
                <a:spcPts val="0"/>
              </a:spcBef>
              <a:buClr>
                <a:srgbClr val="C00000"/>
              </a:buClr>
              <a:buSzPct val="80000"/>
            </a:pPr>
            <a:r>
              <a:rPr lang="en-US" sz="1400" dirty="0">
                <a:solidFill>
                  <a:srgbClr val="C00000"/>
                </a:solidFill>
                <a:latin typeface="Calibri" panose="020F0502020204030204" pitchFamily="34" charset="0"/>
                <a:ea typeface="Calibri" panose="020F0502020204030204" pitchFamily="34" charset="0"/>
                <a:cs typeface="Calibri" panose="020F0502020204030204" pitchFamily="34" charset="0"/>
              </a:rPr>
              <a:t>Extensive hands-on experience with high-voltage circuit breakers, switchgear, and power conversion technologies</a:t>
            </a:r>
          </a:p>
          <a:p>
            <a:pPr marL="342900" lvl="1" indent="-342900">
              <a:lnSpc>
                <a:spcPct val="100000"/>
              </a:lnSpc>
              <a:spcBef>
                <a:spcPts val="0"/>
              </a:spcBef>
              <a:buClr>
                <a:schemeClr val="tx1"/>
              </a:buClr>
              <a:buSzPct val="100000"/>
              <a:buFont typeface="Wingdings" panose="05000000000000000000" pitchFamily="2" charset="2"/>
              <a:buChar char="Ø"/>
            </a:pPr>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International Experience</a:t>
            </a:r>
          </a:p>
          <a:p>
            <a:pPr marL="742950" lvl="2" indent="-342900">
              <a:lnSpc>
                <a:spcPct val="100000"/>
              </a:lnSpc>
              <a:spcBef>
                <a:spcPts val="0"/>
              </a:spcBef>
              <a:buClr>
                <a:srgbClr val="C00000"/>
              </a:buClr>
              <a:buSzPct val="80000"/>
            </a:pPr>
            <a:r>
              <a:rPr lang="en-US" sz="1400" dirty="0">
                <a:solidFill>
                  <a:srgbClr val="C00000"/>
                </a:solidFill>
                <a:latin typeface="Calibri" panose="020F0502020204030204" pitchFamily="34" charset="0"/>
                <a:ea typeface="Calibri" panose="020F0502020204030204" pitchFamily="34" charset="0"/>
                <a:cs typeface="Calibri" panose="020F0502020204030204" pitchFamily="34" charset="0"/>
              </a:rPr>
              <a:t>Worked directly with global utilities, EPCs, and OEM partners across North America, South America, Europe, the Middle East, and Asia</a:t>
            </a:r>
          </a:p>
          <a:p>
            <a:pPr marL="742950" lvl="2" indent="-342900">
              <a:lnSpc>
                <a:spcPct val="100000"/>
              </a:lnSpc>
              <a:spcBef>
                <a:spcPts val="0"/>
              </a:spcBef>
              <a:buClr>
                <a:srgbClr val="C00000"/>
              </a:buClr>
              <a:buSzPct val="80000"/>
            </a:pPr>
            <a:r>
              <a:rPr lang="en-US" sz="1400" dirty="0">
                <a:solidFill>
                  <a:srgbClr val="C00000"/>
                </a:solidFill>
                <a:latin typeface="Calibri" panose="020F0502020204030204" pitchFamily="34" charset="0"/>
                <a:ea typeface="Calibri" panose="020F0502020204030204" pitchFamily="34" charset="0"/>
                <a:cs typeface="Calibri" panose="020F0502020204030204" pitchFamily="34" charset="0"/>
              </a:rPr>
              <a:t>Led cross-border engineering development programs and multi-regional product strategies</a:t>
            </a:r>
          </a:p>
          <a:p>
            <a:pPr marL="742950" lvl="2" indent="-342900">
              <a:lnSpc>
                <a:spcPct val="100000"/>
              </a:lnSpc>
              <a:spcBef>
                <a:spcPts val="0"/>
              </a:spcBef>
              <a:buClr>
                <a:srgbClr val="C00000"/>
              </a:buClr>
              <a:buSzPct val="80000"/>
            </a:pPr>
            <a:r>
              <a:rPr lang="en-US" sz="1400" dirty="0">
                <a:solidFill>
                  <a:srgbClr val="C00000"/>
                </a:solidFill>
                <a:latin typeface="Calibri" panose="020F0502020204030204" pitchFamily="34" charset="0"/>
                <a:ea typeface="Calibri" panose="020F0502020204030204" pitchFamily="34" charset="0"/>
                <a:cs typeface="Calibri" panose="020F0502020204030204" pitchFamily="34" charset="0"/>
              </a:rPr>
              <a:t>Deep experience with IEC and IEEE standards, international testing, and global supply-chain alignment</a:t>
            </a:r>
          </a:p>
          <a:p>
            <a:pPr marL="742950" lvl="2" indent="-342900">
              <a:lnSpc>
                <a:spcPct val="100000"/>
              </a:lnSpc>
              <a:spcBef>
                <a:spcPts val="0"/>
              </a:spcBef>
              <a:buClr>
                <a:srgbClr val="C00000"/>
              </a:buClr>
              <a:buSzPct val="80000"/>
            </a:pPr>
            <a:r>
              <a:rPr lang="en-US" sz="1400" dirty="0">
                <a:solidFill>
                  <a:schemeClr val="accent2"/>
                </a:solidFill>
                <a:latin typeface="Calibri" panose="020F0502020204030204" pitchFamily="34" charset="0"/>
                <a:ea typeface="Calibri" panose="020F0502020204030204" pitchFamily="34" charset="0"/>
                <a:cs typeface="Calibri" panose="020F0502020204030204" pitchFamily="34" charset="0"/>
              </a:rPr>
              <a:t>Built collaborative technical relationships with international manufacturing and engineering groups</a:t>
            </a:r>
          </a:p>
          <a:p>
            <a:pPr marL="342900" lvl="1" indent="-342900">
              <a:lnSpc>
                <a:spcPct val="100000"/>
              </a:lnSpc>
              <a:spcBef>
                <a:spcPts val="0"/>
              </a:spcBef>
              <a:buClr>
                <a:schemeClr val="tx1"/>
              </a:buClr>
              <a:buSzPct val="100000"/>
              <a:buFont typeface="Wingdings" panose="05000000000000000000" pitchFamily="2" charset="2"/>
              <a:buChar char="Ø"/>
            </a:pPr>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Leadership Focus</a:t>
            </a:r>
          </a:p>
          <a:p>
            <a:pPr marL="742950" lvl="2" indent="-342900">
              <a:lnSpc>
                <a:spcPct val="110000"/>
              </a:lnSpc>
              <a:spcBef>
                <a:spcPts val="0"/>
              </a:spcBef>
              <a:buClr>
                <a:srgbClr val="C00000"/>
              </a:buClr>
              <a:buSzPct val="80000"/>
            </a:pPr>
            <a:r>
              <a:rPr lang="en-US" sz="1400" dirty="0">
                <a:solidFill>
                  <a:srgbClr val="C00000"/>
                </a:solidFill>
                <a:latin typeface="Calibri" panose="020F0502020204030204" pitchFamily="34" charset="0"/>
                <a:ea typeface="Calibri" panose="020F0502020204030204" pitchFamily="34" charset="0"/>
                <a:cs typeface="Calibri" panose="020F0502020204030204" pitchFamily="34" charset="0"/>
              </a:rPr>
              <a:t>Strategic product road-mapping and technology development</a:t>
            </a:r>
          </a:p>
          <a:p>
            <a:pPr marL="742950" lvl="2" indent="-342900">
              <a:lnSpc>
                <a:spcPct val="110000"/>
              </a:lnSpc>
              <a:spcBef>
                <a:spcPts val="0"/>
              </a:spcBef>
              <a:buClr>
                <a:srgbClr val="C00000"/>
              </a:buClr>
              <a:buSzPct val="80000"/>
            </a:pPr>
            <a:r>
              <a:rPr lang="en-US" sz="1400" dirty="0">
                <a:solidFill>
                  <a:srgbClr val="C00000"/>
                </a:solidFill>
                <a:latin typeface="Calibri" panose="020F0502020204030204" pitchFamily="34" charset="0"/>
                <a:ea typeface="Calibri" panose="020F0502020204030204" pitchFamily="34" charset="0"/>
                <a:cs typeface="Calibri" panose="020F0502020204030204" pitchFamily="34" charset="0"/>
              </a:rPr>
              <a:t>Improving reliability, innovation, and customer value in switchgear solutions</a:t>
            </a:r>
          </a:p>
          <a:p>
            <a:pPr marL="742950" lvl="2" indent="-342900">
              <a:lnSpc>
                <a:spcPct val="110000"/>
              </a:lnSpc>
              <a:spcBef>
                <a:spcPts val="0"/>
              </a:spcBef>
              <a:buClr>
                <a:srgbClr val="C00000"/>
              </a:buClr>
              <a:buSzPct val="80000"/>
            </a:pPr>
            <a:r>
              <a:rPr lang="en-US" sz="1400" dirty="0">
                <a:solidFill>
                  <a:srgbClr val="C00000"/>
                </a:solidFill>
                <a:latin typeface="Calibri" panose="020F0502020204030204" pitchFamily="34" charset="0"/>
                <a:ea typeface="Calibri" panose="020F0502020204030204" pitchFamily="34" charset="0"/>
                <a:cs typeface="Calibri" panose="020F0502020204030204" pitchFamily="34" charset="0"/>
              </a:rPr>
              <a:t>Cross-functional team building and organizational modernization</a:t>
            </a:r>
          </a:p>
          <a:p>
            <a:pPr marL="742950" lvl="2" indent="-342900">
              <a:lnSpc>
                <a:spcPct val="110000"/>
              </a:lnSpc>
              <a:spcBef>
                <a:spcPts val="0"/>
              </a:spcBef>
              <a:buClr>
                <a:srgbClr val="C00000"/>
              </a:buClr>
              <a:buSzPct val="80000"/>
            </a:pPr>
            <a:r>
              <a:rPr lang="en-US" sz="1400" dirty="0">
                <a:solidFill>
                  <a:schemeClr val="accent2"/>
                </a:solidFill>
                <a:latin typeface="Calibri" panose="020F0502020204030204" pitchFamily="34" charset="0"/>
                <a:ea typeface="Calibri" panose="020F0502020204030204" pitchFamily="34" charset="0"/>
                <a:cs typeface="Calibri" panose="020F0502020204030204" pitchFamily="34" charset="0"/>
              </a:rPr>
              <a:t>Driving customer-centric partnerships and market-expansion initiatives</a:t>
            </a:r>
          </a:p>
          <a:p>
            <a:pPr marL="400050" lvl="2" indent="0">
              <a:lnSpc>
                <a:spcPct val="100000"/>
              </a:lnSpc>
              <a:spcBef>
                <a:spcPts val="0"/>
              </a:spcBef>
              <a:buClr>
                <a:schemeClr val="tx1"/>
              </a:buClr>
              <a:buSzPct val="80000"/>
              <a:buNone/>
            </a:pPr>
            <a:endParaRPr lang="en-US" sz="24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9440555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a:effectLst/>
              </a:rPr>
              <a:t>Power Switchin</a:t>
            </a:r>
            <a:r>
              <a:rPr lang="en-US" sz="3600" dirty="0">
                <a:effectLst/>
              </a:rPr>
              <a:t>g Division </a:t>
            </a:r>
            <a:r>
              <a:rPr lang="en-US" sz="3600" i="0" dirty="0">
                <a:effectLst/>
              </a:rPr>
              <a:t>Management Team</a:t>
            </a:r>
            <a:endParaRPr lang="en-US" sz="3600" i="0" dirty="0">
              <a:effectLst/>
              <a:ea typeface="ＭＳ Ｐゴシック" pitchFamily="34" charset="-128"/>
              <a:cs typeface="Calibri"/>
            </a:endParaRPr>
          </a:p>
        </p:txBody>
      </p:sp>
      <p:pic>
        <p:nvPicPr>
          <p:cNvPr id="5" name="Picture 4" descr="A logo with a black background&#10;&#10;Description automatically generated">
            <a:extLst>
              <a:ext uri="{FF2B5EF4-FFF2-40B4-BE49-F238E27FC236}">
                <a16:creationId xmlns:a16="http://schemas.microsoft.com/office/drawing/2014/main" id="{BBD93E03-E1A9-4442-920C-FE128D61BB5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sp>
        <p:nvSpPr>
          <p:cNvPr id="8" name="_s1048">
            <a:extLst>
              <a:ext uri="{FF2B5EF4-FFF2-40B4-BE49-F238E27FC236}">
                <a16:creationId xmlns:a16="http://schemas.microsoft.com/office/drawing/2014/main" id="{D9195898-5299-4EF8-BA1B-10F685FBCF58}"/>
              </a:ext>
            </a:extLst>
          </p:cNvPr>
          <p:cNvSpPr>
            <a:spLocks noChangeArrowheads="1"/>
          </p:cNvSpPr>
          <p:nvPr/>
        </p:nvSpPr>
        <p:spPr bwMode="auto">
          <a:xfrm>
            <a:off x="5592055" y="1437142"/>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VP and GM</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Power Switching</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ivision (PSD)</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Kevin Goldstein</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25" name="Straight Connector 24">
            <a:extLst>
              <a:ext uri="{FF2B5EF4-FFF2-40B4-BE49-F238E27FC236}">
                <a16:creationId xmlns:a16="http://schemas.microsoft.com/office/drawing/2014/main" id="{A8D7D701-0665-40E5-899F-F2E392362F6F}"/>
              </a:ext>
            </a:extLst>
          </p:cNvPr>
          <p:cNvCxnSpPr>
            <a:cxnSpLocks/>
          </p:cNvCxnSpPr>
          <p:nvPr/>
        </p:nvCxnSpPr>
        <p:spPr>
          <a:xfrm flipV="1">
            <a:off x="1560178" y="2361440"/>
            <a:ext cx="8744379" cy="468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_s1065">
            <a:extLst>
              <a:ext uri="{FF2B5EF4-FFF2-40B4-BE49-F238E27FC236}">
                <a16:creationId xmlns:a16="http://schemas.microsoft.com/office/drawing/2014/main" id="{996B0B4C-BAA1-4BD7-A2B3-2838EA5DFE70}"/>
              </a:ext>
            </a:extLst>
          </p:cNvPr>
          <p:cNvSpPr>
            <a:spLocks noChangeArrowheads="1"/>
          </p:cNvSpPr>
          <p:nvPr/>
        </p:nvSpPr>
        <p:spPr bwMode="auto">
          <a:xfrm>
            <a:off x="5560561" y="2650215"/>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irecto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Operations</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Wes Wadsworth</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3" name="_s1065">
            <a:extLst>
              <a:ext uri="{FF2B5EF4-FFF2-40B4-BE49-F238E27FC236}">
                <a16:creationId xmlns:a16="http://schemas.microsoft.com/office/drawing/2014/main" id="{5E31E2D5-F65B-4252-B584-D813496F6BF5}"/>
              </a:ext>
            </a:extLst>
          </p:cNvPr>
          <p:cNvSpPr>
            <a:spLocks noChangeArrowheads="1"/>
          </p:cNvSpPr>
          <p:nvPr/>
        </p:nvSpPr>
        <p:spPr bwMode="auto">
          <a:xfrm>
            <a:off x="4221178" y="3368619"/>
            <a:ext cx="1143000" cy="594360"/>
          </a:xfrm>
          <a:prstGeom prst="roundRect">
            <a:avLst>
              <a:gd name="adj" fmla="val 16667"/>
            </a:avLst>
          </a:prstGeom>
          <a:solidFill>
            <a:schemeClr val="accent6">
              <a:lumMod val="20000"/>
              <a:lumOff val="80000"/>
            </a:schemeClr>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Applications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Engineering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Bradley Thomas</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6" name="_s1065">
            <a:extLst>
              <a:ext uri="{FF2B5EF4-FFF2-40B4-BE49-F238E27FC236}">
                <a16:creationId xmlns:a16="http://schemas.microsoft.com/office/drawing/2014/main" id="{B58E03A9-379B-4616-B255-E1562CE8B1CA}"/>
              </a:ext>
            </a:extLst>
          </p:cNvPr>
          <p:cNvSpPr>
            <a:spLocks noChangeArrowheads="1"/>
          </p:cNvSpPr>
          <p:nvPr/>
        </p:nvSpPr>
        <p:spPr bwMode="auto">
          <a:xfrm>
            <a:off x="7804599" y="2646243"/>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National Sales</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Caleb Harrison</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7" name="_s1065">
            <a:extLst>
              <a:ext uri="{FF2B5EF4-FFF2-40B4-BE49-F238E27FC236}">
                <a16:creationId xmlns:a16="http://schemas.microsoft.com/office/drawing/2014/main" id="{8C927CEA-3A7B-41E7-9EC6-006111B98A37}"/>
              </a:ext>
            </a:extLst>
          </p:cNvPr>
          <p:cNvSpPr>
            <a:spLocks noChangeArrowheads="1"/>
          </p:cNvSpPr>
          <p:nvPr/>
        </p:nvSpPr>
        <p:spPr bwMode="auto">
          <a:xfrm>
            <a:off x="996493" y="2645649"/>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000000"/>
                </a:solidFill>
                <a:effectLst/>
                <a:uLnTx/>
                <a:uFillTx/>
                <a:latin typeface="Arial"/>
                <a:ea typeface="ＭＳ Ｐゴシック"/>
                <a:cs typeface="+mn-cs"/>
              </a:rPr>
              <a:t>Chief Engineer and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000000"/>
                </a:solidFill>
                <a:effectLst/>
                <a:uLnTx/>
                <a:uFillTx/>
                <a:latin typeface="Arial"/>
                <a:ea typeface="ＭＳ Ｐゴシック"/>
                <a:cs typeface="+mn-cs"/>
              </a:rPr>
              <a:t> 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000000"/>
                </a:solidFill>
                <a:effectLst/>
                <a:uLnTx/>
                <a:uFillTx/>
                <a:latin typeface="Arial"/>
                <a:ea typeface="ＭＳ Ｐゴシック"/>
                <a:cs typeface="+mn-cs"/>
              </a:rPr>
              <a:t>Design Engineering</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000000"/>
                </a:solidFill>
                <a:effectLst/>
                <a:uLnTx/>
                <a:uFillTx/>
                <a:latin typeface="Arial"/>
                <a:ea typeface="ＭＳ Ｐゴシック"/>
                <a:cs typeface="+mn-cs"/>
              </a:rPr>
              <a:t>Brian Roberts</a:t>
            </a:r>
            <a:endParaRPr kumimoji="0" lang="en-US" sz="85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85" name="Straight Connector 84">
            <a:extLst>
              <a:ext uri="{FF2B5EF4-FFF2-40B4-BE49-F238E27FC236}">
                <a16:creationId xmlns:a16="http://schemas.microsoft.com/office/drawing/2014/main" id="{CCD7E179-8168-4C33-9AAF-A0C2952E27F2}"/>
              </a:ext>
            </a:extLst>
          </p:cNvPr>
          <p:cNvCxnSpPr>
            <a:cxnSpLocks/>
          </p:cNvCxnSpPr>
          <p:nvPr/>
        </p:nvCxnSpPr>
        <p:spPr>
          <a:xfrm>
            <a:off x="1569112" y="2364313"/>
            <a:ext cx="0" cy="26566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0958FC6-5556-4A81-972E-1441B41B8A17}"/>
              </a:ext>
            </a:extLst>
          </p:cNvPr>
          <p:cNvCxnSpPr>
            <a:cxnSpLocks/>
          </p:cNvCxnSpPr>
          <p:nvPr/>
        </p:nvCxnSpPr>
        <p:spPr>
          <a:xfrm flipH="1">
            <a:off x="4792678" y="2917017"/>
            <a:ext cx="9768" cy="4498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E0F8FB4-530E-4A05-8667-9ECBE72C8C60}"/>
              </a:ext>
            </a:extLst>
          </p:cNvPr>
          <p:cNvCxnSpPr>
            <a:cxnSpLocks/>
          </p:cNvCxnSpPr>
          <p:nvPr/>
        </p:nvCxnSpPr>
        <p:spPr>
          <a:xfrm>
            <a:off x="6130053" y="2375407"/>
            <a:ext cx="0" cy="26566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2311308-2A5C-4AAB-BB2B-940BB335FBBE}"/>
              </a:ext>
            </a:extLst>
          </p:cNvPr>
          <p:cNvCxnSpPr>
            <a:cxnSpLocks/>
          </p:cNvCxnSpPr>
          <p:nvPr/>
        </p:nvCxnSpPr>
        <p:spPr>
          <a:xfrm>
            <a:off x="8399349" y="2360789"/>
            <a:ext cx="0" cy="26566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_s1065">
            <a:extLst>
              <a:ext uri="{FF2B5EF4-FFF2-40B4-BE49-F238E27FC236}">
                <a16:creationId xmlns:a16="http://schemas.microsoft.com/office/drawing/2014/main" id="{7CE2E0D4-A484-4EEE-A3CD-40EBAA93FB39}"/>
              </a:ext>
            </a:extLst>
          </p:cNvPr>
          <p:cNvSpPr>
            <a:spLocks noChangeArrowheads="1"/>
          </p:cNvSpPr>
          <p:nvPr/>
        </p:nvSpPr>
        <p:spPr bwMode="auto">
          <a:xfrm>
            <a:off x="5560556" y="4057795"/>
            <a:ext cx="1143000" cy="594360"/>
          </a:xfrm>
          <a:prstGeom prst="roundRect">
            <a:avLst>
              <a:gd name="adj" fmla="val 16667"/>
            </a:avLst>
          </a:prstGeom>
          <a:solidFill>
            <a:srgbClr val="FFFF99"/>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upervisor II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Assembly 1</a:t>
            </a:r>
            <a:r>
              <a:rPr kumimoji="0" lang="en-US" sz="900" b="1" i="0" u="none" strike="noStrike" kern="1200" cap="none" spc="0" normalizeH="0" baseline="30000" noProof="0" dirty="0">
                <a:ln>
                  <a:noFill/>
                </a:ln>
                <a:solidFill>
                  <a:srgbClr val="000000"/>
                </a:solidFill>
                <a:effectLst/>
                <a:uLnTx/>
                <a:uFillTx/>
                <a:latin typeface="Arial"/>
                <a:ea typeface="ＭＳ Ｐゴシック"/>
                <a:cs typeface="+mn-cs"/>
              </a:rPr>
              <a:t>st</a:t>
            </a: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hift -McGarity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Willie Lewis</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1" name="_s1065">
            <a:extLst>
              <a:ext uri="{FF2B5EF4-FFF2-40B4-BE49-F238E27FC236}">
                <a16:creationId xmlns:a16="http://schemas.microsoft.com/office/drawing/2014/main" id="{0391F3E9-FE03-4488-9040-30160BBBE407}"/>
              </a:ext>
            </a:extLst>
          </p:cNvPr>
          <p:cNvSpPr>
            <a:spLocks noChangeArrowheads="1"/>
          </p:cNvSpPr>
          <p:nvPr/>
        </p:nvSpPr>
        <p:spPr bwMode="auto">
          <a:xfrm>
            <a:off x="5560556" y="3372203"/>
            <a:ext cx="1143000" cy="594360"/>
          </a:xfrm>
          <a:prstGeom prst="roundRect">
            <a:avLst>
              <a:gd name="adj" fmla="val 16667"/>
            </a:avLst>
          </a:prstGeom>
          <a:solidFill>
            <a:schemeClr val="accent6">
              <a:lumMod val="20000"/>
              <a:lumOff val="80000"/>
            </a:schemeClr>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Production PSD –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penc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Bart Stapleton</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2" name="_s1065">
            <a:extLst>
              <a:ext uri="{FF2B5EF4-FFF2-40B4-BE49-F238E27FC236}">
                <a16:creationId xmlns:a16="http://schemas.microsoft.com/office/drawing/2014/main" id="{DEC395BF-A0C6-44F3-94AB-79ED335A43E3}"/>
              </a:ext>
            </a:extLst>
          </p:cNvPr>
          <p:cNvSpPr>
            <a:spLocks noChangeArrowheads="1"/>
          </p:cNvSpPr>
          <p:nvPr/>
        </p:nvSpPr>
        <p:spPr bwMode="auto">
          <a:xfrm>
            <a:off x="5558553" y="4743387"/>
            <a:ext cx="1143000" cy="594360"/>
          </a:xfrm>
          <a:prstGeom prst="roundRect">
            <a:avLst>
              <a:gd name="adj" fmla="val 16667"/>
            </a:avLst>
          </a:prstGeom>
          <a:solidFill>
            <a:srgbClr val="FFFF99"/>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upervisor I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Assembly 2nd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hift - McGarity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Thomas Baker</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6" name="_s1065">
            <a:extLst>
              <a:ext uri="{FF2B5EF4-FFF2-40B4-BE49-F238E27FC236}">
                <a16:creationId xmlns:a16="http://schemas.microsoft.com/office/drawing/2014/main" id="{9E5216DD-3428-4CC1-B191-E4C31A1AB698}"/>
              </a:ext>
            </a:extLst>
          </p:cNvPr>
          <p:cNvSpPr>
            <a:spLocks noChangeArrowheads="1"/>
          </p:cNvSpPr>
          <p:nvPr/>
        </p:nvSpPr>
        <p:spPr bwMode="auto">
          <a:xfrm>
            <a:off x="9704721" y="3368619"/>
            <a:ext cx="1143000" cy="594360"/>
          </a:xfrm>
          <a:prstGeom prst="roundRect">
            <a:avLst>
              <a:gd name="adj" fmla="val 16667"/>
            </a:avLst>
          </a:prstGeom>
          <a:solidFill>
            <a:schemeClr val="accent6">
              <a:lumMod val="20000"/>
              <a:lumOff val="80000"/>
            </a:schemeClr>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Technical</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 CS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Wade Zahn</a:t>
            </a:r>
          </a:p>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17" name="Straight Connector 16">
            <a:extLst>
              <a:ext uri="{FF2B5EF4-FFF2-40B4-BE49-F238E27FC236}">
                <a16:creationId xmlns:a16="http://schemas.microsoft.com/office/drawing/2014/main" id="{C94596DB-EB06-45F5-BB61-077B7156CE8B}"/>
              </a:ext>
            </a:extLst>
          </p:cNvPr>
          <p:cNvCxnSpPr>
            <a:cxnSpLocks/>
          </p:cNvCxnSpPr>
          <p:nvPr/>
        </p:nvCxnSpPr>
        <p:spPr>
          <a:xfrm>
            <a:off x="6703556" y="5048971"/>
            <a:ext cx="185466" cy="0"/>
          </a:xfrm>
          <a:prstGeom prst="line">
            <a:avLst/>
          </a:prstGeom>
          <a:ln w="25400"/>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2AA56A86-FFF7-4460-A812-023AD6682815}"/>
              </a:ext>
            </a:extLst>
          </p:cNvPr>
          <p:cNvCxnSpPr>
            <a:cxnSpLocks/>
          </p:cNvCxnSpPr>
          <p:nvPr/>
        </p:nvCxnSpPr>
        <p:spPr>
          <a:xfrm flipH="1">
            <a:off x="6887791" y="2924219"/>
            <a:ext cx="1421" cy="2805008"/>
          </a:xfrm>
          <a:prstGeom prst="line">
            <a:avLst/>
          </a:prstGeom>
          <a:ln w="25400">
            <a:solidFill>
              <a:schemeClr val="tx1"/>
            </a:solidFill>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C75191F2-5B7B-49FB-A4FA-AE33AF936DE2}"/>
              </a:ext>
            </a:extLst>
          </p:cNvPr>
          <p:cNvCxnSpPr>
            <a:cxnSpLocks/>
          </p:cNvCxnSpPr>
          <p:nvPr/>
        </p:nvCxnSpPr>
        <p:spPr>
          <a:xfrm>
            <a:off x="6717234" y="4354975"/>
            <a:ext cx="171788" cy="0"/>
          </a:xfrm>
          <a:prstGeom prst="line">
            <a:avLst/>
          </a:prstGeom>
          <a:ln w="25400"/>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DE90DA11-E245-45D7-A625-58237103C7F7}"/>
              </a:ext>
            </a:extLst>
          </p:cNvPr>
          <p:cNvCxnSpPr>
            <a:cxnSpLocks/>
          </p:cNvCxnSpPr>
          <p:nvPr/>
        </p:nvCxnSpPr>
        <p:spPr>
          <a:xfrm>
            <a:off x="6695149" y="3649142"/>
            <a:ext cx="178964" cy="0"/>
          </a:xfrm>
          <a:prstGeom prst="line">
            <a:avLst/>
          </a:prstGeom>
          <a:ln w="25400"/>
        </p:spPr>
        <p:style>
          <a:lnRef idx="1">
            <a:schemeClr val="dk1"/>
          </a:lnRef>
          <a:fillRef idx="0">
            <a:schemeClr val="dk1"/>
          </a:fillRef>
          <a:effectRef idx="0">
            <a:schemeClr val="dk1"/>
          </a:effectRef>
          <a:fontRef idx="minor">
            <a:schemeClr val="tx1"/>
          </a:fontRef>
        </p:style>
      </p:cxnSp>
      <p:cxnSp>
        <p:nvCxnSpPr>
          <p:cNvPr id="3328006" name="Straight Connector 3328005">
            <a:extLst>
              <a:ext uri="{FF2B5EF4-FFF2-40B4-BE49-F238E27FC236}">
                <a16:creationId xmlns:a16="http://schemas.microsoft.com/office/drawing/2014/main" id="{04AC13BC-FA01-4F9F-8BA9-A9BBB2620114}"/>
              </a:ext>
            </a:extLst>
          </p:cNvPr>
          <p:cNvCxnSpPr>
            <a:cxnSpLocks/>
          </p:cNvCxnSpPr>
          <p:nvPr/>
        </p:nvCxnSpPr>
        <p:spPr>
          <a:xfrm flipV="1">
            <a:off x="6697365" y="2928111"/>
            <a:ext cx="187555" cy="3558"/>
          </a:xfrm>
          <a:prstGeom prst="line">
            <a:avLst/>
          </a:prstGeom>
          <a:ln w="25400">
            <a:solidFill>
              <a:schemeClr val="tx1"/>
            </a:solidFill>
          </a:ln>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D454831B-79CE-4F78-A82F-3958C4230B9A}"/>
              </a:ext>
            </a:extLst>
          </p:cNvPr>
          <p:cNvCxnSpPr>
            <a:cxnSpLocks/>
          </p:cNvCxnSpPr>
          <p:nvPr/>
        </p:nvCxnSpPr>
        <p:spPr>
          <a:xfrm flipH="1">
            <a:off x="10280748" y="2360789"/>
            <a:ext cx="15994" cy="998582"/>
          </a:xfrm>
          <a:prstGeom prst="line">
            <a:avLst/>
          </a:prstGeom>
          <a:ln w="25400">
            <a:solidFill>
              <a:schemeClr val="tx1"/>
            </a:solidFill>
          </a:ln>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13B6E52D-7281-4067-BEC8-B2C9234D3E41}"/>
              </a:ext>
            </a:extLst>
          </p:cNvPr>
          <p:cNvCxnSpPr>
            <a:cxnSpLocks/>
          </p:cNvCxnSpPr>
          <p:nvPr/>
        </p:nvCxnSpPr>
        <p:spPr>
          <a:xfrm>
            <a:off x="6132295" y="2046120"/>
            <a:ext cx="0" cy="32928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8E7A9A6-113D-4239-A84A-35DFF27E6716}"/>
              </a:ext>
            </a:extLst>
          </p:cNvPr>
          <p:cNvCxnSpPr>
            <a:cxnSpLocks/>
          </p:cNvCxnSpPr>
          <p:nvPr/>
        </p:nvCxnSpPr>
        <p:spPr>
          <a:xfrm flipV="1">
            <a:off x="4801309" y="2913061"/>
            <a:ext cx="746979" cy="3956"/>
          </a:xfrm>
          <a:prstGeom prst="line">
            <a:avLst/>
          </a:prstGeom>
          <a:ln w="25400">
            <a:solidFill>
              <a:schemeClr val="tx1"/>
            </a:solidFill>
          </a:ln>
        </p:spPr>
        <p:style>
          <a:lnRef idx="1">
            <a:schemeClr val="dk1"/>
          </a:lnRef>
          <a:fillRef idx="0">
            <a:schemeClr val="dk1"/>
          </a:fillRef>
          <a:effectRef idx="0">
            <a:schemeClr val="dk1"/>
          </a:effectRef>
          <a:fontRef idx="minor">
            <a:schemeClr val="tx1"/>
          </a:fontRef>
        </p:style>
      </p:cxnSp>
      <p:sp>
        <p:nvSpPr>
          <p:cNvPr id="2" name="_s1065">
            <a:extLst>
              <a:ext uri="{FF2B5EF4-FFF2-40B4-BE49-F238E27FC236}">
                <a16:creationId xmlns:a16="http://schemas.microsoft.com/office/drawing/2014/main" id="{E1040E9C-BD28-08AE-03A1-FD756BFD9E2E}"/>
              </a:ext>
            </a:extLst>
          </p:cNvPr>
          <p:cNvSpPr>
            <a:spLocks noChangeArrowheads="1"/>
          </p:cNvSpPr>
          <p:nvPr/>
        </p:nvSpPr>
        <p:spPr bwMode="auto">
          <a:xfrm>
            <a:off x="5574234" y="5432048"/>
            <a:ext cx="1143000" cy="594360"/>
          </a:xfrm>
          <a:prstGeom prst="roundRect">
            <a:avLst>
              <a:gd name="adj" fmla="val 16667"/>
            </a:avLst>
          </a:prstGeom>
          <a:solidFill>
            <a:srgbClr val="FFFF99"/>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upervisor I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Assembly 1</a:t>
            </a:r>
            <a:r>
              <a:rPr kumimoji="0" lang="en-US" sz="900" b="1" i="0" u="none" strike="noStrike" kern="1200" cap="none" spc="0" normalizeH="0" baseline="0" noProof="0" dirty="0" err="1">
                <a:ln>
                  <a:noFill/>
                </a:ln>
                <a:solidFill>
                  <a:srgbClr val="000000"/>
                </a:solidFill>
                <a:effectLst/>
                <a:uLnTx/>
                <a:uFillTx/>
                <a:latin typeface="Arial"/>
                <a:ea typeface="ＭＳ Ｐゴシック"/>
                <a:cs typeface="+mn-cs"/>
              </a:rPr>
              <a:t>st</a:t>
            </a: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hift - Spencer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Bart Stapleton)</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3" name="Straight Connector 2">
            <a:extLst>
              <a:ext uri="{FF2B5EF4-FFF2-40B4-BE49-F238E27FC236}">
                <a16:creationId xmlns:a16="http://schemas.microsoft.com/office/drawing/2014/main" id="{1E4E8EB9-64FB-F09D-D7C9-EBA6AF750ADE}"/>
              </a:ext>
            </a:extLst>
          </p:cNvPr>
          <p:cNvCxnSpPr>
            <a:cxnSpLocks/>
          </p:cNvCxnSpPr>
          <p:nvPr/>
        </p:nvCxnSpPr>
        <p:spPr>
          <a:xfrm>
            <a:off x="6710395" y="5729228"/>
            <a:ext cx="185466" cy="0"/>
          </a:xfrm>
          <a:prstGeom prst="line">
            <a:avLst/>
          </a:prstGeom>
          <a:ln w="2540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563977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lIns="91440">
            <a:normAutofit/>
          </a:bodyPr>
          <a:lstStyle/>
          <a:p>
            <a:pPr>
              <a:defRPr/>
            </a:pPr>
            <a:r>
              <a:rPr lang="en-US" sz="3600" i="0" dirty="0">
                <a:solidFill>
                  <a:schemeClr val="tx1"/>
                </a:solidFill>
                <a:latin typeface="Calibri" panose="020F0502020204030204" pitchFamily="34" charset="0"/>
                <a:ea typeface="Calibri" panose="020F0502020204030204" pitchFamily="34" charset="0"/>
                <a:cs typeface="Calibri" panose="020F0502020204030204" pitchFamily="34" charset="0"/>
              </a:rPr>
              <a:t>Power Switching Division Product Focus </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8" y="1444752"/>
            <a:ext cx="11160252" cy="5192257"/>
          </a:xfrm>
        </p:spPr>
        <p:txBody>
          <a:bodyPr>
            <a:normAutofit/>
          </a:bodyPr>
          <a:lstStyle/>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Purpose-Built Products That Solve Real Grid Problems</a:t>
            </a:r>
          </a:p>
          <a:p>
            <a:pPr marL="628650" lvl="1">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Every product is engineered for a specific known grid challenge — eliminating compromise, improving reliability, and reducing total lifecycle cost</a:t>
            </a:r>
            <a:endParaRPr lang="en-US" sz="1200" dirty="0">
              <a:solidFill>
                <a:srgbClr val="A20000"/>
              </a:solidFill>
              <a:latin typeface="Calibri" panose="020F0502020204030204" pitchFamily="34" charset="0"/>
              <a:ea typeface="Calibri" panose="020F0502020204030204" pitchFamily="34" charset="0"/>
              <a:cs typeface="Calibri" panose="020F0502020204030204" pitchFamily="34" charset="0"/>
            </a:endParaRP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Key Product Families</a:t>
            </a:r>
          </a:p>
          <a:p>
            <a:pPr marL="685800" lvl="1" indent="-342900">
              <a:lnSpc>
                <a:spcPct val="110000"/>
              </a:lnSpc>
              <a:spcBef>
                <a:spcPts val="0"/>
              </a:spcBef>
              <a:buClr>
                <a:srgbClr val="A20000"/>
              </a:buClr>
              <a:buFont typeface="Arial" panose="020B0604020202020204" pitchFamily="34" charset="0"/>
              <a:buChar char="•"/>
            </a:pPr>
            <a:r>
              <a:rPr lang="en-US" sz="1800" b="1" dirty="0">
                <a:solidFill>
                  <a:srgbClr val="38668E"/>
                </a:solidFill>
                <a:latin typeface="Calibri" panose="020F0502020204030204" pitchFamily="34" charset="0"/>
                <a:ea typeface="Calibri" panose="020F0502020204030204" pitchFamily="34" charset="0"/>
                <a:cs typeface="Calibri" panose="020F0502020204030204" pitchFamily="34" charset="0"/>
              </a:rPr>
              <a:t>CSV Vertical Circuit Switcher </a:t>
            </a: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 3-cycle, 40kA interrupting capability; adaptable bases save hundreds of thousands in retrofit costs; optimized for transformer-limited faults</a:t>
            </a:r>
          </a:p>
          <a:p>
            <a:pPr marL="685800" lvl="1" indent="-342900">
              <a:lnSpc>
                <a:spcPct val="110000"/>
              </a:lnSpc>
              <a:spcBef>
                <a:spcPts val="0"/>
              </a:spcBef>
              <a:buClr>
                <a:srgbClr val="A20000"/>
              </a:buClr>
              <a:buFont typeface="Arial" panose="020B0604020202020204" pitchFamily="34" charset="0"/>
              <a:buChar char="•"/>
            </a:pPr>
            <a:r>
              <a:rPr lang="en-US" sz="1800" b="1" dirty="0">
                <a:solidFill>
                  <a:srgbClr val="38668E"/>
                </a:solidFill>
                <a:latin typeface="Calibri" panose="020F0502020204030204" pitchFamily="34" charset="0"/>
                <a:ea typeface="Calibri" panose="020F0502020204030204" pitchFamily="34" charset="0"/>
                <a:cs typeface="Calibri" panose="020F0502020204030204" pitchFamily="34" charset="0"/>
              </a:rPr>
              <a:t>HSV Horizontal Circuit Switcher </a:t>
            </a: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 5-cycle, 40kA interrupter capability; switch position supports various orientation including horizontal upright, vertical, underhung, and mobile substations</a:t>
            </a:r>
          </a:p>
          <a:p>
            <a:pPr marL="685800" lvl="1" indent="-342900">
              <a:lnSpc>
                <a:spcPct val="110000"/>
              </a:lnSpc>
              <a:spcBef>
                <a:spcPts val="0"/>
              </a:spcBef>
              <a:buClr>
                <a:srgbClr val="A20000"/>
              </a:buClr>
              <a:buFont typeface="Arial" panose="020B0604020202020204" pitchFamily="34" charset="0"/>
              <a:buChar char="•"/>
            </a:pPr>
            <a:r>
              <a:rPr lang="en-US" sz="1800" b="1" dirty="0" err="1">
                <a:solidFill>
                  <a:srgbClr val="38668E"/>
                </a:solidFill>
                <a:latin typeface="Calibri" panose="020F0502020204030204" pitchFamily="34" charset="0"/>
                <a:ea typeface="Calibri" panose="020F0502020204030204" pitchFamily="34" charset="0"/>
                <a:cs typeface="Calibri" panose="020F0502020204030204" pitchFamily="34" charset="0"/>
              </a:rPr>
              <a:t>CapSwitcher</a:t>
            </a:r>
            <a:r>
              <a:rPr lang="en-US" sz="1800" b="1" dirty="0">
                <a:solidFill>
                  <a:srgbClr val="38668E"/>
                </a:solidFill>
                <a:latin typeface="Calibri" panose="020F0502020204030204" pitchFamily="34" charset="0"/>
                <a:ea typeface="Calibri" panose="020F0502020204030204" pitchFamily="34" charset="0"/>
                <a:cs typeface="Calibri" panose="020F0502020204030204" pitchFamily="34" charset="0"/>
              </a:rPr>
              <a:t>®</a:t>
            </a:r>
            <a:r>
              <a:rPr lang="en-US" sz="1800" dirty="0">
                <a:solidFill>
                  <a:srgbClr val="38668E"/>
                </a:solidFill>
                <a:latin typeface="Calibri" panose="020F0502020204030204" pitchFamily="34" charset="0"/>
                <a:ea typeface="Calibri" panose="020F0502020204030204" pitchFamily="34" charset="0"/>
                <a:cs typeface="Calibri" panose="020F0502020204030204" pitchFamily="34" charset="0"/>
              </a:rPr>
              <a:t> </a:t>
            </a: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 pre-insertion resistor design for superior transient suppression; eliminates inrush reactors; 10,000-operation life with simple, robust mechanics</a:t>
            </a:r>
          </a:p>
          <a:p>
            <a:pPr marL="685800" lvl="1" indent="-342900">
              <a:lnSpc>
                <a:spcPct val="110000"/>
              </a:lnSpc>
              <a:spcBef>
                <a:spcPts val="0"/>
              </a:spcBef>
              <a:buClr>
                <a:srgbClr val="A20000"/>
              </a:buClr>
              <a:buFont typeface="Arial" panose="020B0604020202020204" pitchFamily="34" charset="0"/>
              <a:buChar char="•"/>
            </a:pPr>
            <a:r>
              <a:rPr lang="en-US" sz="1800" b="1" dirty="0" err="1">
                <a:solidFill>
                  <a:srgbClr val="38668E"/>
                </a:solidFill>
                <a:latin typeface="Calibri" panose="020F0502020204030204" pitchFamily="34" charset="0"/>
                <a:ea typeface="Calibri" panose="020F0502020204030204" pitchFamily="34" charset="0"/>
                <a:cs typeface="Calibri" panose="020F0502020204030204" pitchFamily="34" charset="0"/>
              </a:rPr>
              <a:t>RLSwitcher</a:t>
            </a:r>
            <a:r>
              <a:rPr lang="en-US" sz="1800" b="1" dirty="0">
                <a:solidFill>
                  <a:srgbClr val="38668E"/>
                </a:solidFill>
                <a:latin typeface="Calibri" panose="020F0502020204030204" pitchFamily="34" charset="0"/>
                <a:ea typeface="Calibri" panose="020F0502020204030204" pitchFamily="34" charset="0"/>
                <a:cs typeface="Calibri" panose="020F0502020204030204" pitchFamily="34" charset="0"/>
              </a:rPr>
              <a:t>® </a:t>
            </a: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 patented interrupter engineered to protect multimillion-dollar shunt reactors; 10X lower reignition probability; eliminates destructive TRV impacts</a:t>
            </a:r>
          </a:p>
          <a:p>
            <a:pPr marL="685800" lvl="1" indent="-342900">
              <a:lnSpc>
                <a:spcPct val="110000"/>
              </a:lnSpc>
              <a:spcBef>
                <a:spcPts val="0"/>
              </a:spcBef>
              <a:buClr>
                <a:srgbClr val="A20000"/>
              </a:buClr>
              <a:buFont typeface="Arial" panose="020B0604020202020204" pitchFamily="34" charset="0"/>
              <a:buChar char="•"/>
            </a:pPr>
            <a:r>
              <a:rPr lang="en-US" sz="1800" b="1" dirty="0">
                <a:solidFill>
                  <a:srgbClr val="38668E"/>
                </a:solidFill>
                <a:latin typeface="Calibri" panose="020F0502020204030204" pitchFamily="34" charset="0"/>
                <a:ea typeface="Calibri" panose="020F0502020204030204" pitchFamily="34" charset="0"/>
                <a:cs typeface="Calibri" panose="020F0502020204030204" pitchFamily="34" charset="0"/>
              </a:rPr>
              <a:t>LLS® Load &amp; Line Switcher </a:t>
            </a: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 upgrades ANY disconnect into a full load-break switch; single-gap design above 72.5kV; delivers modern capability at a fraction of replacement cost</a:t>
            </a: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8689434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7FFE62-9850-E8E4-F50B-251081316F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588B58-6153-F1B8-4DB0-D1ACF93A24C7}"/>
              </a:ext>
            </a:extLst>
          </p:cNvPr>
          <p:cNvSpPr>
            <a:spLocks noGrp="1"/>
          </p:cNvSpPr>
          <p:nvPr>
            <p:ph type="title"/>
          </p:nvPr>
        </p:nvSpPr>
        <p:spPr>
          <a:xfrm>
            <a:off x="406400" y="274638"/>
            <a:ext cx="9347200" cy="868362"/>
          </a:xfrm>
        </p:spPr>
        <p:txBody>
          <a:bodyPr>
            <a:normAutofit/>
          </a:bodyPr>
          <a:lstStyle/>
          <a:p>
            <a:r>
              <a:rPr lang="en-US" sz="3600" dirty="0">
                <a:latin typeface="Calibri" panose="020F0502020204030204" pitchFamily="34" charset="0"/>
                <a:ea typeface="Calibri" panose="020F0502020204030204" pitchFamily="34" charset="0"/>
                <a:cs typeface="Calibri" panose="020F0502020204030204" pitchFamily="34" charset="0"/>
              </a:rPr>
              <a:t>Power Switching Division Market Focus </a:t>
            </a:r>
            <a:endParaRPr lang="en-US" sz="3600" i="0" dirty="0">
              <a:solidFill>
                <a:schemeClr val="tx1"/>
              </a:solidFill>
              <a:effectLst/>
            </a:endParaRPr>
          </a:p>
        </p:txBody>
      </p:sp>
      <p:sp>
        <p:nvSpPr>
          <p:cNvPr id="4" name="Slide Number Placeholder 1">
            <a:extLst>
              <a:ext uri="{FF2B5EF4-FFF2-40B4-BE49-F238E27FC236}">
                <a16:creationId xmlns:a16="http://schemas.microsoft.com/office/drawing/2014/main" id="{F1073738-551E-FC8F-95A7-E43C69160158}"/>
              </a:ext>
            </a:extLst>
          </p:cNvPr>
          <p:cNvSpPr>
            <a:spLocks noGrp="1"/>
          </p:cNvSpPr>
          <p:nvPr>
            <p:ph type="sldNum" sz="quarter" idx="4"/>
          </p:nvPr>
        </p:nvSpPr>
        <p:spPr>
          <a:xfrm>
            <a:off x="11277600" y="6492875"/>
            <a:ext cx="812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US" sz="1000" b="1" i="1"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6" name="Picture 5" descr="A logo with a black background&#10;&#10;Description automatically generated">
            <a:extLst>
              <a:ext uri="{FF2B5EF4-FFF2-40B4-BE49-F238E27FC236}">
                <a16:creationId xmlns:a16="http://schemas.microsoft.com/office/drawing/2014/main" id="{09A0299A-EADB-5906-3E03-F9FC651011C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pic>
        <p:nvPicPr>
          <p:cNvPr id="11" name="Graphic 10" descr="Astronaut male outline">
            <a:extLst>
              <a:ext uri="{FF2B5EF4-FFF2-40B4-BE49-F238E27FC236}">
                <a16:creationId xmlns:a16="http://schemas.microsoft.com/office/drawing/2014/main" id="{6F1FE8F4-6E91-4080-9D76-5437707109A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32283" y="1557111"/>
            <a:ext cx="914400" cy="914400"/>
          </a:xfrm>
          <a:prstGeom prst="rect">
            <a:avLst/>
          </a:prstGeom>
        </p:spPr>
      </p:pic>
      <p:pic>
        <p:nvPicPr>
          <p:cNvPr id="19" name="Graphic 18" descr="Bar graph with upward trend outline">
            <a:extLst>
              <a:ext uri="{FF2B5EF4-FFF2-40B4-BE49-F238E27FC236}">
                <a16:creationId xmlns:a16="http://schemas.microsoft.com/office/drawing/2014/main" id="{422EC7C3-A6BD-4306-ACBC-37280540236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32283" y="3139493"/>
            <a:ext cx="914400" cy="914400"/>
          </a:xfrm>
          <a:prstGeom prst="rect">
            <a:avLst/>
          </a:prstGeom>
        </p:spPr>
      </p:pic>
      <p:pic>
        <p:nvPicPr>
          <p:cNvPr id="21" name="Graphic 20" descr="Excellent outline">
            <a:extLst>
              <a:ext uri="{FF2B5EF4-FFF2-40B4-BE49-F238E27FC236}">
                <a16:creationId xmlns:a16="http://schemas.microsoft.com/office/drawing/2014/main" id="{F979CF8C-7C56-40D3-A9B7-73268C3C110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32283" y="4721875"/>
            <a:ext cx="914400" cy="914400"/>
          </a:xfrm>
          <a:prstGeom prst="rect">
            <a:avLst/>
          </a:prstGeom>
        </p:spPr>
      </p:pic>
      <p:grpSp>
        <p:nvGrpSpPr>
          <p:cNvPr id="32" name="Group 31">
            <a:extLst>
              <a:ext uri="{FF2B5EF4-FFF2-40B4-BE49-F238E27FC236}">
                <a16:creationId xmlns:a16="http://schemas.microsoft.com/office/drawing/2014/main" id="{75F3542A-E937-4FB7-AAD8-53CDCB36DCB0}"/>
              </a:ext>
            </a:extLst>
          </p:cNvPr>
          <p:cNvGrpSpPr/>
          <p:nvPr/>
        </p:nvGrpSpPr>
        <p:grpSpPr>
          <a:xfrm>
            <a:off x="2143160" y="1373264"/>
            <a:ext cx="9134440" cy="1456797"/>
            <a:chOff x="2143160" y="1256719"/>
            <a:chExt cx="9134440" cy="1456797"/>
          </a:xfrm>
        </p:grpSpPr>
        <p:sp>
          <p:nvSpPr>
            <p:cNvPr id="22" name="Rectangle 21">
              <a:extLst>
                <a:ext uri="{FF2B5EF4-FFF2-40B4-BE49-F238E27FC236}">
                  <a16:creationId xmlns:a16="http://schemas.microsoft.com/office/drawing/2014/main" id="{6587FBF7-DF4E-4587-B70A-43ED7130169C}"/>
                </a:ext>
              </a:extLst>
            </p:cNvPr>
            <p:cNvSpPr/>
            <p:nvPr/>
          </p:nvSpPr>
          <p:spPr>
            <a:xfrm>
              <a:off x="2143160" y="1256719"/>
              <a:ext cx="2077684" cy="523220"/>
            </a:xfrm>
            <a:prstGeom prst="rect">
              <a:avLst/>
            </a:prstGeom>
            <a:noFill/>
            <a:ln>
              <a:noFill/>
            </a:ln>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a:ln w="0"/>
                  <a:solidFill>
                    <a:srgbClr val="1F497D"/>
                  </a:solidFill>
                  <a:effectLst>
                    <a:outerShdw blurRad="38100" dist="25400" dir="5400000" algn="ctr" rotWithShape="0">
                      <a:srgbClr val="6E747A">
                        <a:alpha val="43000"/>
                      </a:srgbClr>
                    </a:outerShdw>
                  </a:effectLst>
                  <a:uLnTx/>
                  <a:uFillTx/>
                  <a:latin typeface="Calibri"/>
                  <a:ea typeface="+mn-ea"/>
                  <a:cs typeface="+mn-cs"/>
                </a:rPr>
                <a:t>What We Do</a:t>
              </a:r>
            </a:p>
          </p:txBody>
        </p:sp>
        <p:sp>
          <p:nvSpPr>
            <p:cNvPr id="26" name="TextBox 25">
              <a:extLst>
                <a:ext uri="{FF2B5EF4-FFF2-40B4-BE49-F238E27FC236}">
                  <a16:creationId xmlns:a16="http://schemas.microsoft.com/office/drawing/2014/main" id="{6102B065-7753-4E97-8A3E-429C645AB5E7}"/>
                </a:ext>
              </a:extLst>
            </p:cNvPr>
            <p:cNvSpPr txBox="1"/>
            <p:nvPr/>
          </p:nvSpPr>
          <p:spPr>
            <a:xfrm>
              <a:off x="2187399" y="1790186"/>
              <a:ext cx="9090201"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SD specializes in </a:t>
              </a:r>
              <a:r>
                <a:rPr kumimoji="0" lang="en-US" sz="1800" b="1" i="0" u="none" strike="noStrike" kern="1200" cap="none" spc="0" normalizeH="0" baseline="0" noProof="0" dirty="0">
                  <a:ln>
                    <a:noFill/>
                  </a:ln>
                  <a:solidFill>
                    <a:prstClr val="black"/>
                  </a:solidFill>
                  <a:effectLst/>
                  <a:uLnTx/>
                  <a:uFillTx/>
                  <a:latin typeface="Calibri"/>
                  <a:ea typeface="+mn-ea"/>
                  <a:cs typeface="+mn-cs"/>
                </a:rPr>
                <a:t>Definitive Purpose Products</a:t>
              </a:r>
              <a:r>
                <a:rPr kumimoji="0" lang="en-US" sz="1800" b="0" i="0" u="none" strike="noStrike" kern="1200" cap="none" spc="0" normalizeH="0" baseline="0" noProof="0" dirty="0">
                  <a:ln>
                    <a:noFill/>
                  </a:ln>
                  <a:solidFill>
                    <a:prstClr val="black"/>
                  </a:solidFill>
                  <a:effectLst/>
                  <a:uLnTx/>
                  <a:uFillTx/>
                  <a:latin typeface="Calibri"/>
                  <a:ea typeface="+mn-ea"/>
                  <a:cs typeface="+mn-cs"/>
                </a:rPr>
                <a:t>, which are purpose-built for the switching application, but we also offer the flexibility to custom-engineer a solution for any unique installation.</a:t>
              </a:r>
            </a:p>
          </p:txBody>
        </p:sp>
      </p:grpSp>
      <p:grpSp>
        <p:nvGrpSpPr>
          <p:cNvPr id="31" name="Group 30">
            <a:extLst>
              <a:ext uri="{FF2B5EF4-FFF2-40B4-BE49-F238E27FC236}">
                <a16:creationId xmlns:a16="http://schemas.microsoft.com/office/drawing/2014/main" id="{33C71A3D-1A29-4795-B895-998154CAF1C8}"/>
              </a:ext>
            </a:extLst>
          </p:cNvPr>
          <p:cNvGrpSpPr/>
          <p:nvPr/>
        </p:nvGrpSpPr>
        <p:grpSpPr>
          <a:xfrm>
            <a:off x="2112941" y="2923284"/>
            <a:ext cx="9119055" cy="1137981"/>
            <a:chOff x="2114306" y="2667085"/>
            <a:chExt cx="9119055" cy="1137981"/>
          </a:xfrm>
        </p:grpSpPr>
        <p:sp>
          <p:nvSpPr>
            <p:cNvPr id="23" name="Rectangle 22">
              <a:extLst>
                <a:ext uri="{FF2B5EF4-FFF2-40B4-BE49-F238E27FC236}">
                  <a16:creationId xmlns:a16="http://schemas.microsoft.com/office/drawing/2014/main" id="{12A70AEF-E3F3-4499-A6EC-0547A26C1BC0}"/>
                </a:ext>
              </a:extLst>
            </p:cNvPr>
            <p:cNvSpPr/>
            <p:nvPr/>
          </p:nvSpPr>
          <p:spPr>
            <a:xfrm>
              <a:off x="2114306" y="2667085"/>
              <a:ext cx="3273268" cy="523220"/>
            </a:xfrm>
            <a:prstGeom prst="rect">
              <a:avLst/>
            </a:prstGeom>
            <a:noFill/>
            <a:ln>
              <a:noFill/>
            </a:ln>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a:ln w="0"/>
                  <a:solidFill>
                    <a:srgbClr val="1F497D"/>
                  </a:solidFill>
                  <a:effectLst>
                    <a:outerShdw blurRad="38100" dist="25400" dir="5400000" algn="ctr" rotWithShape="0">
                      <a:srgbClr val="6E747A">
                        <a:alpha val="43000"/>
                      </a:srgbClr>
                    </a:outerShdw>
                  </a:effectLst>
                  <a:uLnTx/>
                  <a:uFillTx/>
                  <a:latin typeface="Calibri"/>
                  <a:ea typeface="+mn-ea"/>
                  <a:cs typeface="+mn-cs"/>
                </a:rPr>
                <a:t>Our Growth Strategy</a:t>
              </a:r>
            </a:p>
          </p:txBody>
        </p:sp>
        <p:sp>
          <p:nvSpPr>
            <p:cNvPr id="28" name="TextBox 27">
              <a:extLst>
                <a:ext uri="{FF2B5EF4-FFF2-40B4-BE49-F238E27FC236}">
                  <a16:creationId xmlns:a16="http://schemas.microsoft.com/office/drawing/2014/main" id="{19D9843C-7A39-4D84-A6D4-512DFF0DCBB8}"/>
                </a:ext>
              </a:extLst>
            </p:cNvPr>
            <p:cNvSpPr txBox="1"/>
            <p:nvPr/>
          </p:nvSpPr>
          <p:spPr>
            <a:xfrm>
              <a:off x="2143160" y="3158735"/>
              <a:ext cx="909020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prstClr val="black"/>
                  </a:solidFill>
                  <a:effectLst/>
                  <a:uLnTx/>
                  <a:uFillTx/>
                  <a:latin typeface="Calibri"/>
                  <a:ea typeface="+mn-ea"/>
                  <a:cs typeface="+mn-cs"/>
                </a:rPr>
                <a:t>We will drive growth by promoting </a:t>
              </a:r>
              <a:r>
                <a:rPr kumimoji="0" lang="en-US" altLang="en-US" sz="1800" b="1" i="0" u="none" strike="noStrike" kern="1200" cap="none" spc="0" normalizeH="0" baseline="0" noProof="0" dirty="0">
                  <a:ln>
                    <a:noFill/>
                  </a:ln>
                  <a:solidFill>
                    <a:prstClr val="black"/>
                  </a:solidFill>
                  <a:effectLst/>
                  <a:uLnTx/>
                  <a:uFillTx/>
                  <a:latin typeface="Calibri"/>
                  <a:ea typeface="+mn-ea"/>
                  <a:cs typeface="+mn-cs"/>
                </a:rPr>
                <a:t>standard products</a:t>
              </a:r>
              <a:r>
                <a:rPr kumimoji="0" lang="en-US" altLang="en-US" sz="1800" b="0" i="0" u="none" strike="noStrike" kern="1200" cap="none" spc="0" normalizeH="0" baseline="0" noProof="0" dirty="0">
                  <a:ln>
                    <a:noFill/>
                  </a:ln>
                  <a:solidFill>
                    <a:prstClr val="black"/>
                  </a:solidFill>
                  <a:effectLst/>
                  <a:uLnTx/>
                  <a:uFillTx/>
                  <a:latin typeface="Calibri"/>
                  <a:ea typeface="+mn-ea"/>
                  <a:cs typeface="+mn-cs"/>
                </a:rPr>
                <a:t> as our primary offering. Our deep engineering expertise is reserved as a </a:t>
              </a:r>
              <a:r>
                <a:rPr kumimoji="0" lang="en-US" altLang="en-US" sz="1800" b="1" i="0" u="none" strike="noStrike" kern="1200" cap="none" spc="0" normalizeH="0" baseline="0" noProof="0" dirty="0">
                  <a:ln>
                    <a:noFill/>
                  </a:ln>
                  <a:solidFill>
                    <a:prstClr val="black"/>
                  </a:solidFill>
                  <a:effectLst/>
                  <a:uLnTx/>
                  <a:uFillTx/>
                  <a:latin typeface="Calibri"/>
                  <a:ea typeface="+mn-ea"/>
                  <a:cs typeface="+mn-cs"/>
                </a:rPr>
                <a:t>premium service</a:t>
              </a:r>
              <a:r>
                <a:rPr kumimoji="0" lang="en-US" altLang="en-US" sz="1800" b="0" i="0" u="none" strike="noStrike" kern="1200" cap="none" spc="0" normalizeH="0" baseline="0" noProof="0" dirty="0">
                  <a:ln>
                    <a:noFill/>
                  </a:ln>
                  <a:solidFill>
                    <a:prstClr val="black"/>
                  </a:solidFill>
                  <a:effectLst/>
                  <a:uLnTx/>
                  <a:uFillTx/>
                  <a:latin typeface="Calibri"/>
                  <a:ea typeface="+mn-ea"/>
                  <a:cs typeface="+mn-cs"/>
                </a:rPr>
                <a:t>, creating a tiered value model.</a:t>
              </a:r>
            </a:p>
          </p:txBody>
        </p:sp>
      </p:grpSp>
      <p:grpSp>
        <p:nvGrpSpPr>
          <p:cNvPr id="33" name="Group 32">
            <a:extLst>
              <a:ext uri="{FF2B5EF4-FFF2-40B4-BE49-F238E27FC236}">
                <a16:creationId xmlns:a16="http://schemas.microsoft.com/office/drawing/2014/main" id="{0F1AF2AE-004C-4EA8-AA3B-E9A7CEB72F9D}"/>
              </a:ext>
            </a:extLst>
          </p:cNvPr>
          <p:cNvGrpSpPr/>
          <p:nvPr/>
        </p:nvGrpSpPr>
        <p:grpSpPr>
          <a:xfrm>
            <a:off x="2143160" y="4548275"/>
            <a:ext cx="9103873" cy="1169551"/>
            <a:chOff x="2143160" y="4431730"/>
            <a:chExt cx="9103873" cy="1169551"/>
          </a:xfrm>
        </p:grpSpPr>
        <p:sp>
          <p:nvSpPr>
            <p:cNvPr id="24" name="Rectangle 23">
              <a:extLst>
                <a:ext uri="{FF2B5EF4-FFF2-40B4-BE49-F238E27FC236}">
                  <a16:creationId xmlns:a16="http://schemas.microsoft.com/office/drawing/2014/main" id="{B66BC9E6-94A0-4B6E-A8BE-9C33DCEE8105}"/>
                </a:ext>
              </a:extLst>
            </p:cNvPr>
            <p:cNvSpPr/>
            <p:nvPr/>
          </p:nvSpPr>
          <p:spPr>
            <a:xfrm>
              <a:off x="2143160" y="4431730"/>
              <a:ext cx="3244414" cy="523220"/>
            </a:xfrm>
            <a:prstGeom prst="rect">
              <a:avLst/>
            </a:prstGeom>
            <a:noFill/>
            <a:ln>
              <a:noFill/>
            </a:ln>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a:ln w="0"/>
                  <a:solidFill>
                    <a:srgbClr val="1F497D"/>
                  </a:solidFill>
                  <a:effectLst>
                    <a:outerShdw blurRad="38100" dist="25400" dir="5400000" algn="ctr" rotWithShape="0">
                      <a:srgbClr val="6E747A">
                        <a:alpha val="43000"/>
                      </a:srgbClr>
                    </a:outerShdw>
                  </a:effectLst>
                  <a:uLnTx/>
                  <a:uFillTx/>
                  <a:latin typeface="Calibri"/>
                  <a:ea typeface="+mn-ea"/>
                  <a:cs typeface="+mn-cs"/>
                </a:rPr>
                <a:t>Creating Our Market</a:t>
              </a:r>
            </a:p>
          </p:txBody>
        </p:sp>
        <p:sp>
          <p:nvSpPr>
            <p:cNvPr id="30" name="TextBox 29">
              <a:extLst>
                <a:ext uri="{FF2B5EF4-FFF2-40B4-BE49-F238E27FC236}">
                  <a16:creationId xmlns:a16="http://schemas.microsoft.com/office/drawing/2014/main" id="{C8991D6B-00BD-4254-ABD3-B076A69CDA50}"/>
                </a:ext>
              </a:extLst>
            </p:cNvPr>
            <p:cNvSpPr txBox="1"/>
            <p:nvPr/>
          </p:nvSpPr>
          <p:spPr>
            <a:xfrm>
              <a:off x="2156832" y="4954950"/>
              <a:ext cx="9090201" cy="646331"/>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prstClr val="black"/>
                  </a:solidFill>
                  <a:effectLst/>
                  <a:uLnTx/>
                  <a:uFillTx/>
                  <a:latin typeface="Calibri"/>
                  <a:ea typeface="+mn-ea"/>
                  <a:cs typeface="+mn-cs"/>
                </a:rPr>
                <a:t>We are not just serving a market; we are </a:t>
              </a:r>
              <a:r>
                <a:rPr kumimoji="0" lang="en-US" altLang="en-US" sz="1800" b="1" i="0" u="none" strike="noStrike" kern="1200" cap="none" spc="0" normalizeH="0" baseline="0" noProof="0" dirty="0">
                  <a:ln>
                    <a:noFill/>
                  </a:ln>
                  <a:solidFill>
                    <a:prstClr val="black"/>
                  </a:solidFill>
                  <a:effectLst/>
                  <a:uLnTx/>
                  <a:uFillTx/>
                  <a:latin typeface="Calibri"/>
                  <a:ea typeface="+mn-ea"/>
                  <a:cs typeface="+mn-cs"/>
                </a:rPr>
                <a:t>defining it</a:t>
              </a:r>
              <a:r>
                <a:rPr kumimoji="0" lang="en-US" altLang="en-US" sz="1800" b="0" i="0" u="none" strike="noStrike" kern="1200" cap="none" spc="0" normalizeH="0" baseline="0" noProof="0" dirty="0">
                  <a:ln>
                    <a:noFill/>
                  </a:ln>
                  <a:solidFill>
                    <a:prstClr val="black"/>
                  </a:solidFill>
                  <a:effectLst/>
                  <a:uLnTx/>
                  <a:uFillTx/>
                  <a:latin typeface="Calibri"/>
                  <a:ea typeface="+mn-ea"/>
                  <a:cs typeface="+mn-cs"/>
                </a:rPr>
                <a:t>. By establishing the standard for </a:t>
              </a:r>
              <a:r>
                <a:rPr kumimoji="0" lang="en-US" altLang="en-US" sz="1800" b="1" i="0" u="none" strike="noStrike" kern="1200" cap="none" spc="0" normalizeH="0" baseline="0" noProof="0" dirty="0">
                  <a:ln>
                    <a:noFill/>
                  </a:ln>
                  <a:solidFill>
                    <a:srgbClr val="4F81BD"/>
                  </a:solidFill>
                  <a:effectLst/>
                  <a:uLnTx/>
                  <a:uFillTx/>
                  <a:latin typeface="Calibri"/>
                  <a:ea typeface="+mn-ea"/>
                  <a:cs typeface="+mn-cs"/>
                </a:rPr>
                <a:t>definitive purpose products</a:t>
              </a:r>
              <a:r>
                <a:rPr kumimoji="0" lang="en-US" altLang="en-US" sz="1800" b="0" i="0" u="none" strike="noStrike" kern="1200" cap="none" spc="0" normalizeH="0" baseline="0" noProof="0" dirty="0">
                  <a:ln>
                    <a:noFill/>
                  </a:ln>
                  <a:solidFill>
                    <a:prstClr val="black"/>
                  </a:solidFill>
                  <a:effectLst/>
                  <a:uLnTx/>
                  <a:uFillTx/>
                  <a:latin typeface="Calibri"/>
                  <a:ea typeface="+mn-ea"/>
                  <a:cs typeface="+mn-cs"/>
                </a:rPr>
                <a:t>, we create a niche that we are </a:t>
              </a:r>
              <a:r>
                <a:rPr kumimoji="0" lang="en-US" altLang="en-US" sz="1800" b="1" i="0" u="none" strike="noStrike" kern="1200" cap="none" spc="0" normalizeH="0" baseline="0" noProof="0" dirty="0">
                  <a:ln>
                    <a:noFill/>
                  </a:ln>
                  <a:solidFill>
                    <a:prstClr val="black"/>
                  </a:solidFill>
                  <a:effectLst/>
                  <a:uLnTx/>
                  <a:uFillTx/>
                  <a:latin typeface="Calibri"/>
                  <a:ea typeface="+mn-ea"/>
                  <a:cs typeface="+mn-cs"/>
                </a:rPr>
                <a:t>uniquely positioned to lead</a:t>
              </a:r>
              <a:r>
                <a:rPr kumimoji="0" lang="en-US" altLang="en-US" sz="1800" b="0" i="0" u="none" strike="noStrike" kern="1200" cap="none" spc="0" normalizeH="0" baseline="0" noProof="0" dirty="0">
                  <a:ln>
                    <a:noFill/>
                  </a:ln>
                  <a:solidFill>
                    <a:prstClr val="black"/>
                  </a:solidFill>
                  <a:effectLst/>
                  <a:uLnTx/>
                  <a:uFillTx/>
                  <a:latin typeface="Calibri"/>
                  <a:ea typeface="+mn-ea"/>
                  <a:cs typeface="+mn-cs"/>
                </a:rPr>
                <a:t>.</a:t>
              </a:r>
            </a:p>
          </p:txBody>
        </p:sp>
      </p:grpSp>
      <p:grpSp>
        <p:nvGrpSpPr>
          <p:cNvPr id="18" name="Group 1058">
            <a:extLst>
              <a:ext uri="{FF2B5EF4-FFF2-40B4-BE49-F238E27FC236}">
                <a16:creationId xmlns:a16="http://schemas.microsoft.com/office/drawing/2014/main" id="{26320F4E-751F-4E23-B332-9354A21A0132}"/>
              </a:ext>
            </a:extLst>
          </p:cNvPr>
          <p:cNvGrpSpPr>
            <a:grpSpLocks/>
          </p:cNvGrpSpPr>
          <p:nvPr/>
        </p:nvGrpSpPr>
        <p:grpSpPr bwMode="auto">
          <a:xfrm>
            <a:off x="-3785" y="6361835"/>
            <a:ext cx="12192000" cy="191367"/>
            <a:chOff x="0" y="-1"/>
            <a:chExt cx="5760" cy="144"/>
          </a:xfrm>
        </p:grpSpPr>
        <p:sp>
          <p:nvSpPr>
            <p:cNvPr id="20" name="Rectangle 1046">
              <a:extLst>
                <a:ext uri="{FF2B5EF4-FFF2-40B4-BE49-F238E27FC236}">
                  <a16:creationId xmlns:a16="http://schemas.microsoft.com/office/drawing/2014/main" id="{B88FAC2D-3C59-4246-AFDC-76EEE0AA1174}"/>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25" name="Picture 1042" descr="BD21318_">
              <a:extLst>
                <a:ext uri="{FF2B5EF4-FFF2-40B4-BE49-F238E27FC236}">
                  <a16:creationId xmlns:a16="http://schemas.microsoft.com/office/drawing/2014/main" id="{6F7D456B-5EDD-400F-9800-0D6B43CD1403}"/>
                </a:ext>
              </a:extLst>
            </p:cNvPr>
            <p:cNvPicPr>
              <a:picLocks noChangeArrowheads="1"/>
            </p:cNvPicPr>
            <p:nvPr userDrawn="1"/>
          </p:nvPicPr>
          <p:blipFill>
            <a:blip r:embed="rId10">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1058">
            <a:extLst>
              <a:ext uri="{FF2B5EF4-FFF2-40B4-BE49-F238E27FC236}">
                <a16:creationId xmlns:a16="http://schemas.microsoft.com/office/drawing/2014/main" id="{3F37500C-36DD-4039-969C-93FABF99B9C6}"/>
              </a:ext>
            </a:extLst>
          </p:cNvPr>
          <p:cNvGrpSpPr>
            <a:grpSpLocks/>
          </p:cNvGrpSpPr>
          <p:nvPr/>
        </p:nvGrpSpPr>
        <p:grpSpPr bwMode="auto">
          <a:xfrm>
            <a:off x="0" y="1"/>
            <a:ext cx="12192000" cy="191367"/>
            <a:chOff x="0" y="-1"/>
            <a:chExt cx="5760" cy="144"/>
          </a:xfrm>
        </p:grpSpPr>
        <p:sp>
          <p:nvSpPr>
            <p:cNvPr id="29" name="Rectangle 1046">
              <a:extLst>
                <a:ext uri="{FF2B5EF4-FFF2-40B4-BE49-F238E27FC236}">
                  <a16:creationId xmlns:a16="http://schemas.microsoft.com/office/drawing/2014/main" id="{59EE6B23-6E94-420A-9B8D-EB346A90000A}"/>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34" name="Picture 1042" descr="BD21318_">
              <a:extLst>
                <a:ext uri="{FF2B5EF4-FFF2-40B4-BE49-F238E27FC236}">
                  <a16:creationId xmlns:a16="http://schemas.microsoft.com/office/drawing/2014/main" id="{2E331A27-62BD-4844-BF43-37082D87D183}"/>
                </a:ext>
              </a:extLst>
            </p:cNvPr>
            <p:cNvPicPr>
              <a:picLocks noChangeArrowheads="1"/>
            </p:cNvPicPr>
            <p:nvPr userDrawn="1"/>
          </p:nvPicPr>
          <p:blipFill>
            <a:blip r:embed="rId10">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9784721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7FFE62-9850-E8E4-F50B-251081316F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588B58-6153-F1B8-4DB0-D1ACF93A24C7}"/>
              </a:ext>
            </a:extLst>
          </p:cNvPr>
          <p:cNvSpPr>
            <a:spLocks noGrp="1"/>
          </p:cNvSpPr>
          <p:nvPr>
            <p:ph type="title"/>
          </p:nvPr>
        </p:nvSpPr>
        <p:spPr>
          <a:xfrm>
            <a:off x="406400" y="274638"/>
            <a:ext cx="9347200" cy="868362"/>
          </a:xfrm>
        </p:spPr>
        <p:txBody>
          <a:bodyPr>
            <a:normAutofit/>
          </a:bodyPr>
          <a:lstStyle/>
          <a:p>
            <a:r>
              <a:rPr lang="en-US" sz="3600" i="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SD – </a:t>
            </a:r>
            <a:r>
              <a:rPr lang="en-US" sz="3600" dirty="0">
                <a:effectLst/>
                <a:latin typeface="Calibri" panose="020F0502020204030204" pitchFamily="34" charset="0"/>
                <a:ea typeface="Calibri" panose="020F0502020204030204" pitchFamily="34" charset="0"/>
                <a:cs typeface="Calibri" panose="020F0502020204030204" pitchFamily="34" charset="0"/>
              </a:rPr>
              <a:t>How We Win in Each Market</a:t>
            </a:r>
            <a:endParaRPr lang="en-US" sz="3600" i="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1">
            <a:extLst>
              <a:ext uri="{FF2B5EF4-FFF2-40B4-BE49-F238E27FC236}">
                <a16:creationId xmlns:a16="http://schemas.microsoft.com/office/drawing/2014/main" id="{F1073738-551E-FC8F-95A7-E43C69160158}"/>
              </a:ext>
            </a:extLst>
          </p:cNvPr>
          <p:cNvSpPr>
            <a:spLocks noGrp="1"/>
          </p:cNvSpPr>
          <p:nvPr>
            <p:ph type="sldNum" sz="quarter" idx="4"/>
          </p:nvPr>
        </p:nvSpPr>
        <p:spPr>
          <a:xfrm>
            <a:off x="11277600" y="6492875"/>
            <a:ext cx="812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US" sz="1000" b="1" i="1"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6" name="Picture 5" descr="A logo with a black background&#10;&#10;Description automatically generated">
            <a:extLst>
              <a:ext uri="{FF2B5EF4-FFF2-40B4-BE49-F238E27FC236}">
                <a16:creationId xmlns:a16="http://schemas.microsoft.com/office/drawing/2014/main" id="{09A0299A-EADB-5906-3E03-F9FC651011C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aphicFrame>
        <p:nvGraphicFramePr>
          <p:cNvPr id="3" name="Table 2">
            <a:extLst>
              <a:ext uri="{FF2B5EF4-FFF2-40B4-BE49-F238E27FC236}">
                <a16:creationId xmlns:a16="http://schemas.microsoft.com/office/drawing/2014/main" id="{23B054F1-D60E-4D09-B541-4C1042DDA274}"/>
              </a:ext>
            </a:extLst>
          </p:cNvPr>
          <p:cNvGraphicFramePr>
            <a:graphicFrameLocks noGrp="1"/>
          </p:cNvGraphicFramePr>
          <p:nvPr>
            <p:extLst>
              <p:ext uri="{D42A27DB-BD31-4B8C-83A1-F6EECF244321}">
                <p14:modId xmlns:p14="http://schemas.microsoft.com/office/powerpoint/2010/main" val="1741826324"/>
              </p:ext>
            </p:extLst>
          </p:nvPr>
        </p:nvGraphicFramePr>
        <p:xfrm>
          <a:off x="484094" y="1604917"/>
          <a:ext cx="11223812" cy="3719251"/>
        </p:xfrm>
        <a:graphic>
          <a:graphicData uri="http://schemas.openxmlformats.org/drawingml/2006/table">
            <a:tbl>
              <a:tblPr/>
              <a:tblGrid>
                <a:gridCol w="1828801">
                  <a:extLst>
                    <a:ext uri="{9D8B030D-6E8A-4147-A177-3AD203B41FA5}">
                      <a16:colId xmlns:a16="http://schemas.microsoft.com/office/drawing/2014/main" val="1007576083"/>
                    </a:ext>
                  </a:extLst>
                </a:gridCol>
                <a:gridCol w="2554941">
                  <a:extLst>
                    <a:ext uri="{9D8B030D-6E8A-4147-A177-3AD203B41FA5}">
                      <a16:colId xmlns:a16="http://schemas.microsoft.com/office/drawing/2014/main" val="3075644954"/>
                    </a:ext>
                  </a:extLst>
                </a:gridCol>
                <a:gridCol w="3083859">
                  <a:extLst>
                    <a:ext uri="{9D8B030D-6E8A-4147-A177-3AD203B41FA5}">
                      <a16:colId xmlns:a16="http://schemas.microsoft.com/office/drawing/2014/main" val="4055620509"/>
                    </a:ext>
                  </a:extLst>
                </a:gridCol>
                <a:gridCol w="3756211">
                  <a:extLst>
                    <a:ext uri="{9D8B030D-6E8A-4147-A177-3AD203B41FA5}">
                      <a16:colId xmlns:a16="http://schemas.microsoft.com/office/drawing/2014/main" val="3223821460"/>
                    </a:ext>
                  </a:extLst>
                </a:gridCol>
              </a:tblGrid>
              <a:tr h="447285">
                <a:tc>
                  <a:txBody>
                    <a:bodyPr/>
                    <a:lstStyle/>
                    <a:p>
                      <a:pPr algn="l" fontAlgn="t"/>
                      <a:r>
                        <a:rPr lang="en-US" b="1" u="sng" dirty="0">
                          <a:effectLst/>
                          <a:latin typeface="Calibri" panose="020F0502020204030204" pitchFamily="34" charset="0"/>
                          <a:ea typeface="Calibri" panose="020F0502020204030204" pitchFamily="34" charset="0"/>
                          <a:cs typeface="Calibri" panose="020F0502020204030204" pitchFamily="34" charset="0"/>
                        </a:rPr>
                        <a:t>Market Segment</a:t>
                      </a:r>
                      <a:endParaRPr lang="en-US" b="0" u="sng" dirty="0">
                        <a:effectLst/>
                        <a:latin typeface="Calibri" panose="020F0502020204030204" pitchFamily="34" charset="0"/>
                        <a:ea typeface="Calibri" panose="020F0502020204030204" pitchFamily="34" charset="0"/>
                        <a:cs typeface="Calibri" panose="020F0502020204030204" pitchFamily="34" charset="0"/>
                      </a:endParaRP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5F5F5"/>
                    </a:solidFill>
                  </a:tcPr>
                </a:tc>
                <a:tc>
                  <a:txBody>
                    <a:bodyPr/>
                    <a:lstStyle/>
                    <a:p>
                      <a:pPr algn="l" fontAlgn="t"/>
                      <a:r>
                        <a:rPr lang="en-US" b="1" u="sng" dirty="0">
                          <a:effectLst/>
                          <a:latin typeface="Calibri" panose="020F0502020204030204" pitchFamily="34" charset="0"/>
                          <a:ea typeface="Calibri" panose="020F0502020204030204" pitchFamily="34" charset="0"/>
                          <a:cs typeface="Calibri" panose="020F0502020204030204" pitchFamily="34" charset="0"/>
                        </a:rPr>
                        <a:t>Customer Needs</a:t>
                      </a:r>
                      <a:endParaRPr lang="en-US" b="0" u="sng" dirty="0">
                        <a:effectLst/>
                        <a:latin typeface="Calibri" panose="020F0502020204030204" pitchFamily="34" charset="0"/>
                        <a:ea typeface="Calibri" panose="020F0502020204030204" pitchFamily="34" charset="0"/>
                        <a:cs typeface="Calibri" panose="020F0502020204030204" pitchFamily="34" charset="0"/>
                      </a:endParaRP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5F5F5"/>
                    </a:solidFill>
                  </a:tcPr>
                </a:tc>
                <a:tc>
                  <a:txBody>
                    <a:bodyPr/>
                    <a:lstStyle/>
                    <a:p>
                      <a:pPr algn="l" fontAlgn="t"/>
                      <a:r>
                        <a:rPr lang="en-US" b="1" u="sng" dirty="0">
                          <a:effectLst/>
                          <a:latin typeface="Calibri" panose="020F0502020204030204" pitchFamily="34" charset="0"/>
                          <a:ea typeface="Calibri" panose="020F0502020204030204" pitchFamily="34" charset="0"/>
                          <a:cs typeface="Calibri" panose="020F0502020204030204" pitchFamily="34" charset="0"/>
                        </a:rPr>
                        <a:t>PSD Value Proposition</a:t>
                      </a:r>
                      <a:endParaRPr lang="en-US" b="0" u="sng" dirty="0">
                        <a:effectLst/>
                        <a:latin typeface="Calibri" panose="020F0502020204030204" pitchFamily="34" charset="0"/>
                        <a:ea typeface="Calibri" panose="020F0502020204030204" pitchFamily="34" charset="0"/>
                        <a:cs typeface="Calibri" panose="020F0502020204030204" pitchFamily="34" charset="0"/>
                      </a:endParaRP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5F5F5"/>
                    </a:solidFill>
                  </a:tcPr>
                </a:tc>
                <a:tc>
                  <a:txBody>
                    <a:bodyPr/>
                    <a:lstStyle/>
                    <a:p>
                      <a:pPr algn="l" fontAlgn="t"/>
                      <a:r>
                        <a:rPr lang="en-US" b="1" u="sng" dirty="0">
                          <a:effectLst/>
                          <a:latin typeface="Calibri" panose="020F0502020204030204" pitchFamily="34" charset="0"/>
                          <a:ea typeface="Calibri" panose="020F0502020204030204" pitchFamily="34" charset="0"/>
                          <a:cs typeface="Calibri" panose="020F0502020204030204" pitchFamily="34" charset="0"/>
                        </a:rPr>
                        <a:t>Strategic Actions</a:t>
                      </a:r>
                      <a:endParaRPr lang="en-US" b="0" u="sng" dirty="0">
                        <a:effectLst/>
                        <a:latin typeface="Calibri" panose="020F0502020204030204" pitchFamily="34" charset="0"/>
                        <a:ea typeface="Calibri" panose="020F0502020204030204" pitchFamily="34" charset="0"/>
                        <a:cs typeface="Calibri" panose="020F0502020204030204" pitchFamily="34" charset="0"/>
                      </a:endParaRP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5F5F5"/>
                    </a:solidFill>
                  </a:tcPr>
                </a:tc>
                <a:extLst>
                  <a:ext uri="{0D108BD9-81ED-4DB2-BD59-A6C34878D82A}">
                    <a16:rowId xmlns:a16="http://schemas.microsoft.com/office/drawing/2014/main" val="2771565010"/>
                  </a:ext>
                </a:extLst>
              </a:tr>
              <a:tr h="825263">
                <a:tc>
                  <a:txBody>
                    <a:bodyPr/>
                    <a:lstStyle/>
                    <a:p>
                      <a:pPr algn="l" fontAlgn="t"/>
                      <a:r>
                        <a:rPr lang="en-US" b="1" dirty="0">
                          <a:effectLst/>
                          <a:latin typeface="Calibri" panose="020F0502020204030204" pitchFamily="34" charset="0"/>
                          <a:ea typeface="Calibri" panose="020F0502020204030204" pitchFamily="34" charset="0"/>
                          <a:cs typeface="Calibri" panose="020F0502020204030204" pitchFamily="34" charset="0"/>
                        </a:rPr>
                        <a:t>Utilities</a:t>
                      </a:r>
                      <a:endParaRPr lang="en-US" b="0" dirty="0">
                        <a:effectLst/>
                        <a:latin typeface="Calibri" panose="020F0502020204030204" pitchFamily="34" charset="0"/>
                        <a:ea typeface="Calibri" panose="020F0502020204030204" pitchFamily="34" charset="0"/>
                        <a:cs typeface="Calibri" panose="020F0502020204030204" pitchFamily="34" charset="0"/>
                      </a:endParaRP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5F5F5"/>
                    </a:solidFill>
                  </a:tcPr>
                </a:tc>
                <a:tc>
                  <a:txBody>
                    <a:bodyPr/>
                    <a:lstStyle/>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Reliability, long lifecycle</a:t>
                      </a:r>
                    </a:p>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grid modernization</a:t>
                      </a:r>
                    </a:p>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Executive Relationships with suppliers</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Engineering depth</a:t>
                      </a:r>
                    </a:p>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New CO₂/O₂ &amp; Vacuum Products</a:t>
                      </a:r>
                    </a:p>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Lead time advantage vs. dead-tank breaker</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Expand blankets</a:t>
                      </a:r>
                    </a:p>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Promote definitive purpose equipment</a:t>
                      </a:r>
                    </a:p>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Develop tailored messaging for customers</a:t>
                      </a:r>
                    </a:p>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Own PSD customer relationships</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extLst>
                  <a:ext uri="{0D108BD9-81ED-4DB2-BD59-A6C34878D82A}">
                    <a16:rowId xmlns:a16="http://schemas.microsoft.com/office/drawing/2014/main" val="1139498514"/>
                  </a:ext>
                </a:extLst>
              </a:tr>
              <a:tr h="1035496">
                <a:tc>
                  <a:txBody>
                    <a:bodyPr/>
                    <a:lstStyle/>
                    <a:p>
                      <a:pPr algn="l" fontAlgn="t"/>
                      <a:r>
                        <a:rPr lang="en-US" b="1" dirty="0">
                          <a:effectLst/>
                          <a:latin typeface="Calibri" panose="020F0502020204030204" pitchFamily="34" charset="0"/>
                          <a:ea typeface="Calibri" panose="020F0502020204030204" pitchFamily="34" charset="0"/>
                          <a:cs typeface="Calibri" panose="020F0502020204030204" pitchFamily="34" charset="0"/>
                        </a:rPr>
                        <a:t>Renewables</a:t>
                      </a:r>
                      <a:endParaRPr lang="en-US" b="0" dirty="0">
                        <a:effectLst/>
                        <a:latin typeface="Calibri" panose="020F0502020204030204" pitchFamily="34" charset="0"/>
                        <a:ea typeface="Calibri" panose="020F0502020204030204" pitchFamily="34" charset="0"/>
                        <a:cs typeface="Calibri" panose="020F0502020204030204" pitchFamily="34" charset="0"/>
                      </a:endParaRP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5F5F5"/>
                    </a:solidFill>
                  </a:tcPr>
                </a:tc>
                <a:tc>
                  <a:txBody>
                    <a:bodyPr/>
                    <a:lstStyle/>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Fast deliver</a:t>
                      </a:r>
                    </a:p>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Standardization</a:t>
                      </a:r>
                    </a:p>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Lowest cost</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Short lead times</a:t>
                      </a:r>
                    </a:p>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Standard offerings</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Define standard offering to accelerate lead-times</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extLst>
                  <a:ext uri="{0D108BD9-81ED-4DB2-BD59-A6C34878D82A}">
                    <a16:rowId xmlns:a16="http://schemas.microsoft.com/office/drawing/2014/main" val="2873468168"/>
                  </a:ext>
                </a:extLst>
              </a:tr>
              <a:tr h="741391">
                <a:tc>
                  <a:txBody>
                    <a:bodyPr/>
                    <a:lstStyle/>
                    <a:p>
                      <a:pPr algn="l" fontAlgn="t"/>
                      <a:r>
                        <a:rPr lang="en-US" b="1" dirty="0">
                          <a:effectLst/>
                          <a:latin typeface="Calibri" panose="020F0502020204030204" pitchFamily="34" charset="0"/>
                          <a:ea typeface="Calibri" panose="020F0502020204030204" pitchFamily="34" charset="0"/>
                          <a:cs typeface="Calibri" panose="020F0502020204030204" pitchFamily="34" charset="0"/>
                        </a:rPr>
                        <a:t>OEMs/ C&amp;I</a:t>
                      </a:r>
                      <a:endParaRPr lang="en-US" b="0" dirty="0">
                        <a:effectLst/>
                        <a:latin typeface="Calibri" panose="020F0502020204030204" pitchFamily="34" charset="0"/>
                        <a:ea typeface="Calibri" panose="020F0502020204030204" pitchFamily="34" charset="0"/>
                        <a:cs typeface="Calibri" panose="020F0502020204030204" pitchFamily="34" charset="0"/>
                      </a:endParaRP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5F5F5"/>
                    </a:solidFill>
                  </a:tcPr>
                </a:tc>
                <a:tc>
                  <a:txBody>
                    <a:bodyPr/>
                    <a:lstStyle/>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Customization</a:t>
                      </a:r>
                    </a:p>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Engineering support</a:t>
                      </a:r>
                    </a:p>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Ship date precision</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Engineering depth</a:t>
                      </a:r>
                    </a:p>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Repeatable custom builds</a:t>
                      </a:r>
                    </a:p>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Renewed CSH offering</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Co-develop solutions</a:t>
                      </a:r>
                    </a:p>
                    <a:p>
                      <a:pPr marL="285750" indent="-285750" algn="l" fontAlgn="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Improve delivery schedule &amp; visibility</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extLst>
                  <a:ext uri="{0D108BD9-81ED-4DB2-BD59-A6C34878D82A}">
                    <a16:rowId xmlns:a16="http://schemas.microsoft.com/office/drawing/2014/main" val="313072367"/>
                  </a:ext>
                </a:extLst>
              </a:tr>
            </a:tbl>
          </a:graphicData>
        </a:graphic>
      </p:graphicFrame>
      <p:sp>
        <p:nvSpPr>
          <p:cNvPr id="5" name="TextBox 4">
            <a:extLst>
              <a:ext uri="{FF2B5EF4-FFF2-40B4-BE49-F238E27FC236}">
                <a16:creationId xmlns:a16="http://schemas.microsoft.com/office/drawing/2014/main" id="{0ACC1B36-85B1-E8C6-A874-3663C6C3EA4A}"/>
              </a:ext>
            </a:extLst>
          </p:cNvPr>
          <p:cNvSpPr txBox="1"/>
          <p:nvPr/>
        </p:nvSpPr>
        <p:spPr>
          <a:xfrm>
            <a:off x="419100" y="5786085"/>
            <a:ext cx="102659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PSD will meet each market focused on their priority of needs to win business.</a:t>
            </a:r>
          </a:p>
        </p:txBody>
      </p:sp>
    </p:spTree>
    <p:extLst>
      <p:ext uri="{BB962C8B-B14F-4D97-AF65-F5344CB8AC3E}">
        <p14:creationId xmlns:p14="http://schemas.microsoft.com/office/powerpoint/2010/main" val="14018081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000" i="0" dirty="0">
                <a:solidFill>
                  <a:schemeClr val="tx1"/>
                </a:solidFill>
                <a:latin typeface="Calibri" panose="020F0502020204030204" pitchFamily="34" charset="0"/>
                <a:ea typeface="Calibri" panose="020F0502020204030204" pitchFamily="34" charset="0"/>
                <a:cs typeface="Calibri" panose="020F0502020204030204" pitchFamily="34" charset="0"/>
              </a:rPr>
              <a:t>Power Switching Division Recent Intra-Group Collaborations</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8" y="1444752"/>
            <a:ext cx="11160252" cy="5201437"/>
          </a:xfrm>
        </p:spPr>
        <p:txBody>
          <a:bodyPr>
            <a:normAutofit/>
          </a:bodyPr>
          <a:lstStyle/>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High Voltage Solutions Kft located in Budapest, Hungary</a:t>
            </a: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Started working together in 2022 and signed a new two-year agreement thru 2027</a:t>
            </a:r>
          </a:p>
          <a:p>
            <a:pPr marL="1085850" lvl="2" indent="-342900">
              <a:lnSpc>
                <a:spcPct val="110000"/>
              </a:lnSpc>
              <a:spcBef>
                <a:spcPts val="0"/>
              </a:spcBef>
              <a:buClr>
                <a:srgbClr val="0070C0"/>
              </a:buClr>
              <a:buFont typeface="Calibri" panose="020F0502020204030204" pitchFamily="34" charset="0"/>
              <a:buChar char="­"/>
            </a:pPr>
            <a:r>
              <a:rPr lang="en-US" sz="180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145kV 40kA CO2/O2 Live Tank Circuit Breaker</a:t>
            </a:r>
          </a:p>
          <a:p>
            <a:pPr marL="1085850" lvl="2" indent="-342900">
              <a:lnSpc>
                <a:spcPct val="110000"/>
              </a:lnSpc>
              <a:spcBef>
                <a:spcPts val="0"/>
              </a:spcBef>
              <a:buClr>
                <a:srgbClr val="0070C0"/>
              </a:buClr>
              <a:buFont typeface="Calibri" panose="020F0502020204030204" pitchFamily="34" charset="0"/>
              <a:buChar char="­"/>
            </a:pPr>
            <a:r>
              <a:rPr lang="en-US" sz="180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3.5kJ Spring-Spring modular Mechanism </a:t>
            </a: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Future Considerations</a:t>
            </a:r>
          </a:p>
          <a:p>
            <a:pPr marL="1085850" lvl="2" indent="-342900">
              <a:lnSpc>
                <a:spcPct val="110000"/>
              </a:lnSpc>
              <a:spcBef>
                <a:spcPts val="0"/>
              </a:spcBef>
              <a:buClr>
                <a:srgbClr val="0070C0"/>
              </a:buClr>
              <a:buFont typeface="Calibri" panose="020F0502020204030204" pitchFamily="34" charset="0"/>
              <a:buChar char="­"/>
            </a:pPr>
            <a:r>
              <a:rPr lang="en-US" sz="180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145kV 63kA or 245kV 40kA CO2/O2 LTB</a:t>
            </a:r>
          </a:p>
          <a:p>
            <a:pPr marL="1085850" lvl="2" indent="-342900">
              <a:lnSpc>
                <a:spcPct val="110000"/>
              </a:lnSpc>
              <a:spcBef>
                <a:spcPts val="0"/>
              </a:spcBef>
              <a:buClr>
                <a:srgbClr val="0070C0"/>
              </a:buClr>
              <a:buFont typeface="Calibri" panose="020F0502020204030204" pitchFamily="34" charset="0"/>
              <a:buChar char="­"/>
            </a:pPr>
            <a:r>
              <a:rPr lang="en-US" sz="180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38kV CO2/O2 Cap Switcher 25kA Interrupter</a:t>
            </a:r>
          </a:p>
          <a:p>
            <a:pPr marL="1085850" lvl="2" indent="-342900">
              <a:lnSpc>
                <a:spcPct val="110000"/>
              </a:lnSpc>
              <a:spcBef>
                <a:spcPts val="0"/>
              </a:spcBef>
              <a:buClr>
                <a:srgbClr val="0070C0"/>
              </a:buClr>
              <a:buFont typeface="Calibri" panose="020F0502020204030204" pitchFamily="34" charset="0"/>
              <a:buChar char="­"/>
            </a:pPr>
            <a:r>
              <a:rPr lang="en-US" sz="180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4.6kJ modular Mechanism</a:t>
            </a:r>
          </a:p>
          <a:p>
            <a:pPr marL="1085850" lvl="2" indent="-342900">
              <a:lnSpc>
                <a:spcPct val="110000"/>
              </a:lnSpc>
              <a:spcBef>
                <a:spcPts val="0"/>
              </a:spcBef>
              <a:buClr>
                <a:srgbClr val="0070C0"/>
              </a:buClr>
              <a:buFont typeface="Calibri" panose="020F0502020204030204" pitchFamily="34" charset="0"/>
              <a:buChar char="­"/>
            </a:pPr>
            <a:r>
              <a:rPr lang="en-US" sz="180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0.2kJ 38kV O-CO Mechanism</a:t>
            </a: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Vanguard Electric, LLC</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Supply Chain</a:t>
            </a: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COELME/</a:t>
            </a:r>
            <a:r>
              <a:rPr lang="en-US" sz="2400" dirty="0" err="1">
                <a:solidFill>
                  <a:schemeClr val="tx1"/>
                </a:solidFill>
                <a:latin typeface="Calibri" panose="020F0502020204030204" pitchFamily="34" charset="0"/>
                <a:ea typeface="Calibri" panose="020F0502020204030204" pitchFamily="34" charset="0"/>
                <a:cs typeface="Calibri" panose="020F0502020204030204" pitchFamily="34" charset="0"/>
              </a:rPr>
              <a:t>egic</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72.5kV 31.5kA Vacuum Live Tank Circuit Breaker development</a:t>
            </a: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HVS &amp; Diram </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Initiated multi-national sales channel discussions for local Applications Engineering and technology licensing </a:t>
            </a: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2322730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4B9DE94-06FD-BA6E-27D9-D5411C1CAB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6" name="think-cell data - do not delete" hidden="1">
                        <a:extLst>
                          <a:ext uri="{FF2B5EF4-FFF2-40B4-BE49-F238E27FC236}">
                            <a16:creationId xmlns:a16="http://schemas.microsoft.com/office/drawing/2014/main" id="{74B9DE94-06FD-BA6E-27D9-D5411C1CAB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EFA49A-D6F0-94EB-2E4A-46AC510574DD}"/>
              </a:ext>
            </a:extLst>
          </p:cNvPr>
          <p:cNvSpPr>
            <a:spLocks noGrp="1"/>
          </p:cNvSpPr>
          <p:nvPr>
            <p:ph type="title"/>
          </p:nvPr>
        </p:nvSpPr>
        <p:spPr>
          <a:xfrm>
            <a:off x="518584" y="1869548"/>
            <a:ext cx="7711016" cy="2124075"/>
          </a:xfrm>
        </p:spPr>
        <p:txBody>
          <a:bodyPr vert="horz"/>
          <a:lstStyle/>
          <a:p>
            <a:r>
              <a:rPr lang="en-US" sz="4400" dirty="0">
                <a:latin typeface="Calibri" panose="020F0502020204030204" pitchFamily="34" charset="0"/>
                <a:cs typeface="Calibri" panose="020F0502020204030204" pitchFamily="34" charset="0"/>
              </a:rPr>
              <a:t>Distribution Automation Division</a:t>
            </a:r>
          </a:p>
        </p:txBody>
      </p:sp>
      <p:pic>
        <p:nvPicPr>
          <p:cNvPr id="5" name="Picture 4" descr="A logo with a black background&#10;&#10;Description automatically generated">
            <a:extLst>
              <a:ext uri="{FF2B5EF4-FFF2-40B4-BE49-F238E27FC236}">
                <a16:creationId xmlns:a16="http://schemas.microsoft.com/office/drawing/2014/main" id="{D3A6B119-F6CC-4047-805C-52E2D186234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92" y="228600"/>
            <a:ext cx="2197848" cy="928955"/>
          </a:xfrm>
          <a:prstGeom prst="rect">
            <a:avLst/>
          </a:prstGeom>
        </p:spPr>
      </p:pic>
      <p:pic>
        <p:nvPicPr>
          <p:cNvPr id="7" name="Picture Placeholder 22">
            <a:extLst>
              <a:ext uri="{FF2B5EF4-FFF2-40B4-BE49-F238E27FC236}">
                <a16:creationId xmlns:a16="http://schemas.microsoft.com/office/drawing/2014/main" id="{56A97FAB-D0F7-4C64-B7FE-1DED324BEDBD}"/>
              </a:ext>
            </a:extLst>
          </p:cNvPr>
          <p:cNvPicPr>
            <a:picLocks noGrp="1" noChangeAspect="1"/>
          </p:cNvPicPr>
          <p:nvPr>
            <p:ph type="pic" sz="quarter" idx="13"/>
          </p:nvPr>
        </p:nvPicPr>
        <p:blipFill rotWithShape="1">
          <a:blip r:embed="rId7" cstate="screen">
            <a:extLst>
              <a:ext uri="{28A0092B-C50C-407E-A947-70E740481C1C}">
                <a14:useLocalDpi xmlns:a14="http://schemas.microsoft.com/office/drawing/2010/main"/>
              </a:ext>
            </a:extLst>
          </a:blip>
          <a:srcRect/>
          <a:stretch/>
        </p:blipFill>
        <p:spPr>
          <a:xfrm>
            <a:off x="6343434" y="469142"/>
            <a:ext cx="5429466" cy="5427805"/>
          </a:xfrm>
          <a:prstGeom prst="rect">
            <a:avLst/>
          </a:prstGeom>
        </p:spPr>
      </p:pic>
      <p:pic>
        <p:nvPicPr>
          <p:cNvPr id="8" name="Picture 7">
            <a:extLst>
              <a:ext uri="{FF2B5EF4-FFF2-40B4-BE49-F238E27FC236}">
                <a16:creationId xmlns:a16="http://schemas.microsoft.com/office/drawing/2014/main" id="{8D649C5B-5CC3-49C2-81DD-2A4A145C109D}"/>
              </a:ext>
            </a:extLst>
          </p:cNvPr>
          <p:cNvPicPr>
            <a:picLocks noChangeAspect="1"/>
          </p:cNvPicPr>
          <p:nvPr/>
        </p:nvPicPr>
        <p:blipFill>
          <a:blip r:embed="rId8"/>
          <a:stretch>
            <a:fillRect/>
          </a:stretch>
        </p:blipFill>
        <p:spPr>
          <a:xfrm>
            <a:off x="213676" y="4846320"/>
            <a:ext cx="1783080" cy="1783080"/>
          </a:xfrm>
          <a:prstGeom prst="rect">
            <a:avLst/>
          </a:prstGeom>
        </p:spPr>
      </p:pic>
    </p:spTree>
    <p:extLst>
      <p:ext uri="{BB962C8B-B14F-4D97-AF65-F5344CB8AC3E}">
        <p14:creationId xmlns:p14="http://schemas.microsoft.com/office/powerpoint/2010/main" val="15488088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500" i="0" dirty="0">
                <a:solidFill>
                  <a:schemeClr val="tx1"/>
                </a:solidFill>
                <a:latin typeface="Calibri" panose="020F0502020204030204" pitchFamily="34" charset="0"/>
                <a:ea typeface="Calibri" panose="020F0502020204030204" pitchFamily="34" charset="0"/>
                <a:cs typeface="Calibri" panose="020F0502020204030204" pitchFamily="34" charset="0"/>
              </a:rPr>
              <a:t>Distribution Automation Division General Manager</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7" y="1444752"/>
            <a:ext cx="11293213" cy="4978738"/>
          </a:xfrm>
        </p:spPr>
        <p:txBody>
          <a:bodyPr>
            <a:normAutofit/>
          </a:bodyPr>
          <a:lstStyle/>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Hold a Bachelors Degree in Electrical Engineering</a:t>
            </a: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Focus on digital control systems</a:t>
            </a: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Spent 12 years of my career in the SCADA, OMS, DMS, ADMS, RTU sector</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Worked for Advanced Control Systems (ACS; Formerly owned by EFACEC, currently owned by INDRA)</a:t>
            </a: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Worked on projects in the US, Canada, and Central America for utilities, helping them automate their distribution grid</a:t>
            </a: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ACS’s Subject Matter Expert (SME) on automated fault restoration, integrated volt var control, SCADA</a:t>
            </a: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Co-developed and installed the distribution automation platform that GA Power put in service in 2010, and still use today</a:t>
            </a:r>
          </a:p>
          <a:p>
            <a:pPr marL="1085850" lvl="2" indent="-342900">
              <a:lnSpc>
                <a:spcPct val="110000"/>
              </a:lnSpc>
              <a:spcBef>
                <a:spcPts val="0"/>
              </a:spcBef>
              <a:buClr>
                <a:schemeClr val="accent1">
                  <a:lumMod val="75000"/>
                </a:schemeClr>
              </a:buClr>
              <a:buFont typeface="Calibri" panose="020F0502020204030204" pitchFamily="34" charset="0"/>
              <a:buChar char="‐"/>
            </a:pPr>
            <a:r>
              <a:rPr lang="en-US" sz="1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During Hurricane IRMA alone, this system helped GA Power avoid 82 million minutes of interruption/outage</a:t>
            </a:r>
          </a:p>
          <a:p>
            <a:pPr marL="342900" lvl="1" indent="-342900">
              <a:lnSpc>
                <a:spcPct val="11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Been with Southern States since 2018</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1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Solely focused on building the Distribution Automation business</a:t>
            </a: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123541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0FE503A4-A606-42FC-B4EB-1A58FBEF5738}"/>
              </a:ext>
            </a:extLst>
          </p:cNvPr>
          <p:cNvCxnSpPr>
            <a:cxnSpLocks/>
          </p:cNvCxnSpPr>
          <p:nvPr/>
        </p:nvCxnSpPr>
        <p:spPr>
          <a:xfrm>
            <a:off x="6058522" y="2401004"/>
            <a:ext cx="0" cy="26566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400" i="0" dirty="0">
                <a:effectLst/>
              </a:rPr>
              <a:t>Distribution Automation Division Management Team</a:t>
            </a:r>
            <a:endParaRPr lang="en-US" sz="3400" i="0" dirty="0">
              <a:effectLst/>
              <a:ea typeface="ＭＳ Ｐゴシック" pitchFamily="34" charset="-128"/>
              <a:cs typeface="Calibri"/>
            </a:endParaRPr>
          </a:p>
        </p:txBody>
      </p:sp>
      <p:pic>
        <p:nvPicPr>
          <p:cNvPr id="5" name="Picture 4" descr="A logo with a black background&#10;&#10;Description automatically generated">
            <a:extLst>
              <a:ext uri="{FF2B5EF4-FFF2-40B4-BE49-F238E27FC236}">
                <a16:creationId xmlns:a16="http://schemas.microsoft.com/office/drawing/2014/main" id="{BBD93E03-E1A9-4442-920C-FE128D61BB5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sp>
        <p:nvSpPr>
          <p:cNvPr id="8" name="_s1048">
            <a:extLst>
              <a:ext uri="{FF2B5EF4-FFF2-40B4-BE49-F238E27FC236}">
                <a16:creationId xmlns:a16="http://schemas.microsoft.com/office/drawing/2014/main" id="{D9195898-5299-4EF8-BA1B-10F685FBCF58}"/>
              </a:ext>
            </a:extLst>
          </p:cNvPr>
          <p:cNvSpPr>
            <a:spLocks noChangeArrowheads="1"/>
          </p:cNvSpPr>
          <p:nvPr/>
        </p:nvSpPr>
        <p:spPr bwMode="auto">
          <a:xfrm>
            <a:off x="5487022" y="1832277"/>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rgbClr val="000000"/>
                </a:solidFill>
                <a:effectLst/>
                <a:uLnTx/>
                <a:uFillTx/>
                <a:latin typeface="Arial"/>
                <a:ea typeface="ＭＳ Ｐゴシック"/>
                <a:cs typeface="+mn-cs"/>
              </a:rPr>
              <a:t>GM</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850" b="1" i="0" u="none" strike="noStrike" kern="1200" cap="none" spc="0" normalizeH="0" baseline="0" noProof="0" dirty="0">
                <a:ln>
                  <a:noFill/>
                </a:ln>
                <a:solidFill>
                  <a:srgbClr val="000000"/>
                </a:solidFill>
                <a:effectLst/>
                <a:uLnTx/>
                <a:uFillTx/>
                <a:latin typeface="Arial"/>
                <a:ea typeface="ＭＳ Ｐゴシック"/>
                <a:cs typeface="+mn-cs"/>
              </a:rPr>
              <a:t>Distribution</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850" b="1" i="0" u="none" strike="noStrike" kern="1200" cap="none" spc="0" normalizeH="0" baseline="0" noProof="0" dirty="0">
                <a:ln>
                  <a:noFill/>
                </a:ln>
                <a:solidFill>
                  <a:srgbClr val="000000"/>
                </a:solidFill>
                <a:effectLst/>
                <a:uLnTx/>
                <a:uFillTx/>
                <a:latin typeface="Arial"/>
                <a:ea typeface="ＭＳ Ｐゴシック"/>
                <a:cs typeface="+mn-cs"/>
              </a:rPr>
              <a:t>Automation Division</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rgbClr val="000000"/>
                </a:solidFill>
                <a:effectLst/>
                <a:uLnTx/>
                <a:uFillTx/>
                <a:latin typeface="Arial"/>
                <a:ea typeface="ＭＳ Ｐゴシック"/>
                <a:cs typeface="+mn-cs"/>
              </a:rPr>
              <a:t>Sam Mullinax</a:t>
            </a:r>
          </a:p>
        </p:txBody>
      </p:sp>
      <p:cxnSp>
        <p:nvCxnSpPr>
          <p:cNvPr id="25" name="Straight Connector 24">
            <a:extLst>
              <a:ext uri="{FF2B5EF4-FFF2-40B4-BE49-F238E27FC236}">
                <a16:creationId xmlns:a16="http://schemas.microsoft.com/office/drawing/2014/main" id="{A8D7D701-0665-40E5-899F-F2E392362F6F}"/>
              </a:ext>
            </a:extLst>
          </p:cNvPr>
          <p:cNvCxnSpPr>
            <a:cxnSpLocks/>
          </p:cNvCxnSpPr>
          <p:nvPr/>
        </p:nvCxnSpPr>
        <p:spPr>
          <a:xfrm>
            <a:off x="3999392" y="2666672"/>
            <a:ext cx="419321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0958FC6-5556-4A81-972E-1441B41B8A17}"/>
              </a:ext>
            </a:extLst>
          </p:cNvPr>
          <p:cNvCxnSpPr>
            <a:cxnSpLocks/>
          </p:cNvCxnSpPr>
          <p:nvPr/>
        </p:nvCxnSpPr>
        <p:spPr>
          <a:xfrm>
            <a:off x="3999392" y="2669669"/>
            <a:ext cx="0" cy="26566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85599C0E-9E5F-4A97-BFFD-F830E3059510}"/>
              </a:ext>
            </a:extLst>
          </p:cNvPr>
          <p:cNvCxnSpPr>
            <a:cxnSpLocks/>
          </p:cNvCxnSpPr>
          <p:nvPr/>
        </p:nvCxnSpPr>
        <p:spPr>
          <a:xfrm>
            <a:off x="8184793" y="2666672"/>
            <a:ext cx="0" cy="26566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_s1048">
            <a:extLst>
              <a:ext uri="{FF2B5EF4-FFF2-40B4-BE49-F238E27FC236}">
                <a16:creationId xmlns:a16="http://schemas.microsoft.com/office/drawing/2014/main" id="{D6E8CE56-0CD2-437C-9F9F-5848A19AD2BE}"/>
              </a:ext>
            </a:extLst>
          </p:cNvPr>
          <p:cNvSpPr>
            <a:spLocks noChangeArrowheads="1"/>
          </p:cNvSpPr>
          <p:nvPr/>
        </p:nvSpPr>
        <p:spPr bwMode="auto">
          <a:xfrm>
            <a:off x="3428117" y="2948940"/>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fr-FR" sz="900" b="1"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rgbClr val="000000"/>
                </a:solidFill>
                <a:effectLst/>
                <a:uLnTx/>
                <a:uFillTx/>
                <a:latin typeface="Arial"/>
                <a:ea typeface="ＭＳ Ｐゴシック"/>
                <a:cs typeface="+mn-cs"/>
              </a:rPr>
              <a:t> 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rgbClr val="000000"/>
                </a:solidFill>
                <a:effectLst/>
                <a:uLnTx/>
                <a:uFillTx/>
                <a:latin typeface="Arial"/>
                <a:ea typeface="ＭＳ Ｐゴシック"/>
                <a:cs typeface="+mn-cs"/>
              </a:rPr>
              <a:t>National Sales</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rgbClr val="000000"/>
                </a:solidFill>
                <a:effectLst/>
                <a:uLnTx/>
                <a:uFillTx/>
                <a:latin typeface="Arial"/>
                <a:ea typeface="ＭＳ Ｐゴシック"/>
                <a:cs typeface="+mn-cs"/>
              </a:rPr>
              <a:t>Chip Pinion</a:t>
            </a:r>
          </a:p>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fr-FR" sz="9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 name="_s1048">
            <a:extLst>
              <a:ext uri="{FF2B5EF4-FFF2-40B4-BE49-F238E27FC236}">
                <a16:creationId xmlns:a16="http://schemas.microsoft.com/office/drawing/2014/main" id="{5BA57635-A49F-4ED2-B5DC-C6ECDFF7B7A1}"/>
              </a:ext>
            </a:extLst>
          </p:cNvPr>
          <p:cNvSpPr>
            <a:spLocks noChangeArrowheads="1"/>
          </p:cNvSpPr>
          <p:nvPr/>
        </p:nvSpPr>
        <p:spPr bwMode="auto">
          <a:xfrm>
            <a:off x="7566394" y="2941930"/>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rgbClr val="000000"/>
                </a:solidFill>
                <a:effectLst/>
                <a:uLnTx/>
                <a:uFillTx/>
                <a:latin typeface="Arial"/>
                <a:ea typeface="ＭＳ Ｐゴシック"/>
                <a:cs typeface="+mn-cs"/>
              </a:rPr>
              <a:t> 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rgbClr val="000000"/>
                </a:solidFill>
                <a:effectLst/>
                <a:uLnTx/>
                <a:uFillTx/>
                <a:latin typeface="Arial"/>
                <a:ea typeface="ＭＳ Ｐゴシック"/>
                <a:cs typeface="+mn-cs"/>
              </a:rPr>
              <a:t>Engineering &amp;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rgbClr val="000000"/>
                </a:solidFill>
                <a:effectLst/>
                <a:uLnTx/>
                <a:uFillTx/>
                <a:latin typeface="Arial"/>
                <a:ea typeface="ＭＳ Ｐゴシック"/>
                <a:cs typeface="+mn-cs"/>
              </a:rPr>
              <a:t>Operations</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rgbClr val="000000"/>
                </a:solidFill>
                <a:effectLst/>
                <a:uLnTx/>
                <a:uFillTx/>
                <a:latin typeface="Arial"/>
                <a:ea typeface="ＭＳ Ｐゴシック"/>
                <a:cs typeface="+mn-cs"/>
              </a:rPr>
              <a:t>Ryun Kim</a:t>
            </a:r>
          </a:p>
        </p:txBody>
      </p:sp>
      <p:cxnSp>
        <p:nvCxnSpPr>
          <p:cNvPr id="11" name="Straight Connector 10">
            <a:extLst>
              <a:ext uri="{FF2B5EF4-FFF2-40B4-BE49-F238E27FC236}">
                <a16:creationId xmlns:a16="http://schemas.microsoft.com/office/drawing/2014/main" id="{AAACBCA9-E903-4080-B84A-B40F37195D71}"/>
              </a:ext>
            </a:extLst>
          </p:cNvPr>
          <p:cNvCxnSpPr>
            <a:cxnSpLocks/>
          </p:cNvCxnSpPr>
          <p:nvPr/>
        </p:nvCxnSpPr>
        <p:spPr>
          <a:xfrm>
            <a:off x="6058522" y="2666672"/>
            <a:ext cx="0" cy="34817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_s1048">
            <a:extLst>
              <a:ext uri="{FF2B5EF4-FFF2-40B4-BE49-F238E27FC236}">
                <a16:creationId xmlns:a16="http://schemas.microsoft.com/office/drawing/2014/main" id="{47AD63F4-52F6-4850-892C-0F71EAD0C9E8}"/>
              </a:ext>
            </a:extLst>
          </p:cNvPr>
          <p:cNvSpPr>
            <a:spLocks noChangeArrowheads="1"/>
          </p:cNvSpPr>
          <p:nvPr/>
        </p:nvSpPr>
        <p:spPr bwMode="auto">
          <a:xfrm>
            <a:off x="5492459" y="2941930"/>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rgbClr val="000000"/>
                </a:solidFill>
                <a:effectLst/>
                <a:uLnTx/>
                <a:uFillTx/>
                <a:latin typeface="Arial"/>
                <a:ea typeface="ＭＳ Ｐゴシック"/>
                <a:cs typeface="+mn-cs"/>
              </a:rPr>
              <a:t> 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rgbClr val="000000"/>
                </a:solidFill>
                <a:effectLst/>
                <a:uLnTx/>
                <a:uFillTx/>
                <a:latin typeface="Arial"/>
                <a:ea typeface="ＭＳ Ｐゴシック"/>
                <a:cs typeface="+mn-cs"/>
              </a:rPr>
              <a:t>Applications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rgbClr val="000000"/>
                </a:solidFill>
                <a:effectLst/>
                <a:uLnTx/>
                <a:uFillTx/>
                <a:latin typeface="Arial"/>
                <a:ea typeface="ＭＳ Ｐゴシック"/>
                <a:cs typeface="+mn-cs"/>
              </a:rPr>
              <a:t>Engineering</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err="1">
                <a:ln>
                  <a:noFill/>
                </a:ln>
                <a:solidFill>
                  <a:srgbClr val="000000"/>
                </a:solidFill>
                <a:effectLst/>
                <a:uLnTx/>
                <a:uFillTx/>
                <a:latin typeface="Arial"/>
                <a:ea typeface="ＭＳ Ｐゴシック"/>
                <a:cs typeface="+mn-cs"/>
              </a:rPr>
              <a:t>Shelcey</a:t>
            </a:r>
            <a:r>
              <a:rPr kumimoji="0" lang="fr-FR" sz="900" b="1" i="0" u="none" strike="noStrike" kern="1200" cap="none" spc="0" normalizeH="0" baseline="0" noProof="0" dirty="0">
                <a:ln>
                  <a:noFill/>
                </a:ln>
                <a:solidFill>
                  <a:srgbClr val="000000"/>
                </a:solidFill>
                <a:effectLst/>
                <a:uLnTx/>
                <a:uFillTx/>
                <a:latin typeface="Arial"/>
                <a:ea typeface="ＭＳ Ｐゴシック"/>
                <a:cs typeface="+mn-cs"/>
              </a:rPr>
              <a:t> </a:t>
            </a:r>
            <a:r>
              <a:rPr kumimoji="0" lang="fr-FR" sz="900" b="1" i="0" u="none" strike="noStrike" kern="1200" cap="none" spc="0" normalizeH="0" baseline="0" noProof="0" dirty="0" err="1">
                <a:ln>
                  <a:noFill/>
                </a:ln>
                <a:solidFill>
                  <a:srgbClr val="000000"/>
                </a:solidFill>
                <a:effectLst/>
                <a:uLnTx/>
                <a:uFillTx/>
                <a:latin typeface="Arial"/>
                <a:ea typeface="ＭＳ Ｐゴシック"/>
                <a:cs typeface="+mn-cs"/>
              </a:rPr>
              <a:t>Harp</a:t>
            </a:r>
            <a:endParaRPr kumimoji="0" lang="fr-FR" sz="900" b="1"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3817402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erson and person standing in front of a whiteboard&#10;&#10;Description automatically generated">
            <a:extLst>
              <a:ext uri="{FF2B5EF4-FFF2-40B4-BE49-F238E27FC236}">
                <a16:creationId xmlns:a16="http://schemas.microsoft.com/office/drawing/2014/main" id="{16564F04-5BCD-4A05-AD25-E2F2B3115A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0618" y="3471305"/>
            <a:ext cx="3074297" cy="3016997"/>
          </a:xfrm>
          <a:prstGeom prst="rect">
            <a:avLst/>
          </a:prstGeom>
        </p:spPr>
      </p:pic>
      <p:pic>
        <p:nvPicPr>
          <p:cNvPr id="3328008" name="Picture 3328007" descr="A person and person standing in a room&#10;&#10;Description automatically generated">
            <a:extLst>
              <a:ext uri="{FF2B5EF4-FFF2-40B4-BE49-F238E27FC236}">
                <a16:creationId xmlns:a16="http://schemas.microsoft.com/office/drawing/2014/main" id="{F63ACF91-000A-4597-B6A9-3D1B14F159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1758211" y="1664980"/>
            <a:ext cx="1830831" cy="1373401"/>
          </a:xfrm>
          <a:prstGeom prst="rect">
            <a:avLst/>
          </a:prstGeom>
        </p:spPr>
      </p:pic>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a:solidFill>
                  <a:schemeClr val="tx1"/>
                </a:solidFill>
                <a:latin typeface="Calibri" panose="020F0502020204030204" pitchFamily="34" charset="0"/>
                <a:ea typeface="Calibri" panose="020F0502020204030204" pitchFamily="34" charset="0"/>
                <a:cs typeface="Calibri" panose="020F0502020204030204" pitchFamily="34" charset="0"/>
              </a:rPr>
              <a:t>Awards and Recognition</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101600" y="1033692"/>
            <a:ext cx="5994400" cy="5336170"/>
          </a:xfrm>
        </p:spPr>
        <p:txBody>
          <a:bodyPr>
            <a:noAutofit/>
          </a:bodyPr>
          <a:lstStyle/>
          <a:p>
            <a:pPr marL="0" lvl="1" indent="0" algn="ctr">
              <a:lnSpc>
                <a:spcPct val="100000"/>
              </a:lnSpc>
              <a:spcBef>
                <a:spcPts val="0"/>
              </a:spcBef>
              <a:buClr>
                <a:schemeClr val="tx1"/>
              </a:buClr>
              <a:buSzPct val="80000"/>
              <a:buNone/>
            </a:pPr>
            <a:r>
              <a:rPr lang="en-US" b="1" u="sng" dirty="0">
                <a:solidFill>
                  <a:schemeClr val="tx1"/>
                </a:solidFill>
                <a:latin typeface="Calibri" panose="020F0502020204030204" pitchFamily="34" charset="0"/>
                <a:ea typeface="Calibri" panose="020F0502020204030204" pitchFamily="34" charset="0"/>
                <a:cs typeface="Calibri" panose="020F0502020204030204" pitchFamily="34" charset="0"/>
              </a:rPr>
              <a:t>Employee of the Month, Core Values Award</a:t>
            </a: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6">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6">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Content Placeholder 2">
            <a:extLst>
              <a:ext uri="{FF2B5EF4-FFF2-40B4-BE49-F238E27FC236}">
                <a16:creationId xmlns:a16="http://schemas.microsoft.com/office/drawing/2014/main" id="{280DE3C7-5244-4437-B868-DFD4765312FD}"/>
              </a:ext>
            </a:extLst>
          </p:cNvPr>
          <p:cNvSpPr txBox="1">
            <a:spLocks/>
          </p:cNvSpPr>
          <p:nvPr/>
        </p:nvSpPr>
        <p:spPr>
          <a:xfrm>
            <a:off x="6086554" y="1064204"/>
            <a:ext cx="5994400" cy="5336170"/>
          </a:xfrm>
          <a:prstGeom prst="rect">
            <a:avLst/>
          </a:prstGeom>
        </p:spPr>
        <p:txBody>
          <a:bodyPr vert="horz" lIns="0" tIns="45720" rIns="91440" bIns="45720" rtlCol="0">
            <a:noAutofit/>
          </a:bodyPr>
          <a:lstStyle>
            <a:lvl1pPr marL="342900" indent="-342900" algn="l" defTabSz="914400" rtl="0" eaLnBrk="1" latinLnBrk="0" hangingPunct="1">
              <a:lnSpc>
                <a:spcPct val="90000"/>
              </a:lnSpc>
              <a:spcBef>
                <a:spcPct val="20000"/>
              </a:spcBef>
              <a:buClr>
                <a:schemeClr val="accent1"/>
              </a:buClr>
              <a:buFont typeface="Wingdings" panose="05000000000000000000" pitchFamily="2" charset="2"/>
              <a:buChar char="Ø"/>
              <a:defRPr lang="en-US" sz="2200" b="1" kern="1200" spc="0" dirty="0">
                <a:solidFill>
                  <a:schemeClr val="tx1"/>
                </a:solidFill>
                <a:latin typeface="+mn-lt"/>
                <a:ea typeface="+mn-ea"/>
                <a:cs typeface="+mn-cs"/>
              </a:defRPr>
            </a:lvl1pPr>
            <a:lvl2pPr marL="742950" indent="-285750" algn="l" defTabSz="914400" rtl="0" eaLnBrk="1" latinLnBrk="0" hangingPunct="1">
              <a:lnSpc>
                <a:spcPct val="90000"/>
              </a:lnSpc>
              <a:spcBef>
                <a:spcPct val="20000"/>
              </a:spcBef>
              <a:buClr>
                <a:schemeClr val="accent1"/>
              </a:buClr>
              <a:buFont typeface="Wingdings" panose="05000000000000000000" pitchFamily="2" charset="2"/>
              <a:buChar char="§"/>
              <a:defRPr lang="en-US" sz="2200" b="0" kern="1200" spc="0" dirty="0">
                <a:solidFill>
                  <a:schemeClr val="accent2"/>
                </a:solidFill>
                <a:latin typeface="+mn-lt"/>
                <a:ea typeface="+mn-ea"/>
                <a:cs typeface="+mn-cs"/>
              </a:defRPr>
            </a:lvl2pPr>
            <a:lvl3pPr marL="1143000" indent="-228600" algn="l" defTabSz="914400" rtl="0" eaLnBrk="1" latinLnBrk="0" hangingPunct="1">
              <a:lnSpc>
                <a:spcPct val="90000"/>
              </a:lnSpc>
              <a:spcBef>
                <a:spcPct val="20000"/>
              </a:spcBef>
              <a:buClr>
                <a:schemeClr val="accent1"/>
              </a:buClr>
              <a:buFont typeface="Arial" panose="020B0604020202020204" pitchFamily="34" charset="0"/>
              <a:buChar char="•"/>
              <a:defRPr lang="en-US" sz="2200" b="0" kern="1200" spc="0" dirty="0">
                <a:solidFill>
                  <a:schemeClr val="tx2"/>
                </a:solidFill>
                <a:latin typeface="+mn-lt"/>
                <a:ea typeface="+mn-ea"/>
                <a:cs typeface="+mn-cs"/>
              </a:defRPr>
            </a:lvl3pPr>
            <a:lvl4pPr marL="731520" indent="-182880" algn="l" defTabSz="914400" rtl="0" eaLnBrk="1" latinLnBrk="0" hangingPunct="1">
              <a:lnSpc>
                <a:spcPct val="90000"/>
              </a:lnSpc>
              <a:spcBef>
                <a:spcPct val="20000"/>
              </a:spcBef>
              <a:buClr>
                <a:schemeClr val="accent1"/>
              </a:buClr>
              <a:buFont typeface="Courier New" panose="02070309020205020404" pitchFamily="49" charset="0"/>
              <a:buChar char="o"/>
              <a:defRPr lang="en-US" sz="2200" b="0" kern="1200" spc="0" dirty="0">
                <a:solidFill>
                  <a:schemeClr val="accent6"/>
                </a:solidFill>
                <a:latin typeface="+mn-lt"/>
                <a:ea typeface="+mn-ea"/>
                <a:cs typeface="+mn-cs"/>
              </a:defRPr>
            </a:lvl4pPr>
            <a:lvl5pPr marL="914400" indent="-182880" algn="l" defTabSz="914400" rtl="0" eaLnBrk="1" latinLnBrk="0" hangingPunct="1">
              <a:lnSpc>
                <a:spcPct val="90000"/>
              </a:lnSpc>
              <a:spcBef>
                <a:spcPct val="20000"/>
              </a:spcBef>
              <a:buClr>
                <a:schemeClr val="accent1"/>
              </a:buClr>
              <a:buFont typeface="DM Sans" pitchFamily="2" charset="0"/>
              <a:buChar char="◊"/>
              <a:defRPr lang="en-US" sz="2200" b="0" kern="1200" spc="0" dirty="0">
                <a:solidFill>
                  <a:srgbClr val="00B0F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lnSpc>
                <a:spcPct val="100000"/>
              </a:lnSpc>
              <a:spcBef>
                <a:spcPts val="0"/>
              </a:spcBef>
              <a:buClr>
                <a:schemeClr val="tx1"/>
              </a:buClr>
              <a:buSzPct val="80000"/>
              <a:buFont typeface="Wingdings" panose="05000000000000000000" pitchFamily="2" charset="2"/>
              <a:buNone/>
            </a:pPr>
            <a:r>
              <a:rPr lang="en-US" b="1" u="sng" dirty="0">
                <a:solidFill>
                  <a:schemeClr val="tx1"/>
                </a:solidFill>
                <a:latin typeface="Calibri" panose="020F0502020204030204" pitchFamily="34" charset="0"/>
                <a:ea typeface="Calibri" panose="020F0502020204030204" pitchFamily="34" charset="0"/>
                <a:cs typeface="Calibri" panose="020F0502020204030204" pitchFamily="34" charset="0"/>
              </a:rPr>
              <a:t>Annual Presidents Award</a:t>
            </a:r>
          </a:p>
        </p:txBody>
      </p:sp>
      <p:pic>
        <p:nvPicPr>
          <p:cNvPr id="15" name="Picture 14" descr="A group of men posing for a photo&#10;&#10;Description automatically generated">
            <a:extLst>
              <a:ext uri="{FF2B5EF4-FFF2-40B4-BE49-F238E27FC236}">
                <a16:creationId xmlns:a16="http://schemas.microsoft.com/office/drawing/2014/main" id="{430F228B-61A1-49AB-9789-64B63243C44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53687" y="1491862"/>
            <a:ext cx="3540466" cy="2360310"/>
          </a:xfrm>
          <a:prstGeom prst="rect">
            <a:avLst/>
          </a:prstGeom>
        </p:spPr>
      </p:pic>
      <p:pic>
        <p:nvPicPr>
          <p:cNvPr id="17" name="Picture 16" descr="Two men shaking hands in a room&#10;&#10;Description automatically generated">
            <a:extLst>
              <a:ext uri="{FF2B5EF4-FFF2-40B4-BE49-F238E27FC236}">
                <a16:creationId xmlns:a16="http://schemas.microsoft.com/office/drawing/2014/main" id="{FB6694BC-7314-4BE0-9A61-213B200EEE6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5400000">
            <a:off x="9032584" y="1915224"/>
            <a:ext cx="3611073" cy="2707758"/>
          </a:xfrm>
          <a:prstGeom prst="rect">
            <a:avLst/>
          </a:prstGeom>
        </p:spPr>
      </p:pic>
      <p:pic>
        <p:nvPicPr>
          <p:cNvPr id="19" name="Picture 18" descr="A group of people posing for a photo&#10;&#10;Description automatically generated">
            <a:extLst>
              <a:ext uri="{FF2B5EF4-FFF2-40B4-BE49-F238E27FC236}">
                <a16:creationId xmlns:a16="http://schemas.microsoft.com/office/drawing/2014/main" id="{D5694035-6A12-4F18-B357-BE347AE3DAC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133366" y="4330824"/>
            <a:ext cx="3138999" cy="2092666"/>
          </a:xfrm>
          <a:prstGeom prst="rect">
            <a:avLst/>
          </a:prstGeom>
        </p:spPr>
      </p:pic>
      <p:pic>
        <p:nvPicPr>
          <p:cNvPr id="21" name="Picture 20" descr="A person holding a certificate&#10;&#10;Description automatically generated">
            <a:extLst>
              <a:ext uri="{FF2B5EF4-FFF2-40B4-BE49-F238E27FC236}">
                <a16:creationId xmlns:a16="http://schemas.microsoft.com/office/drawing/2014/main" id="{0B601A0D-A878-4E73-89E4-6D954A397BA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6200000">
            <a:off x="-309113" y="4756119"/>
            <a:ext cx="2004100" cy="1336066"/>
          </a:xfrm>
          <a:prstGeom prst="rect">
            <a:avLst/>
          </a:prstGeom>
        </p:spPr>
      </p:pic>
      <p:pic>
        <p:nvPicPr>
          <p:cNvPr id="23" name="Picture 22" descr="A person holding a trophy&#10;&#10;Description automatically generated">
            <a:extLst>
              <a:ext uri="{FF2B5EF4-FFF2-40B4-BE49-F238E27FC236}">
                <a16:creationId xmlns:a16="http://schemas.microsoft.com/office/drawing/2014/main" id="{99C2F857-D91D-4BB8-BE1E-F55EEC2E0FE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853498" y="1433912"/>
            <a:ext cx="2714510" cy="1809673"/>
          </a:xfrm>
          <a:prstGeom prst="rect">
            <a:avLst/>
          </a:prstGeom>
        </p:spPr>
      </p:pic>
      <p:pic>
        <p:nvPicPr>
          <p:cNvPr id="25" name="Picture 24" descr="A group of people standing together&#10;&#10;Description automatically generated">
            <a:extLst>
              <a:ext uri="{FF2B5EF4-FFF2-40B4-BE49-F238E27FC236}">
                <a16:creationId xmlns:a16="http://schemas.microsoft.com/office/drawing/2014/main" id="{BC179A78-736F-4960-B3AE-6B5DCEE6D92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5400000">
            <a:off x="3084629" y="1648121"/>
            <a:ext cx="1680653" cy="1260235"/>
          </a:xfrm>
          <a:prstGeom prst="rect">
            <a:avLst/>
          </a:prstGeom>
        </p:spPr>
      </p:pic>
      <p:pic>
        <p:nvPicPr>
          <p:cNvPr id="27" name="Picture 26" descr="A group of people standing in a room&#10;&#10;Description automatically generated">
            <a:extLst>
              <a:ext uri="{FF2B5EF4-FFF2-40B4-BE49-F238E27FC236}">
                <a16:creationId xmlns:a16="http://schemas.microsoft.com/office/drawing/2014/main" id="{D5C09E8C-37DF-4B4A-9983-94F63A75415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672" y="1436957"/>
            <a:ext cx="2000441" cy="1333627"/>
          </a:xfrm>
          <a:prstGeom prst="rect">
            <a:avLst/>
          </a:prstGeom>
        </p:spPr>
      </p:pic>
      <p:pic>
        <p:nvPicPr>
          <p:cNvPr id="31" name="Picture 30" descr="A group of people standing in front of a bulletin board&#10;&#10;Description automatically generated">
            <a:extLst>
              <a:ext uri="{FF2B5EF4-FFF2-40B4-BE49-F238E27FC236}">
                <a16:creationId xmlns:a16="http://schemas.microsoft.com/office/drawing/2014/main" id="{6243AE2C-0AE1-45E1-ABB6-2F0C052A159C}"/>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360969" y="4432078"/>
            <a:ext cx="3039167" cy="2026112"/>
          </a:xfrm>
          <a:prstGeom prst="rect">
            <a:avLst/>
          </a:prstGeom>
        </p:spPr>
      </p:pic>
      <p:pic>
        <p:nvPicPr>
          <p:cNvPr id="3328004" name="Picture 3328003" descr="A person holding a trophy and standing next to a person&#10;&#10;Description automatically generated">
            <a:extLst>
              <a:ext uri="{FF2B5EF4-FFF2-40B4-BE49-F238E27FC236}">
                <a16:creationId xmlns:a16="http://schemas.microsoft.com/office/drawing/2014/main" id="{430B8DC9-E852-4F9C-8658-57BCA7B6802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557085" y="3023798"/>
            <a:ext cx="2149663" cy="1430218"/>
          </a:xfrm>
          <a:prstGeom prst="rect">
            <a:avLst/>
          </a:prstGeom>
        </p:spPr>
      </p:pic>
      <p:pic>
        <p:nvPicPr>
          <p:cNvPr id="3328006" name="Picture 3328005" descr="A group of people standing together&#10;&#10;Description automatically generated">
            <a:extLst>
              <a:ext uri="{FF2B5EF4-FFF2-40B4-BE49-F238E27FC236}">
                <a16:creationId xmlns:a16="http://schemas.microsoft.com/office/drawing/2014/main" id="{AF2A2478-D341-4C82-8958-D8D6C0672A16}"/>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2277" y="2730751"/>
            <a:ext cx="2564171" cy="1709447"/>
          </a:xfrm>
          <a:prstGeom prst="rect">
            <a:avLst/>
          </a:prstGeom>
        </p:spPr>
      </p:pic>
      <p:pic>
        <p:nvPicPr>
          <p:cNvPr id="3328001" name="Picture 3328000" descr="A person holding a certificate&#10;&#10;Description automatically generated">
            <a:extLst>
              <a:ext uri="{FF2B5EF4-FFF2-40B4-BE49-F238E27FC236}">
                <a16:creationId xmlns:a16="http://schemas.microsoft.com/office/drawing/2014/main" id="{8AF41908-46DC-4366-A14A-C83F1448617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146321" y="3122592"/>
            <a:ext cx="2414297" cy="3297059"/>
          </a:xfrm>
          <a:prstGeom prst="rect">
            <a:avLst/>
          </a:prstGeom>
        </p:spPr>
      </p:pic>
    </p:spTree>
    <p:extLst>
      <p:ext uri="{BB962C8B-B14F-4D97-AF65-F5344CB8AC3E}">
        <p14:creationId xmlns:p14="http://schemas.microsoft.com/office/powerpoint/2010/main" val="27461937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a:solidFill>
                  <a:schemeClr val="tx1"/>
                </a:solidFill>
                <a:latin typeface="Calibri" panose="020F0502020204030204" pitchFamily="34" charset="0"/>
                <a:ea typeface="Calibri" panose="020F0502020204030204" pitchFamily="34" charset="0"/>
                <a:cs typeface="Calibri" panose="020F0502020204030204" pitchFamily="34" charset="0"/>
              </a:rPr>
              <a:t>Distribution Automation Division Product Focus </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0</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8" y="1444752"/>
            <a:ext cx="11160252" cy="4978738"/>
          </a:xfrm>
        </p:spPr>
        <p:txBody>
          <a:bodyPr>
            <a:normAutofit/>
          </a:bodyPr>
          <a:lstStyle/>
          <a:p>
            <a:pPr marL="342900" lvl="1" indent="-342900">
              <a:lnSpc>
                <a:spcPct val="10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Provide solutions to distribution utilities in the US and Canada to help them </a:t>
            </a:r>
            <a:r>
              <a:rPr lang="en-US" sz="2400" b="1" u="sng" dirty="0">
                <a:solidFill>
                  <a:schemeClr val="tx1"/>
                </a:solidFill>
                <a:latin typeface="Calibri" panose="020F0502020204030204" pitchFamily="34" charset="0"/>
                <a:ea typeface="Calibri" panose="020F0502020204030204" pitchFamily="34" charset="0"/>
                <a:cs typeface="Calibri" panose="020F0502020204030204" pitchFamily="34" charset="0"/>
              </a:rPr>
              <a:t>automate their system</a:t>
            </a: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 in order to </a:t>
            </a:r>
            <a:r>
              <a:rPr lang="en-US" sz="2400" b="1" u="sng" dirty="0">
                <a:solidFill>
                  <a:schemeClr val="tx1"/>
                </a:solidFill>
                <a:latin typeface="Calibri" panose="020F0502020204030204" pitchFamily="34" charset="0"/>
                <a:ea typeface="Calibri" panose="020F0502020204030204" pitchFamily="34" charset="0"/>
                <a:cs typeface="Calibri" panose="020F0502020204030204" pitchFamily="34" charset="0"/>
              </a:rPr>
              <a:t>improve reliability</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342900" lvl="1" indent="-342900">
              <a:lnSpc>
                <a:spcPct val="10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cs typeface="Calibri" panose="020F0502020204030204" pitchFamily="34" charset="0"/>
              </a:rPr>
              <a:t>Our current solutions:</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3 Phase Reclosers</a:t>
            </a:r>
          </a:p>
          <a:p>
            <a:pPr marL="1085850" lvl="2" indent="-342900">
              <a:lnSpc>
                <a:spcPct val="100000"/>
              </a:lnSpc>
              <a:spcBef>
                <a:spcPts val="0"/>
              </a:spcBef>
              <a:buClr>
                <a:schemeClr val="accent1">
                  <a:lumMod val="75000"/>
                </a:schemeClr>
              </a:buClr>
              <a:buFont typeface="Calibri" panose="020F0502020204030204" pitchFamily="34" charset="0"/>
              <a:buChar char="‐"/>
            </a:pPr>
            <a:r>
              <a:rPr lang="en-US" sz="1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15.5kV – 38kV</a:t>
            </a:r>
          </a:p>
          <a:p>
            <a:pPr marL="1085850" lvl="2" indent="-342900">
              <a:lnSpc>
                <a:spcPct val="100000"/>
              </a:lnSpc>
              <a:spcBef>
                <a:spcPts val="0"/>
              </a:spcBef>
              <a:buClr>
                <a:schemeClr val="accent1">
                  <a:lumMod val="75000"/>
                </a:schemeClr>
              </a:buClr>
              <a:buFont typeface="Calibri" panose="020F0502020204030204" pitchFamily="34" charset="0"/>
              <a:buChar char="‐"/>
            </a:pPr>
            <a:r>
              <a:rPr lang="en-US" sz="1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Ganged and Triple Single</a:t>
            </a:r>
          </a:p>
          <a:p>
            <a:pPr marL="1085850" lvl="2" indent="-342900">
              <a:lnSpc>
                <a:spcPct val="100000"/>
              </a:lnSpc>
              <a:spcBef>
                <a:spcPts val="0"/>
              </a:spcBef>
              <a:buClr>
                <a:schemeClr val="accent1">
                  <a:lumMod val="75000"/>
                </a:schemeClr>
              </a:buClr>
              <a:buFont typeface="Calibri" panose="020F0502020204030204" pitchFamily="34" charset="0"/>
              <a:buChar char="‐"/>
            </a:pPr>
            <a:r>
              <a:rPr lang="en-US" sz="1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Substation mount for breaker applications</a:t>
            </a:r>
          </a:p>
          <a:p>
            <a:pPr marL="1085850" lvl="2" indent="-342900">
              <a:lnSpc>
                <a:spcPct val="100000"/>
              </a:lnSpc>
              <a:spcBef>
                <a:spcPts val="0"/>
              </a:spcBef>
              <a:buClr>
                <a:schemeClr val="accent1">
                  <a:lumMod val="75000"/>
                </a:schemeClr>
              </a:buClr>
              <a:buFont typeface="Calibri" panose="020F0502020204030204" pitchFamily="34" charset="0"/>
              <a:buChar char="‐"/>
            </a:pPr>
            <a:r>
              <a:rPr lang="en-US" sz="1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Pole top and pad-mounted</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cs typeface="Calibri" panose="020F0502020204030204" pitchFamily="34" charset="0"/>
              </a:rPr>
              <a:t>Single Phase Reclosers</a:t>
            </a:r>
          </a:p>
          <a:p>
            <a:pPr marL="1085850" lvl="2" indent="-342900">
              <a:lnSpc>
                <a:spcPct val="100000"/>
              </a:lnSpc>
              <a:spcBef>
                <a:spcPts val="0"/>
              </a:spcBef>
              <a:buClr>
                <a:srgbClr val="0070C0"/>
              </a:buClr>
              <a:buFont typeface="Calibri" panose="020F0502020204030204" pitchFamily="34" charset="0"/>
              <a:buChar char="­"/>
            </a:pPr>
            <a:r>
              <a:rPr lang="en-US" sz="1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SEL Controlled</a:t>
            </a:r>
          </a:p>
          <a:p>
            <a:pPr marL="1085850" lvl="2" indent="-342900">
              <a:lnSpc>
                <a:spcPct val="100000"/>
              </a:lnSpc>
              <a:spcBef>
                <a:spcPts val="0"/>
              </a:spcBef>
              <a:buClr>
                <a:srgbClr val="0070C0"/>
              </a:buClr>
              <a:buFont typeface="Calibri" panose="020F0502020204030204" pitchFamily="34" charset="0"/>
              <a:buChar char="­"/>
            </a:pPr>
            <a:r>
              <a:rPr lang="en-US" sz="1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Cutout Mounted self contained</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cs typeface="Calibri" panose="020F0502020204030204" pitchFamily="34" charset="0"/>
              </a:rPr>
              <a:t>Automated Fault Restoration</a:t>
            </a:r>
          </a:p>
          <a:p>
            <a:pPr marL="1085850" lvl="2" indent="-342900">
              <a:lnSpc>
                <a:spcPct val="100000"/>
              </a:lnSpc>
              <a:spcBef>
                <a:spcPts val="0"/>
              </a:spcBef>
              <a:buClr>
                <a:schemeClr val="accent1">
                  <a:lumMod val="75000"/>
                </a:schemeClr>
              </a:buClr>
              <a:buFont typeface="Calibri" panose="020F0502020204030204" pitchFamily="34" charset="0"/>
              <a:buChar char="‐"/>
            </a:pPr>
            <a:r>
              <a:rPr lang="en-US" sz="1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DFDIR</a:t>
            </a:r>
          </a:p>
          <a:p>
            <a:pPr marL="342900" lvl="1" indent="-342900">
              <a:lnSpc>
                <a:spcPct val="10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Upcoming solutions</a:t>
            </a:r>
          </a:p>
          <a:p>
            <a:pPr marL="685800" lvl="1" indent="-342900">
              <a:lnSpc>
                <a:spcPct val="100000"/>
              </a:lnSpc>
              <a:spcBef>
                <a:spcPts val="0"/>
              </a:spcBef>
              <a:buClr>
                <a:srgbClr val="A20000"/>
              </a:buClr>
              <a:buSzPct val="80000"/>
              <a:buFont typeface="Arial" panose="020B0604020202020204" pitchFamily="34" charset="0"/>
              <a:buChar char="•"/>
            </a:pPr>
            <a:r>
              <a:rPr lang="en-US" sz="1800" dirty="0">
                <a:solidFill>
                  <a:srgbClr val="A20000"/>
                </a:solidFill>
                <a:latin typeface="Calibri" panose="020F0502020204030204" pitchFamily="34" charset="0"/>
                <a:cs typeface="Calibri" panose="020F0502020204030204" pitchFamily="34" charset="0"/>
              </a:rPr>
              <a:t>Safe Close</a:t>
            </a:r>
          </a:p>
          <a:p>
            <a:pPr marL="685800" lvl="1" indent="-342900">
              <a:lnSpc>
                <a:spcPct val="100000"/>
              </a:lnSpc>
              <a:spcBef>
                <a:spcPts val="0"/>
              </a:spcBef>
              <a:buClr>
                <a:srgbClr val="A20000"/>
              </a:buClr>
              <a:buSzPct val="80000"/>
              <a:buFont typeface="Arial" panose="020B0604020202020204" pitchFamily="34" charset="0"/>
              <a:buChar char="•"/>
            </a:pPr>
            <a:r>
              <a:rPr lang="en-US" sz="1800" dirty="0">
                <a:solidFill>
                  <a:srgbClr val="A20000"/>
                </a:solidFill>
                <a:latin typeface="Calibri" panose="020F0502020204030204" pitchFamily="34" charset="0"/>
                <a:cs typeface="Calibri" panose="020F0502020204030204" pitchFamily="34" charset="0"/>
              </a:rPr>
              <a:t>Test Buddy</a:t>
            </a: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3" name="Picture 12">
            <a:extLst>
              <a:ext uri="{FF2B5EF4-FFF2-40B4-BE49-F238E27FC236}">
                <a16:creationId xmlns:a16="http://schemas.microsoft.com/office/drawing/2014/main" id="{8164DEFE-C83C-47CA-A992-D093C93B6108}"/>
              </a:ext>
            </a:extLst>
          </p:cNvPr>
          <p:cNvPicPr>
            <a:picLocks noChangeAspect="1"/>
          </p:cNvPicPr>
          <p:nvPr/>
        </p:nvPicPr>
        <p:blipFill>
          <a:blip r:embed="rId5"/>
          <a:stretch>
            <a:fillRect/>
          </a:stretch>
        </p:blipFill>
        <p:spPr>
          <a:xfrm>
            <a:off x="9386596" y="1903036"/>
            <a:ext cx="2452056" cy="2057094"/>
          </a:xfrm>
          <a:prstGeom prst="rect">
            <a:avLst/>
          </a:prstGeom>
        </p:spPr>
      </p:pic>
      <p:pic>
        <p:nvPicPr>
          <p:cNvPr id="12" name="Picture 11">
            <a:extLst>
              <a:ext uri="{FF2B5EF4-FFF2-40B4-BE49-F238E27FC236}">
                <a16:creationId xmlns:a16="http://schemas.microsoft.com/office/drawing/2014/main" id="{A674C3F6-EC07-4D5A-AE36-0AFE43FC1D9A}"/>
              </a:ext>
            </a:extLst>
          </p:cNvPr>
          <p:cNvPicPr>
            <a:picLocks noChangeAspect="1"/>
          </p:cNvPicPr>
          <p:nvPr/>
        </p:nvPicPr>
        <p:blipFill>
          <a:blip r:embed="rId6"/>
          <a:stretch>
            <a:fillRect/>
          </a:stretch>
        </p:blipFill>
        <p:spPr>
          <a:xfrm>
            <a:off x="6619382" y="3979923"/>
            <a:ext cx="4379468" cy="2443567"/>
          </a:xfrm>
          <a:prstGeom prst="rect">
            <a:avLst/>
          </a:prstGeom>
        </p:spPr>
      </p:pic>
      <p:pic>
        <p:nvPicPr>
          <p:cNvPr id="14" name="Picture 13">
            <a:extLst>
              <a:ext uri="{FF2B5EF4-FFF2-40B4-BE49-F238E27FC236}">
                <a16:creationId xmlns:a16="http://schemas.microsoft.com/office/drawing/2014/main" id="{1701766F-A9CB-48E8-BBC0-23D62D0FE3BC}"/>
              </a:ext>
            </a:extLst>
          </p:cNvPr>
          <p:cNvPicPr>
            <a:picLocks noChangeAspect="1"/>
          </p:cNvPicPr>
          <p:nvPr/>
        </p:nvPicPr>
        <p:blipFill>
          <a:blip r:embed="rId7"/>
          <a:stretch>
            <a:fillRect/>
          </a:stretch>
        </p:blipFill>
        <p:spPr>
          <a:xfrm>
            <a:off x="5875229" y="2230016"/>
            <a:ext cx="3511368" cy="1723329"/>
          </a:xfrm>
          <a:prstGeom prst="rect">
            <a:avLst/>
          </a:prstGeom>
        </p:spPr>
      </p:pic>
    </p:spTree>
    <p:extLst>
      <p:ext uri="{BB962C8B-B14F-4D97-AF65-F5344CB8AC3E}">
        <p14:creationId xmlns:p14="http://schemas.microsoft.com/office/powerpoint/2010/main" val="1001924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a:solidFill>
                  <a:schemeClr val="tx1"/>
                </a:solidFill>
                <a:latin typeface="Calibri" panose="020F0502020204030204" pitchFamily="34" charset="0"/>
                <a:ea typeface="Calibri" panose="020F0502020204030204" pitchFamily="34" charset="0"/>
                <a:cs typeface="Calibri" panose="020F0502020204030204" pitchFamily="34" charset="0"/>
              </a:rPr>
              <a:t>Distribution Automation Division Market Focus </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1</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7" y="1444752"/>
            <a:ext cx="7896871" cy="4978738"/>
          </a:xfrm>
        </p:spPr>
        <p:txBody>
          <a:bodyPr>
            <a:normAutofit/>
          </a:bodyPr>
          <a:lstStyle/>
          <a:p>
            <a:pPr marL="342900" lvl="1" indent="-342900">
              <a:lnSpc>
                <a:spcPct val="10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We focus on creating products with unique features that solve problems for our customers</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Customer input is used for every product we bring to market</a:t>
            </a:r>
          </a:p>
          <a:p>
            <a:pPr marL="342900" lvl="1" indent="-342900">
              <a:lnSpc>
                <a:spcPct val="10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The Distribution Advisory Council (DAC) spearheads our new product ideas</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342900" lvl="1" indent="0">
              <a:lnSpc>
                <a:spcPct val="100000"/>
              </a:lnSpc>
              <a:spcBef>
                <a:spcPts val="0"/>
              </a:spcBef>
              <a:buClr>
                <a:srgbClr val="A20000"/>
              </a:buClr>
              <a:buNone/>
            </a:pPr>
            <a:endPar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endParaRPr>
          </a:p>
          <a:p>
            <a:pPr marL="342900" lvl="1" indent="0">
              <a:lnSpc>
                <a:spcPct val="100000"/>
              </a:lnSpc>
              <a:spcBef>
                <a:spcPts val="0"/>
              </a:spcBef>
              <a:buClr>
                <a:srgbClr val="A20000"/>
              </a:buClr>
              <a:buNone/>
            </a:pPr>
            <a:endPar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descr="A group of people sitting at tables&#10;&#10;Description automatically generated with medium confidence">
            <a:extLst>
              <a:ext uri="{FF2B5EF4-FFF2-40B4-BE49-F238E27FC236}">
                <a16:creationId xmlns:a16="http://schemas.microsoft.com/office/drawing/2014/main" id="{0CEBEA61-8E30-47D1-A35D-39FB4E1C0C4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08162" y="1444752"/>
            <a:ext cx="3281409" cy="4375212"/>
          </a:xfrm>
          <a:prstGeom prst="rect">
            <a:avLst/>
          </a:prstGeom>
        </p:spPr>
      </p:pic>
    </p:spTree>
    <p:extLst>
      <p:ext uri="{BB962C8B-B14F-4D97-AF65-F5344CB8AC3E}">
        <p14:creationId xmlns:p14="http://schemas.microsoft.com/office/powerpoint/2010/main" val="26627495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2600" i="0" dirty="0">
                <a:solidFill>
                  <a:schemeClr val="tx1"/>
                </a:solidFill>
                <a:latin typeface="Calibri" panose="020F0502020204030204" pitchFamily="34" charset="0"/>
                <a:ea typeface="Calibri" panose="020F0502020204030204" pitchFamily="34" charset="0"/>
                <a:cs typeface="Calibri" panose="020F0502020204030204" pitchFamily="34" charset="0"/>
              </a:rPr>
              <a:t>Distribution Automation Division Recent Intra-Group Collaborations</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8" y="1444752"/>
            <a:ext cx="5144339" cy="4978738"/>
          </a:xfrm>
        </p:spPr>
        <p:txBody>
          <a:bodyPr>
            <a:normAutofit/>
          </a:bodyPr>
          <a:lstStyle/>
          <a:p>
            <a:pPr marL="342900" lvl="1" indent="-342900">
              <a:lnSpc>
                <a:spcPct val="100000"/>
              </a:lnSpc>
              <a:spcBef>
                <a:spcPts val="0"/>
              </a:spcBef>
              <a:buClr>
                <a:schemeClr val="tx1"/>
              </a:buClr>
              <a:buSzPct val="100000"/>
              <a:buFont typeface="Wingdings" panose="05000000000000000000" pitchFamily="2" charset="2"/>
              <a:buChar char="Ø"/>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Chardon Korea</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Started collaboration in 2016, partnered in recloser components/production</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Factory in Suwon South Korea</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Has been a tremendous success for both companies</a:t>
            </a:r>
          </a:p>
          <a:p>
            <a:pPr marL="342900" lvl="1" indent="-342900">
              <a:lnSpc>
                <a:spcPct val="100000"/>
              </a:lnSpc>
              <a:spcBef>
                <a:spcPts val="0"/>
              </a:spcBef>
              <a:buClr>
                <a:schemeClr val="tx1"/>
              </a:buClr>
              <a:buSzPct val="100000"/>
              <a:buFont typeface="Wingdings" panose="05000000000000000000" pitchFamily="2" charset="2"/>
              <a:buChar char="Ø"/>
            </a:pPr>
            <a:r>
              <a:rPr lang="en-US" sz="2400" dirty="0" err="1">
                <a:solidFill>
                  <a:schemeClr val="tx1"/>
                </a:solidFill>
                <a:latin typeface="Calibri" panose="020F0502020204030204" pitchFamily="34" charset="0"/>
                <a:ea typeface="Calibri" panose="020F0502020204030204" pitchFamily="34" charset="0"/>
                <a:cs typeface="Calibri" panose="020F0502020204030204" pitchFamily="34" charset="0"/>
              </a:rPr>
              <a:t>Diram</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Started collaboration in 2024 in printed circuit board (PCB) manufacturing</a:t>
            </a:r>
          </a:p>
          <a:p>
            <a:pPr marL="685800" lvl="1" indent="-342900">
              <a:lnSpc>
                <a:spcPct val="100000"/>
              </a:lnSpc>
              <a:spcBef>
                <a:spcPts val="0"/>
              </a:spcBef>
              <a:buClr>
                <a:srgbClr val="A20000"/>
              </a:buClr>
              <a:buFont typeface="Arial" panose="020B0604020202020204" pitchFamily="34" charset="0"/>
              <a:buChar char="•"/>
            </a:pPr>
            <a:r>
              <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rPr>
              <a:t>Preparing to migrate all of our divisions PCB business to </a:t>
            </a:r>
            <a:r>
              <a:rPr lang="en-US" sz="1800" dirty="0" err="1">
                <a:solidFill>
                  <a:srgbClr val="A20000"/>
                </a:solidFill>
                <a:latin typeface="Calibri" panose="020F0502020204030204" pitchFamily="34" charset="0"/>
                <a:ea typeface="Calibri" panose="020F0502020204030204" pitchFamily="34" charset="0"/>
                <a:cs typeface="Calibri" panose="020F0502020204030204" pitchFamily="34" charset="0"/>
              </a:rPr>
              <a:t>Diram</a:t>
            </a:r>
            <a:endPar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descr="A group of people standing in front of a building&#10;&#10;Description automatically generated">
            <a:extLst>
              <a:ext uri="{FF2B5EF4-FFF2-40B4-BE49-F238E27FC236}">
                <a16:creationId xmlns:a16="http://schemas.microsoft.com/office/drawing/2014/main" id="{2B457E63-5B76-412E-8E9E-A9A5D7E6C8D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6742" y="944093"/>
            <a:ext cx="3917059" cy="3230151"/>
          </a:xfrm>
          <a:prstGeom prst="rect">
            <a:avLst/>
          </a:prstGeom>
        </p:spPr>
      </p:pic>
      <p:pic>
        <p:nvPicPr>
          <p:cNvPr id="14" name="Picture 13">
            <a:extLst>
              <a:ext uri="{FF2B5EF4-FFF2-40B4-BE49-F238E27FC236}">
                <a16:creationId xmlns:a16="http://schemas.microsoft.com/office/drawing/2014/main" id="{033903B2-398E-4A78-8D4B-51932D8DA30B}"/>
              </a:ext>
            </a:extLst>
          </p:cNvPr>
          <p:cNvPicPr>
            <a:picLocks noChangeAspect="1"/>
          </p:cNvPicPr>
          <p:nvPr/>
        </p:nvPicPr>
        <p:blipFill>
          <a:blip r:embed="rId6"/>
          <a:stretch>
            <a:fillRect/>
          </a:stretch>
        </p:blipFill>
        <p:spPr>
          <a:xfrm>
            <a:off x="6570260" y="4189667"/>
            <a:ext cx="4025222" cy="2214854"/>
          </a:xfrm>
          <a:prstGeom prst="rect">
            <a:avLst/>
          </a:prstGeom>
        </p:spPr>
      </p:pic>
      <p:pic>
        <p:nvPicPr>
          <p:cNvPr id="18" name="Picture 17">
            <a:extLst>
              <a:ext uri="{FF2B5EF4-FFF2-40B4-BE49-F238E27FC236}">
                <a16:creationId xmlns:a16="http://schemas.microsoft.com/office/drawing/2014/main" id="{76FB7B85-8E58-4EF7-BA35-5A1D3108986E}"/>
              </a:ext>
            </a:extLst>
          </p:cNvPr>
          <p:cNvPicPr>
            <a:picLocks noChangeAspect="1"/>
          </p:cNvPicPr>
          <p:nvPr/>
        </p:nvPicPr>
        <p:blipFill>
          <a:blip r:embed="rId7"/>
          <a:stretch>
            <a:fillRect/>
          </a:stretch>
        </p:blipFill>
        <p:spPr>
          <a:xfrm>
            <a:off x="886376" y="4727314"/>
            <a:ext cx="4428931" cy="1643523"/>
          </a:xfrm>
          <a:prstGeom prst="rect">
            <a:avLst/>
          </a:prstGeom>
        </p:spPr>
      </p:pic>
      <p:pic>
        <p:nvPicPr>
          <p:cNvPr id="16" name="Picture 15">
            <a:extLst>
              <a:ext uri="{FF2B5EF4-FFF2-40B4-BE49-F238E27FC236}">
                <a16:creationId xmlns:a16="http://schemas.microsoft.com/office/drawing/2014/main" id="{DA046DBC-8ADE-4CFC-A0D2-D090DBC4B1BF}"/>
              </a:ext>
            </a:extLst>
          </p:cNvPr>
          <p:cNvPicPr>
            <a:picLocks noChangeAspect="1"/>
          </p:cNvPicPr>
          <p:nvPr/>
        </p:nvPicPr>
        <p:blipFill>
          <a:blip r:embed="rId8"/>
          <a:stretch>
            <a:fillRect/>
          </a:stretch>
        </p:blipFill>
        <p:spPr>
          <a:xfrm>
            <a:off x="886376" y="4730553"/>
            <a:ext cx="912601" cy="447675"/>
          </a:xfrm>
          <a:prstGeom prst="rect">
            <a:avLst/>
          </a:prstGeom>
        </p:spPr>
      </p:pic>
    </p:spTree>
    <p:extLst>
      <p:ext uri="{BB962C8B-B14F-4D97-AF65-F5344CB8AC3E}">
        <p14:creationId xmlns:p14="http://schemas.microsoft.com/office/powerpoint/2010/main" val="23595445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4B9DE94-06FD-BA6E-27D9-D5411C1CAB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6" name="think-cell data - do not delete" hidden="1">
                        <a:extLst>
                          <a:ext uri="{FF2B5EF4-FFF2-40B4-BE49-F238E27FC236}">
                            <a16:creationId xmlns:a16="http://schemas.microsoft.com/office/drawing/2014/main" id="{74B9DE94-06FD-BA6E-27D9-D5411C1CAB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EFA49A-D6F0-94EB-2E4A-46AC510574DD}"/>
              </a:ext>
            </a:extLst>
          </p:cNvPr>
          <p:cNvSpPr>
            <a:spLocks noGrp="1"/>
          </p:cNvSpPr>
          <p:nvPr>
            <p:ph type="title"/>
          </p:nvPr>
        </p:nvSpPr>
        <p:spPr>
          <a:xfrm>
            <a:off x="518584" y="1869548"/>
            <a:ext cx="7711016" cy="2124075"/>
          </a:xfrm>
        </p:spPr>
        <p:txBody>
          <a:bodyPr vert="horz"/>
          <a:lstStyle/>
          <a:p>
            <a:r>
              <a:rPr lang="en-US" sz="4000" dirty="0">
                <a:latin typeface="Calibri" panose="020F0502020204030204" pitchFamily="34" charset="0"/>
                <a:ea typeface="Calibri" panose="020F0502020204030204" pitchFamily="34" charset="0"/>
                <a:cs typeface="Calibri" panose="020F0502020204030204" pitchFamily="34" charset="0"/>
              </a:rPr>
              <a:t>Switch Division</a:t>
            </a:r>
            <a:br>
              <a:rPr lang="en-US" sz="4000" dirty="0">
                <a:latin typeface="Calibri" panose="020F0502020204030204" pitchFamily="34" charset="0"/>
                <a:ea typeface="Calibri" panose="020F0502020204030204" pitchFamily="34" charset="0"/>
                <a:cs typeface="Calibri" panose="020F0502020204030204" pitchFamily="34" charset="0"/>
              </a:rPr>
            </a:br>
            <a:r>
              <a:rPr lang="en-US" sz="4000" dirty="0">
                <a:latin typeface="Calibri" panose="020F0502020204030204" pitchFamily="34" charset="0"/>
                <a:ea typeface="Calibri" panose="020F0502020204030204" pitchFamily="34" charset="0"/>
                <a:cs typeface="Calibri" panose="020F0502020204030204" pitchFamily="34" charset="0"/>
              </a:rPr>
              <a:t>Transmission Division</a:t>
            </a:r>
            <a:br>
              <a:rPr lang="en-US" sz="4000" dirty="0">
                <a:latin typeface="Calibri" panose="020F0502020204030204" pitchFamily="34" charset="0"/>
                <a:ea typeface="Calibri" panose="020F0502020204030204" pitchFamily="34" charset="0"/>
                <a:cs typeface="Calibri" panose="020F0502020204030204" pitchFamily="34" charset="0"/>
              </a:rPr>
            </a:br>
            <a:r>
              <a:rPr lang="en-US" sz="4000" dirty="0">
                <a:latin typeface="Calibri" panose="020F0502020204030204" pitchFamily="34" charset="0"/>
                <a:ea typeface="Calibri" panose="020F0502020204030204" pitchFamily="34" charset="0"/>
                <a:cs typeface="Calibri" panose="020F0502020204030204" pitchFamily="34" charset="0"/>
              </a:rPr>
              <a:t>Sensors Division</a:t>
            </a:r>
          </a:p>
        </p:txBody>
      </p:sp>
      <p:pic>
        <p:nvPicPr>
          <p:cNvPr id="5" name="Picture 4" descr="A logo with a black background&#10;&#10;Description automatically generated">
            <a:extLst>
              <a:ext uri="{FF2B5EF4-FFF2-40B4-BE49-F238E27FC236}">
                <a16:creationId xmlns:a16="http://schemas.microsoft.com/office/drawing/2014/main" id="{D3A6B119-F6CC-4047-805C-52E2D186234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92" y="228600"/>
            <a:ext cx="2197848" cy="928955"/>
          </a:xfrm>
          <a:prstGeom prst="rect">
            <a:avLst/>
          </a:prstGeom>
        </p:spPr>
      </p:pic>
      <p:pic>
        <p:nvPicPr>
          <p:cNvPr id="7" name="Picture Placeholder 15" descr="A large electrical power plant&#10;&#10;Description automatically generated with medium confidence">
            <a:extLst>
              <a:ext uri="{FF2B5EF4-FFF2-40B4-BE49-F238E27FC236}">
                <a16:creationId xmlns:a16="http://schemas.microsoft.com/office/drawing/2014/main" id="{CE371D9D-9204-42F4-9E4D-13CBD971E2D1}"/>
              </a:ext>
            </a:extLst>
          </p:cNvPr>
          <p:cNvPicPr>
            <a:picLocks noChangeAspect="1"/>
          </p:cNvPicPr>
          <p:nvPr/>
        </p:nvPicPr>
        <p:blipFill>
          <a:blip r:embed="rId7"/>
          <a:srcRect t="5128" b="5128"/>
          <a:stretch>
            <a:fillRect/>
          </a:stretch>
        </p:blipFill>
        <p:spPr>
          <a:xfrm>
            <a:off x="6204858" y="304800"/>
            <a:ext cx="5577374" cy="5575301"/>
          </a:xfrm>
          <a:prstGeom prst="rect">
            <a:avLst/>
          </a:prstGeom>
          <a:solidFill>
            <a:schemeClr val="tx2"/>
          </a:solidFill>
        </p:spPr>
      </p:pic>
    </p:spTree>
    <p:extLst>
      <p:ext uri="{BB962C8B-B14F-4D97-AF65-F5344CB8AC3E}">
        <p14:creationId xmlns:p14="http://schemas.microsoft.com/office/powerpoint/2010/main" val="25796047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400" b="1" i="0" dirty="0">
                <a:solidFill>
                  <a:schemeClr val="tx1"/>
                </a:solidFill>
                <a:latin typeface="Calibri" panose="020F0502020204030204" pitchFamily="34" charset="0"/>
                <a:ea typeface="Calibri" panose="020F0502020204030204" pitchFamily="34" charset="0"/>
                <a:cs typeface="Calibri" panose="020F0502020204030204" pitchFamily="34" charset="0"/>
              </a:rPr>
              <a:t>Switch Division Vice President and General Manager</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srgbClr val="333333">
                    <a:tint val="75000"/>
                  </a:srgb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8" y="1444752"/>
            <a:ext cx="11152004" cy="4978738"/>
          </a:xfrm>
        </p:spPr>
        <p:txBody>
          <a:bodyPr>
            <a:normAutofit fontScale="92500" lnSpcReduction="20000"/>
          </a:bodyPr>
          <a:lstStyle/>
          <a:p>
            <a:pPr marL="342900" lvl="1" indent="-342900">
              <a:lnSpc>
                <a:spcPct val="110000"/>
              </a:lnSpc>
              <a:spcBef>
                <a:spcPts val="0"/>
              </a:spcBef>
              <a:buClr>
                <a:schemeClr val="tx1"/>
              </a:buClr>
              <a:buSzPct val="100000"/>
              <a:buFont typeface="Wingdings" panose="05000000000000000000" pitchFamily="2" charset="2"/>
              <a:buChar char="Ø"/>
            </a:pPr>
            <a:r>
              <a:rPr lang="en-US" dirty="0">
                <a:solidFill>
                  <a:schemeClr val="tx1"/>
                </a:solidFill>
                <a:latin typeface="Calibri" panose="020F0502020204030204" pitchFamily="34" charset="0"/>
                <a:ea typeface="Calibri" panose="020F0502020204030204" pitchFamily="34" charset="0"/>
                <a:cs typeface="Calibri" panose="020F0502020204030204" pitchFamily="34" charset="0"/>
              </a:rPr>
              <a:t>What is your background</a:t>
            </a:r>
            <a:endParaRPr lang="en-US" dirty="0">
              <a:solidFill>
                <a:srgbClr val="A20000"/>
              </a:solidFill>
              <a:latin typeface="Calibri" panose="020F0502020204030204" pitchFamily="34" charset="0"/>
              <a:ea typeface="Calibri" panose="020F0502020204030204" pitchFamily="34" charset="0"/>
              <a:cs typeface="Calibri" panose="020F0502020204030204" pitchFamily="34" charset="0"/>
            </a:endParaRPr>
          </a:p>
          <a:p>
            <a:pPr marL="342900" lvl="1" indent="-342900">
              <a:lnSpc>
                <a:spcPct val="110000"/>
              </a:lnSpc>
              <a:spcBef>
                <a:spcPts val="0"/>
              </a:spcBef>
              <a:buClr>
                <a:schemeClr val="tx1"/>
              </a:buClr>
              <a:buSzPct val="100000"/>
              <a:buFont typeface="Wingdings" panose="05000000000000000000" pitchFamily="2" charset="2"/>
              <a:buChar char="Ø"/>
            </a:pPr>
            <a:r>
              <a:rPr lang="en-US" dirty="0" err="1">
                <a:solidFill>
                  <a:schemeClr val="tx1"/>
                </a:solidFill>
                <a:latin typeface="Calibri" panose="020F0502020204030204" pitchFamily="34" charset="0"/>
                <a:ea typeface="Calibri" panose="020F0502020204030204" pitchFamily="34" charset="0"/>
                <a:cs typeface="Calibri" panose="020F0502020204030204" pitchFamily="34" charset="0"/>
              </a:rPr>
              <a:t>WLHamilton</a:t>
            </a:r>
            <a:r>
              <a:rPr lang="en-US" dirty="0">
                <a:solidFill>
                  <a:schemeClr val="tx1"/>
                </a:solidFill>
                <a:latin typeface="Calibri" panose="020F0502020204030204" pitchFamily="34" charset="0"/>
                <a:ea typeface="Calibri" panose="020F0502020204030204" pitchFamily="34" charset="0"/>
                <a:cs typeface="Calibri" panose="020F0502020204030204" pitchFamily="34" charset="0"/>
              </a:rPr>
              <a:t> Inc. (dba RRS Inc. / Hamilton Properties)</a:t>
            </a:r>
            <a:endParaRPr lang="en-US"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1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2001 – 2013</a:t>
            </a:r>
          </a:p>
          <a:p>
            <a:pPr lvl="2" indent="-342900">
              <a:lnSpc>
                <a:spcPct val="110000"/>
              </a:lnSpc>
              <a:spcBef>
                <a:spcPts val="0"/>
              </a:spcBef>
              <a:buClr>
                <a:srgbClr val="A20000"/>
              </a:buClr>
              <a:buFont typeface="Calibri" panose="020F0502020204030204" pitchFamily="34" charset="0"/>
              <a:buChar char="­"/>
            </a:pPr>
            <a:r>
              <a:rPr lang="en-US" sz="1400" dirty="0">
                <a:solidFill>
                  <a:srgbClr val="0070C0"/>
                </a:solidFill>
                <a:latin typeface="Calibri" panose="020F0502020204030204" pitchFamily="34" charset="0"/>
                <a:ea typeface="Calibri" panose="020F0502020204030204" pitchFamily="34" charset="0"/>
                <a:cs typeface="Calibri" panose="020F0502020204030204" pitchFamily="34" charset="0"/>
              </a:rPr>
              <a:t>Standalone automotive facility</a:t>
            </a:r>
          </a:p>
          <a:p>
            <a:pPr lvl="2" indent="-342900">
              <a:lnSpc>
                <a:spcPct val="110000"/>
              </a:lnSpc>
              <a:spcBef>
                <a:spcPts val="0"/>
              </a:spcBef>
              <a:buClr>
                <a:srgbClr val="A20000"/>
              </a:buClr>
              <a:buFont typeface="Calibri" panose="020F0502020204030204" pitchFamily="34" charset="0"/>
              <a:buChar char="­"/>
            </a:pPr>
            <a:r>
              <a:rPr lang="en-US" sz="1400" dirty="0">
                <a:solidFill>
                  <a:srgbClr val="0070C0"/>
                </a:solidFill>
                <a:latin typeface="Calibri" panose="020F0502020204030204" pitchFamily="34" charset="0"/>
                <a:ea typeface="Calibri" panose="020F0502020204030204" pitchFamily="34" charset="0"/>
                <a:cs typeface="Calibri" panose="020F0502020204030204" pitchFamily="34" charset="0"/>
              </a:rPr>
              <a:t>Residential property rehab and rentals</a:t>
            </a:r>
          </a:p>
          <a:p>
            <a:pPr marL="342900" lvl="1" indent="-342900">
              <a:lnSpc>
                <a:spcPct val="110000"/>
              </a:lnSpc>
              <a:spcBef>
                <a:spcPts val="0"/>
              </a:spcBef>
              <a:buClr>
                <a:schemeClr val="tx1"/>
              </a:buClr>
              <a:buSzPct val="100000"/>
              <a:buFont typeface="Wingdings" panose="05000000000000000000" pitchFamily="2" charset="2"/>
              <a:buChar char="Ø"/>
            </a:pPr>
            <a:r>
              <a:rPr lang="en-US" dirty="0">
                <a:latin typeface="Calibri" panose="020F0502020204030204" pitchFamily="34" charset="0"/>
                <a:ea typeface="Calibri" panose="020F0502020204030204" pitchFamily="34" charset="0"/>
                <a:cs typeface="Calibri" panose="020F0502020204030204" pitchFamily="34" charset="0"/>
              </a:rPr>
              <a:t>MIDAS</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685800" lvl="1" indent="-342900">
              <a:lnSpc>
                <a:spcPct val="11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2014-15</a:t>
            </a:r>
          </a:p>
          <a:p>
            <a:pPr lvl="2" indent="-342900">
              <a:lnSpc>
                <a:spcPct val="110000"/>
              </a:lnSpc>
              <a:spcBef>
                <a:spcPts val="0"/>
              </a:spcBef>
              <a:buClr>
                <a:srgbClr val="A20000"/>
              </a:buClr>
              <a:buFont typeface="Calibri" panose="020F0502020204030204" pitchFamily="34" charset="0"/>
              <a:buChar char="­"/>
            </a:pPr>
            <a:r>
              <a:rPr lang="en-US" sz="1400" dirty="0">
                <a:solidFill>
                  <a:srgbClr val="0070C0"/>
                </a:solidFill>
                <a:latin typeface="Calibri" panose="020F0502020204030204" pitchFamily="34" charset="0"/>
                <a:ea typeface="Calibri" panose="020F0502020204030204" pitchFamily="34" charset="0"/>
                <a:cs typeface="Calibri" panose="020F0502020204030204" pitchFamily="34" charset="0"/>
              </a:rPr>
              <a:t>District Manager (Atlanta) for largest independently owned automotive franchisee group in the US (Katz).</a:t>
            </a:r>
          </a:p>
          <a:p>
            <a:pPr marL="342900" lvl="1" indent="-342900">
              <a:lnSpc>
                <a:spcPct val="110000"/>
              </a:lnSpc>
              <a:spcBef>
                <a:spcPts val="0"/>
              </a:spcBef>
              <a:buClr>
                <a:schemeClr val="tx1"/>
              </a:buClr>
              <a:buSzPct val="100000"/>
              <a:buFont typeface="Wingdings" panose="05000000000000000000" pitchFamily="2" charset="2"/>
              <a:buChar char="Ø"/>
            </a:pPr>
            <a:r>
              <a:rPr lang="en-US" dirty="0">
                <a:latin typeface="Calibri" panose="020F0502020204030204" pitchFamily="34" charset="0"/>
                <a:ea typeface="Calibri" panose="020F0502020204030204" pitchFamily="34" charset="0"/>
                <a:cs typeface="Calibri" panose="020F0502020204030204" pitchFamily="34" charset="0"/>
              </a:rPr>
              <a:t>Southern States</a:t>
            </a:r>
          </a:p>
          <a:p>
            <a:pPr marL="685800" lvl="1" indent="-342900">
              <a:lnSpc>
                <a:spcPct val="11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2015-18</a:t>
            </a:r>
          </a:p>
          <a:p>
            <a:pPr lvl="2" indent="-342900">
              <a:lnSpc>
                <a:spcPct val="110000"/>
              </a:lnSpc>
              <a:spcBef>
                <a:spcPts val="0"/>
              </a:spcBef>
              <a:buClr>
                <a:srgbClr val="A20000"/>
              </a:buClr>
              <a:buFont typeface="Calibri" panose="020F0502020204030204" pitchFamily="34" charset="0"/>
              <a:buChar char="­"/>
            </a:pPr>
            <a:r>
              <a:rPr lang="en-US" sz="1400" dirty="0">
                <a:solidFill>
                  <a:srgbClr val="0070C0"/>
                </a:solidFill>
                <a:latin typeface="Calibri" panose="020F0502020204030204" pitchFamily="34" charset="0"/>
                <a:ea typeface="Calibri" panose="020F0502020204030204" pitchFamily="34" charset="0"/>
                <a:cs typeface="Calibri" panose="020F0502020204030204" pitchFamily="34" charset="0"/>
              </a:rPr>
              <a:t>Area Sales Manager (Switch)</a:t>
            </a:r>
          </a:p>
          <a:p>
            <a:pPr marL="685800" lvl="1" indent="-342900">
              <a:lnSpc>
                <a:spcPct val="11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2018-20</a:t>
            </a:r>
          </a:p>
          <a:p>
            <a:pPr lvl="2" indent="-342900">
              <a:lnSpc>
                <a:spcPct val="110000"/>
              </a:lnSpc>
              <a:spcBef>
                <a:spcPts val="0"/>
              </a:spcBef>
              <a:buClr>
                <a:srgbClr val="A20000"/>
              </a:buClr>
              <a:buFont typeface="Calibri" panose="020F0502020204030204" pitchFamily="34" charset="0"/>
              <a:buChar char="­"/>
            </a:pPr>
            <a:r>
              <a:rPr lang="en-US" sz="1400" dirty="0">
                <a:solidFill>
                  <a:srgbClr val="0070C0"/>
                </a:solidFill>
                <a:latin typeface="Calibri" panose="020F0502020204030204" pitchFamily="34" charset="0"/>
                <a:ea typeface="Calibri" panose="020F0502020204030204" pitchFamily="34" charset="0"/>
                <a:cs typeface="Calibri" panose="020F0502020204030204" pitchFamily="34" charset="0"/>
              </a:rPr>
              <a:t>National Sales Manager (Switch)</a:t>
            </a:r>
          </a:p>
          <a:p>
            <a:pPr marL="685800" lvl="1" indent="-342900">
              <a:lnSpc>
                <a:spcPct val="110000"/>
              </a:lnSpc>
              <a:spcBef>
                <a:spcPts val="0"/>
              </a:spcBef>
              <a:buClr>
                <a:srgbClr val="A20000"/>
              </a:buCl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2020-22</a:t>
            </a:r>
          </a:p>
          <a:p>
            <a:pPr lvl="2" indent="-342900">
              <a:lnSpc>
                <a:spcPct val="110000"/>
              </a:lnSpc>
              <a:spcBef>
                <a:spcPts val="0"/>
              </a:spcBef>
              <a:buClr>
                <a:srgbClr val="0070C0"/>
              </a:buClr>
              <a:buFont typeface="Calibri" panose="020F0502020204030204" pitchFamily="34" charset="0"/>
              <a:buChar char="­"/>
            </a:pPr>
            <a:r>
              <a:rPr lang="en-US" sz="1400" dirty="0">
                <a:solidFill>
                  <a:srgbClr val="0070C0"/>
                </a:solidFill>
                <a:latin typeface="Calibri" panose="020F0502020204030204" pitchFamily="34" charset="0"/>
                <a:ea typeface="Calibri" panose="020F0502020204030204" pitchFamily="34" charset="0"/>
                <a:cs typeface="Calibri" panose="020F0502020204030204" pitchFamily="34" charset="0"/>
              </a:rPr>
              <a:t>Director, Sales &amp; Marketing (Switch)</a:t>
            </a:r>
          </a:p>
          <a:p>
            <a:pPr marL="685800" lvl="1" indent="-342900">
              <a:lnSpc>
                <a:spcPct val="11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2023</a:t>
            </a:r>
          </a:p>
          <a:p>
            <a:pPr lvl="2" indent="-342900">
              <a:lnSpc>
                <a:spcPct val="110000"/>
              </a:lnSpc>
              <a:spcBef>
                <a:spcPts val="0"/>
              </a:spcBef>
              <a:buClr>
                <a:srgbClr val="0070C0"/>
              </a:buClr>
              <a:buFont typeface="Calibri" panose="020F0502020204030204" pitchFamily="34" charset="0"/>
              <a:buChar char="­"/>
            </a:pPr>
            <a:r>
              <a:rPr lang="en-US" sz="1400" dirty="0">
                <a:solidFill>
                  <a:srgbClr val="0070C0"/>
                </a:solidFill>
                <a:latin typeface="Calibri" panose="020F0502020204030204" pitchFamily="34" charset="0"/>
                <a:ea typeface="Calibri" panose="020F0502020204030204" pitchFamily="34" charset="0"/>
                <a:cs typeface="Calibri" panose="020F0502020204030204" pitchFamily="34" charset="0"/>
              </a:rPr>
              <a:t>General Manager (Switch &amp; Transmission)</a:t>
            </a:r>
          </a:p>
          <a:p>
            <a:pPr marL="685800" lvl="1" indent="-342900">
              <a:lnSpc>
                <a:spcPct val="11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2024-25</a:t>
            </a:r>
          </a:p>
          <a:p>
            <a:pPr lvl="2" indent="-342900">
              <a:lnSpc>
                <a:spcPct val="110000"/>
              </a:lnSpc>
              <a:spcBef>
                <a:spcPts val="0"/>
              </a:spcBef>
              <a:buClr>
                <a:srgbClr val="0070C0"/>
              </a:buClr>
              <a:buFont typeface="Calibri" panose="020F0502020204030204" pitchFamily="34" charset="0"/>
              <a:buChar char="­"/>
            </a:pPr>
            <a:r>
              <a:rPr lang="en-US" sz="1400" dirty="0">
                <a:solidFill>
                  <a:srgbClr val="0070C0"/>
                </a:solidFill>
                <a:latin typeface="Calibri" panose="020F0502020204030204" pitchFamily="34" charset="0"/>
                <a:ea typeface="Calibri" panose="020F0502020204030204" pitchFamily="34" charset="0"/>
                <a:cs typeface="Calibri" panose="020F0502020204030204" pitchFamily="34" charset="0"/>
              </a:rPr>
              <a:t>Vice President &amp; General Manager (Switch, Transmission &amp; Sensors)</a:t>
            </a: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7720967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 name="Straight Connector 51">
            <a:extLst>
              <a:ext uri="{FF2B5EF4-FFF2-40B4-BE49-F238E27FC236}">
                <a16:creationId xmlns:a16="http://schemas.microsoft.com/office/drawing/2014/main" id="{A55D149B-1295-4190-A67B-2E011160E901}"/>
              </a:ext>
            </a:extLst>
          </p:cNvPr>
          <p:cNvCxnSpPr>
            <a:cxnSpLocks/>
          </p:cNvCxnSpPr>
          <p:nvPr/>
        </p:nvCxnSpPr>
        <p:spPr>
          <a:xfrm>
            <a:off x="9339626" y="1718980"/>
            <a:ext cx="1" cy="263067"/>
          </a:xfrm>
          <a:prstGeom prst="line">
            <a:avLst/>
          </a:prstGeom>
          <a:ln w="25400"/>
        </p:spPr>
        <p:style>
          <a:lnRef idx="1">
            <a:schemeClr val="dk1"/>
          </a:lnRef>
          <a:fillRef idx="0">
            <a:schemeClr val="dk1"/>
          </a:fillRef>
          <a:effectRef idx="0">
            <a:schemeClr val="dk1"/>
          </a:effectRef>
          <a:fontRef idx="minor">
            <a:schemeClr val="tx1"/>
          </a:fontRef>
        </p:style>
      </p:cxnSp>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i="0" dirty="0">
                <a:effectLst/>
              </a:rPr>
              <a:t>Switch Division Management Team</a:t>
            </a:r>
            <a:endParaRPr lang="en-US" sz="2400" i="0" dirty="0">
              <a:effectLst/>
              <a:ea typeface="ＭＳ Ｐゴシック" pitchFamily="34" charset="-128"/>
              <a:cs typeface="Calibri"/>
            </a:endParaRPr>
          </a:p>
        </p:txBody>
      </p:sp>
      <p:pic>
        <p:nvPicPr>
          <p:cNvPr id="5" name="Picture 4" descr="A logo with a black background&#10;&#10;Description automatically generated">
            <a:extLst>
              <a:ext uri="{FF2B5EF4-FFF2-40B4-BE49-F238E27FC236}">
                <a16:creationId xmlns:a16="http://schemas.microsoft.com/office/drawing/2014/main" id="{BBD93E03-E1A9-4442-920C-FE128D61BB5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cxnSp>
        <p:nvCxnSpPr>
          <p:cNvPr id="25" name="Straight Connector 24">
            <a:extLst>
              <a:ext uri="{FF2B5EF4-FFF2-40B4-BE49-F238E27FC236}">
                <a16:creationId xmlns:a16="http://schemas.microsoft.com/office/drawing/2014/main" id="{A8D7D701-0665-40E5-899F-F2E392362F6F}"/>
              </a:ext>
            </a:extLst>
          </p:cNvPr>
          <p:cNvCxnSpPr>
            <a:cxnSpLocks/>
          </p:cNvCxnSpPr>
          <p:nvPr/>
        </p:nvCxnSpPr>
        <p:spPr>
          <a:xfrm flipV="1">
            <a:off x="1356314" y="1721709"/>
            <a:ext cx="9763030" cy="24469"/>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_s1065">
            <a:extLst>
              <a:ext uri="{FF2B5EF4-FFF2-40B4-BE49-F238E27FC236}">
                <a16:creationId xmlns:a16="http://schemas.microsoft.com/office/drawing/2014/main" id="{996B0B4C-BAA1-4BD7-A2B3-2838EA5DFE70}"/>
              </a:ext>
            </a:extLst>
          </p:cNvPr>
          <p:cNvSpPr>
            <a:spLocks noChangeArrowheads="1"/>
          </p:cNvSpPr>
          <p:nvPr/>
        </p:nvSpPr>
        <p:spPr bwMode="auto">
          <a:xfrm>
            <a:off x="791395" y="1922930"/>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irector of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Engineering</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Joe Andreyo</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86" name="Straight Connector 85">
            <a:extLst>
              <a:ext uri="{FF2B5EF4-FFF2-40B4-BE49-F238E27FC236}">
                <a16:creationId xmlns:a16="http://schemas.microsoft.com/office/drawing/2014/main" id="{F0958FC6-5556-4A81-972E-1441B41B8A17}"/>
              </a:ext>
            </a:extLst>
          </p:cNvPr>
          <p:cNvCxnSpPr>
            <a:cxnSpLocks/>
          </p:cNvCxnSpPr>
          <p:nvPr/>
        </p:nvCxnSpPr>
        <p:spPr>
          <a:xfrm>
            <a:off x="1377490" y="1747459"/>
            <a:ext cx="0" cy="18367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_s1065">
            <a:extLst>
              <a:ext uri="{FF2B5EF4-FFF2-40B4-BE49-F238E27FC236}">
                <a16:creationId xmlns:a16="http://schemas.microsoft.com/office/drawing/2014/main" id="{B8F07880-E0B1-4552-9A92-3C2C26BD146D}"/>
              </a:ext>
            </a:extLst>
          </p:cNvPr>
          <p:cNvSpPr>
            <a:spLocks noChangeArrowheads="1"/>
          </p:cNvSpPr>
          <p:nvPr/>
        </p:nvSpPr>
        <p:spPr bwMode="auto">
          <a:xfrm>
            <a:off x="791395" y="2645102"/>
            <a:ext cx="1143000" cy="594360"/>
          </a:xfrm>
          <a:prstGeom prst="roundRect">
            <a:avLst>
              <a:gd name="adj" fmla="val 16667"/>
            </a:avLst>
          </a:prstGeom>
          <a:solidFill>
            <a:schemeClr val="accent6">
              <a:lumMod val="20000"/>
              <a:lumOff val="80000"/>
            </a:schemeClr>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Order Engineer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Adam Palmer</a:t>
            </a:r>
          </a:p>
        </p:txBody>
      </p:sp>
      <p:sp>
        <p:nvSpPr>
          <p:cNvPr id="31" name="_s1065">
            <a:extLst>
              <a:ext uri="{FF2B5EF4-FFF2-40B4-BE49-F238E27FC236}">
                <a16:creationId xmlns:a16="http://schemas.microsoft.com/office/drawing/2014/main" id="{7CE2E0D4-A484-4EEE-A3CD-40EBAA93FB39}"/>
              </a:ext>
            </a:extLst>
          </p:cNvPr>
          <p:cNvSpPr>
            <a:spLocks noChangeArrowheads="1"/>
          </p:cNvSpPr>
          <p:nvPr/>
        </p:nvSpPr>
        <p:spPr bwMode="auto">
          <a:xfrm>
            <a:off x="8767971" y="3177027"/>
            <a:ext cx="1143000" cy="594360"/>
          </a:xfrm>
          <a:prstGeom prst="roundRect">
            <a:avLst>
              <a:gd name="adj" fmla="val 16667"/>
            </a:avLst>
          </a:prstGeom>
          <a:solidFill>
            <a:srgbClr val="FFFF99"/>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upervisor II</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Assembly</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1st Shift</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Alan Pierce</a:t>
            </a:r>
          </a:p>
        </p:txBody>
      </p:sp>
      <p:sp>
        <p:nvSpPr>
          <p:cNvPr id="40" name="_s1065">
            <a:extLst>
              <a:ext uri="{FF2B5EF4-FFF2-40B4-BE49-F238E27FC236}">
                <a16:creationId xmlns:a16="http://schemas.microsoft.com/office/drawing/2014/main" id="{2F88A5DB-E0FB-40C8-A517-AC8B70680B4E}"/>
              </a:ext>
            </a:extLst>
          </p:cNvPr>
          <p:cNvSpPr>
            <a:spLocks noChangeArrowheads="1"/>
          </p:cNvSpPr>
          <p:nvPr/>
        </p:nvSpPr>
        <p:spPr bwMode="auto">
          <a:xfrm>
            <a:off x="8759541" y="3800773"/>
            <a:ext cx="1143000" cy="594360"/>
          </a:xfrm>
          <a:prstGeom prst="roundRect">
            <a:avLst>
              <a:gd name="adj" fmla="val 16667"/>
            </a:avLst>
          </a:prstGeom>
          <a:solidFill>
            <a:schemeClr val="accent6">
              <a:lumMod val="20000"/>
              <a:lumOff val="80000"/>
            </a:schemeClr>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Logistics</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Joe Carlton</a:t>
            </a:r>
          </a:p>
        </p:txBody>
      </p:sp>
      <p:sp>
        <p:nvSpPr>
          <p:cNvPr id="43" name="_s1065">
            <a:extLst>
              <a:ext uri="{FF2B5EF4-FFF2-40B4-BE49-F238E27FC236}">
                <a16:creationId xmlns:a16="http://schemas.microsoft.com/office/drawing/2014/main" id="{DD9C4A26-4920-487B-A991-CF74A450BB43}"/>
              </a:ext>
            </a:extLst>
          </p:cNvPr>
          <p:cNvSpPr>
            <a:spLocks noChangeArrowheads="1"/>
          </p:cNvSpPr>
          <p:nvPr/>
        </p:nvSpPr>
        <p:spPr bwMode="auto">
          <a:xfrm>
            <a:off x="781968" y="5420906"/>
            <a:ext cx="1143000" cy="594360"/>
          </a:xfrm>
          <a:prstGeom prst="roundRect">
            <a:avLst>
              <a:gd name="adj" fmla="val 16667"/>
            </a:avLst>
          </a:prstGeom>
          <a:solidFill>
            <a:schemeClr val="accent6">
              <a:lumMod val="20000"/>
              <a:lumOff val="80000"/>
            </a:schemeClr>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 Sustaining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Engine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anny Hoss</a:t>
            </a:r>
          </a:p>
        </p:txBody>
      </p:sp>
      <p:sp>
        <p:nvSpPr>
          <p:cNvPr id="45" name="_s1065">
            <a:extLst>
              <a:ext uri="{FF2B5EF4-FFF2-40B4-BE49-F238E27FC236}">
                <a16:creationId xmlns:a16="http://schemas.microsoft.com/office/drawing/2014/main" id="{73560E85-B396-46C2-ADCB-CCBDAB096E5D}"/>
              </a:ext>
            </a:extLst>
          </p:cNvPr>
          <p:cNvSpPr>
            <a:spLocks noChangeArrowheads="1"/>
          </p:cNvSpPr>
          <p:nvPr/>
        </p:nvSpPr>
        <p:spPr bwMode="auto">
          <a:xfrm>
            <a:off x="793767" y="4740563"/>
            <a:ext cx="1143000" cy="594360"/>
          </a:xfrm>
          <a:prstGeom prst="roundRect">
            <a:avLst>
              <a:gd name="adj" fmla="val 16667"/>
            </a:avLst>
          </a:prstGeom>
          <a:solidFill>
            <a:schemeClr val="accent6">
              <a:lumMod val="20000"/>
              <a:lumOff val="80000"/>
            </a:schemeClr>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 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otor Automation</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Chris Ekpoudom</a:t>
            </a:r>
          </a:p>
        </p:txBody>
      </p:sp>
      <p:cxnSp>
        <p:nvCxnSpPr>
          <p:cNvPr id="3328003" name="Straight Connector 3328002">
            <a:extLst>
              <a:ext uri="{FF2B5EF4-FFF2-40B4-BE49-F238E27FC236}">
                <a16:creationId xmlns:a16="http://schemas.microsoft.com/office/drawing/2014/main" id="{EB74F2A8-CD84-4CDF-AB58-6F4215D88EE0}"/>
              </a:ext>
            </a:extLst>
          </p:cNvPr>
          <p:cNvCxnSpPr>
            <a:cxnSpLocks/>
          </p:cNvCxnSpPr>
          <p:nvPr/>
        </p:nvCxnSpPr>
        <p:spPr>
          <a:xfrm>
            <a:off x="5980952" y="1726373"/>
            <a:ext cx="0" cy="244695"/>
          </a:xfrm>
          <a:prstGeom prst="line">
            <a:avLst/>
          </a:prstGeom>
          <a:ln w="25400"/>
        </p:spPr>
        <p:style>
          <a:lnRef idx="1">
            <a:schemeClr val="dk1"/>
          </a:lnRef>
          <a:fillRef idx="0">
            <a:schemeClr val="dk1"/>
          </a:fillRef>
          <a:effectRef idx="0">
            <a:schemeClr val="dk1"/>
          </a:effectRef>
          <a:fontRef idx="minor">
            <a:schemeClr val="tx1"/>
          </a:fontRef>
        </p:style>
      </p:cxnSp>
      <p:cxnSp>
        <p:nvCxnSpPr>
          <p:cNvPr id="3328009" name="Straight Connector 3328008">
            <a:extLst>
              <a:ext uri="{FF2B5EF4-FFF2-40B4-BE49-F238E27FC236}">
                <a16:creationId xmlns:a16="http://schemas.microsoft.com/office/drawing/2014/main" id="{4EAADC1C-5245-4E1B-831E-71AD29495380}"/>
              </a:ext>
            </a:extLst>
          </p:cNvPr>
          <p:cNvCxnSpPr>
            <a:cxnSpLocks/>
          </p:cNvCxnSpPr>
          <p:nvPr/>
        </p:nvCxnSpPr>
        <p:spPr>
          <a:xfrm>
            <a:off x="11115934" y="1730090"/>
            <a:ext cx="1" cy="263067"/>
          </a:xfrm>
          <a:prstGeom prst="line">
            <a:avLst/>
          </a:prstGeom>
          <a:ln w="25400"/>
        </p:spPr>
        <p:style>
          <a:lnRef idx="1">
            <a:schemeClr val="dk1"/>
          </a:lnRef>
          <a:fillRef idx="0">
            <a:schemeClr val="dk1"/>
          </a:fillRef>
          <a:effectRef idx="0">
            <a:schemeClr val="dk1"/>
          </a:effectRef>
          <a:fontRef idx="minor">
            <a:schemeClr val="tx1"/>
          </a:fontRef>
        </p:style>
      </p:cxnSp>
      <p:cxnSp>
        <p:nvCxnSpPr>
          <p:cNvPr id="3328023" name="Straight Connector 3328022">
            <a:extLst>
              <a:ext uri="{FF2B5EF4-FFF2-40B4-BE49-F238E27FC236}">
                <a16:creationId xmlns:a16="http://schemas.microsoft.com/office/drawing/2014/main" id="{AE55256A-7CDE-4BFD-870D-46B336589EC2}"/>
              </a:ext>
            </a:extLst>
          </p:cNvPr>
          <p:cNvCxnSpPr>
            <a:cxnSpLocks/>
          </p:cNvCxnSpPr>
          <p:nvPr/>
        </p:nvCxnSpPr>
        <p:spPr>
          <a:xfrm>
            <a:off x="2898627" y="1734869"/>
            <a:ext cx="0" cy="171680"/>
          </a:xfrm>
          <a:prstGeom prst="line">
            <a:avLst/>
          </a:prstGeom>
          <a:ln w="25400"/>
        </p:spPr>
        <p:style>
          <a:lnRef idx="1">
            <a:schemeClr val="dk1"/>
          </a:lnRef>
          <a:fillRef idx="0">
            <a:schemeClr val="dk1"/>
          </a:fillRef>
          <a:effectRef idx="0">
            <a:schemeClr val="dk1"/>
          </a:effectRef>
          <a:fontRef idx="minor">
            <a:schemeClr val="tx1"/>
          </a:fontRef>
        </p:style>
      </p:cxnSp>
      <p:sp>
        <p:nvSpPr>
          <p:cNvPr id="91" name="_s1065">
            <a:extLst>
              <a:ext uri="{FF2B5EF4-FFF2-40B4-BE49-F238E27FC236}">
                <a16:creationId xmlns:a16="http://schemas.microsoft.com/office/drawing/2014/main" id="{53869C38-3546-435A-A687-E631CF67B67B}"/>
              </a:ext>
            </a:extLst>
          </p:cNvPr>
          <p:cNvSpPr>
            <a:spLocks noChangeArrowheads="1"/>
          </p:cNvSpPr>
          <p:nvPr/>
        </p:nvSpPr>
        <p:spPr bwMode="auto">
          <a:xfrm>
            <a:off x="793767" y="3316622"/>
            <a:ext cx="1143000" cy="594360"/>
          </a:xfrm>
          <a:prstGeom prst="roundRect">
            <a:avLst>
              <a:gd name="adj" fmla="val 16667"/>
            </a:avLst>
          </a:prstGeom>
          <a:solidFill>
            <a:schemeClr val="accent6">
              <a:lumMod val="20000"/>
              <a:lumOff val="80000"/>
            </a:schemeClr>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irector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000000"/>
                </a:solidFill>
                <a:effectLst/>
                <a:uLnTx/>
                <a:uFillTx/>
                <a:latin typeface="Arial"/>
                <a:ea typeface="ＭＳ Ｐゴシック"/>
                <a:cs typeface="+mn-cs"/>
              </a:rPr>
              <a:t>Embedded Systems</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000000"/>
                </a:solidFill>
                <a:effectLst/>
                <a:uLnTx/>
                <a:uFillTx/>
                <a:latin typeface="Arial"/>
                <a:ea typeface="ＭＳ Ｐゴシック"/>
                <a:cs typeface="+mn-cs"/>
              </a:rPr>
              <a:t> Engineering</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John Gerthoffer</a:t>
            </a:r>
          </a:p>
        </p:txBody>
      </p:sp>
      <p:sp>
        <p:nvSpPr>
          <p:cNvPr id="105" name="_s1065">
            <a:extLst>
              <a:ext uri="{FF2B5EF4-FFF2-40B4-BE49-F238E27FC236}">
                <a16:creationId xmlns:a16="http://schemas.microsoft.com/office/drawing/2014/main" id="{6B17BC65-D072-4F4E-B5A9-C7990898CE8C}"/>
              </a:ext>
            </a:extLst>
          </p:cNvPr>
          <p:cNvSpPr>
            <a:spLocks noChangeArrowheads="1"/>
          </p:cNvSpPr>
          <p:nvPr/>
        </p:nvSpPr>
        <p:spPr bwMode="auto">
          <a:xfrm>
            <a:off x="8767971" y="2538761"/>
            <a:ext cx="1143000" cy="594360"/>
          </a:xfrm>
          <a:prstGeom prst="roundRect">
            <a:avLst>
              <a:gd name="adj" fmla="val 16667"/>
            </a:avLst>
          </a:prstGeom>
          <a:solidFill>
            <a:schemeClr val="accent6">
              <a:lumMod val="20000"/>
              <a:lumOff val="80000"/>
            </a:schemeClr>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chining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teve Hymes</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06" name="_s1065">
            <a:extLst>
              <a:ext uri="{FF2B5EF4-FFF2-40B4-BE49-F238E27FC236}">
                <a16:creationId xmlns:a16="http://schemas.microsoft.com/office/drawing/2014/main" id="{AEE50A3F-3EDA-4123-BB2D-0BE4AE19C726}"/>
              </a:ext>
            </a:extLst>
          </p:cNvPr>
          <p:cNvSpPr>
            <a:spLocks noChangeArrowheads="1"/>
          </p:cNvSpPr>
          <p:nvPr/>
        </p:nvSpPr>
        <p:spPr bwMode="auto">
          <a:xfrm>
            <a:off x="8767971" y="5061925"/>
            <a:ext cx="1143000" cy="594360"/>
          </a:xfrm>
          <a:prstGeom prst="roundRect">
            <a:avLst>
              <a:gd name="adj" fmla="val 16667"/>
            </a:avLst>
          </a:prstGeom>
          <a:solidFill>
            <a:srgbClr val="FFFF99"/>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uperviso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Fabrication Shop</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Jeremy Hilton</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08" name="_s1065">
            <a:extLst>
              <a:ext uri="{FF2B5EF4-FFF2-40B4-BE49-F238E27FC236}">
                <a16:creationId xmlns:a16="http://schemas.microsoft.com/office/drawing/2014/main" id="{BB4394CC-A72E-4A3C-AF82-9F695F0EBF87}"/>
              </a:ext>
            </a:extLst>
          </p:cNvPr>
          <p:cNvSpPr>
            <a:spLocks noChangeArrowheads="1"/>
          </p:cNvSpPr>
          <p:nvPr/>
        </p:nvSpPr>
        <p:spPr bwMode="auto">
          <a:xfrm>
            <a:off x="7213491" y="3168668"/>
            <a:ext cx="1143000" cy="594360"/>
          </a:xfrm>
          <a:prstGeom prst="roundRect">
            <a:avLst>
              <a:gd name="adj" fmla="val 16667"/>
            </a:avLst>
          </a:prstGeom>
          <a:solidFill>
            <a:srgbClr val="F7FDA5"/>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uperviso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otor Mech</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Ashley Horton</a:t>
            </a:r>
          </a:p>
        </p:txBody>
      </p:sp>
      <p:sp>
        <p:nvSpPr>
          <p:cNvPr id="109" name="_s1065">
            <a:extLst>
              <a:ext uri="{FF2B5EF4-FFF2-40B4-BE49-F238E27FC236}">
                <a16:creationId xmlns:a16="http://schemas.microsoft.com/office/drawing/2014/main" id="{D5CA59AA-0785-4E0A-BEF6-F94C27899317}"/>
              </a:ext>
            </a:extLst>
          </p:cNvPr>
          <p:cNvSpPr>
            <a:spLocks noChangeArrowheads="1"/>
          </p:cNvSpPr>
          <p:nvPr/>
        </p:nvSpPr>
        <p:spPr bwMode="auto">
          <a:xfrm>
            <a:off x="8767971" y="5696505"/>
            <a:ext cx="1143000" cy="594360"/>
          </a:xfrm>
          <a:prstGeom prst="roundRect">
            <a:avLst>
              <a:gd name="adj" fmla="val 16667"/>
            </a:avLst>
          </a:prstGeom>
          <a:solidFill>
            <a:srgbClr val="F7FDA5"/>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uperviso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Fabrication Shop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2</a:t>
            </a:r>
            <a:r>
              <a:rPr kumimoji="0" lang="en-US" sz="900" b="1" i="0" u="none" strike="noStrike" kern="1200" cap="none" spc="0" normalizeH="0" baseline="30000" noProof="0" dirty="0">
                <a:ln>
                  <a:noFill/>
                </a:ln>
                <a:solidFill>
                  <a:srgbClr val="000000"/>
                </a:solidFill>
                <a:effectLst/>
                <a:uLnTx/>
                <a:uFillTx/>
                <a:latin typeface="Arial"/>
                <a:ea typeface="ＭＳ Ｐゴシック"/>
                <a:cs typeface="+mn-cs"/>
              </a:rPr>
              <a:t>nd</a:t>
            </a: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 Shift</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Freda Alexander</a:t>
            </a:r>
          </a:p>
        </p:txBody>
      </p:sp>
      <p:sp>
        <p:nvSpPr>
          <p:cNvPr id="110" name="_s1065">
            <a:extLst>
              <a:ext uri="{FF2B5EF4-FFF2-40B4-BE49-F238E27FC236}">
                <a16:creationId xmlns:a16="http://schemas.microsoft.com/office/drawing/2014/main" id="{46510637-615E-40E6-AF9D-555257DD4837}"/>
              </a:ext>
            </a:extLst>
          </p:cNvPr>
          <p:cNvSpPr>
            <a:spLocks noChangeArrowheads="1"/>
          </p:cNvSpPr>
          <p:nvPr/>
        </p:nvSpPr>
        <p:spPr bwMode="auto">
          <a:xfrm>
            <a:off x="2256503" y="5420906"/>
            <a:ext cx="1143000" cy="594360"/>
          </a:xfrm>
          <a:prstGeom prst="roundRect">
            <a:avLst>
              <a:gd name="adj" fmla="val 16667"/>
            </a:avLst>
          </a:prstGeom>
          <a:solidFill>
            <a:srgbClr val="FFFF99"/>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uperviso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Engineering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ervices</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Nedra York</a:t>
            </a:r>
          </a:p>
        </p:txBody>
      </p:sp>
      <p:sp>
        <p:nvSpPr>
          <p:cNvPr id="47" name="_s1065">
            <a:extLst>
              <a:ext uri="{FF2B5EF4-FFF2-40B4-BE49-F238E27FC236}">
                <a16:creationId xmlns:a16="http://schemas.microsoft.com/office/drawing/2014/main" id="{3D227966-625F-4623-871A-4E2D7BB475AD}"/>
              </a:ext>
            </a:extLst>
          </p:cNvPr>
          <p:cNvSpPr>
            <a:spLocks noChangeArrowheads="1"/>
          </p:cNvSpPr>
          <p:nvPr/>
        </p:nvSpPr>
        <p:spPr bwMode="auto">
          <a:xfrm>
            <a:off x="5409452" y="1897875"/>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National Sales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Amit Modi</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8" name="_s1065">
            <a:extLst>
              <a:ext uri="{FF2B5EF4-FFF2-40B4-BE49-F238E27FC236}">
                <a16:creationId xmlns:a16="http://schemas.microsoft.com/office/drawing/2014/main" id="{F18EE90A-B5A6-4B8C-8228-97F0E7C5AFBE}"/>
              </a:ext>
            </a:extLst>
          </p:cNvPr>
          <p:cNvSpPr>
            <a:spLocks noChangeArrowheads="1"/>
          </p:cNvSpPr>
          <p:nvPr/>
        </p:nvSpPr>
        <p:spPr bwMode="auto">
          <a:xfrm>
            <a:off x="2327904" y="1899971"/>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ＭＳ Ｐゴシック"/>
                <a:cs typeface="+mn-cs"/>
              </a:rPr>
              <a:t>Manager Business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ＭＳ Ｐゴシック"/>
                <a:cs typeface="+mn-cs"/>
              </a:rPr>
              <a:t>Development</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ＭＳ Ｐゴシック"/>
                <a:cs typeface="+mn-cs"/>
              </a:rPr>
              <a:t>Transmission Division</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ＭＳ Ｐゴシック"/>
                <a:cs typeface="+mn-cs"/>
              </a:rPr>
              <a:t>Thermando Stephens</a:t>
            </a:r>
          </a:p>
        </p:txBody>
      </p:sp>
      <p:sp>
        <p:nvSpPr>
          <p:cNvPr id="50" name="_s1065">
            <a:extLst>
              <a:ext uri="{FF2B5EF4-FFF2-40B4-BE49-F238E27FC236}">
                <a16:creationId xmlns:a16="http://schemas.microsoft.com/office/drawing/2014/main" id="{E83EDA5F-33DD-4B05-81DA-EAB538ABE8F8}"/>
              </a:ext>
            </a:extLst>
          </p:cNvPr>
          <p:cNvSpPr>
            <a:spLocks noChangeArrowheads="1"/>
          </p:cNvSpPr>
          <p:nvPr/>
        </p:nvSpPr>
        <p:spPr bwMode="auto">
          <a:xfrm>
            <a:off x="10557124" y="1890574"/>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 Marketing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Communications &amp;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Operations</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ria Fischer</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126" name="Straight Connector 125">
            <a:extLst>
              <a:ext uri="{FF2B5EF4-FFF2-40B4-BE49-F238E27FC236}">
                <a16:creationId xmlns:a16="http://schemas.microsoft.com/office/drawing/2014/main" id="{EE2A6E98-80BD-4DED-831A-89692B091598}"/>
              </a:ext>
            </a:extLst>
          </p:cNvPr>
          <p:cNvCxnSpPr>
            <a:cxnSpLocks/>
          </p:cNvCxnSpPr>
          <p:nvPr/>
        </p:nvCxnSpPr>
        <p:spPr>
          <a:xfrm>
            <a:off x="596684" y="2183830"/>
            <a:ext cx="0" cy="3520440"/>
          </a:xfrm>
          <a:prstGeom prst="line">
            <a:avLst/>
          </a:prstGeom>
          <a:ln w="28575"/>
        </p:spPr>
        <p:style>
          <a:lnRef idx="1">
            <a:schemeClr val="dk1"/>
          </a:lnRef>
          <a:fillRef idx="0">
            <a:schemeClr val="dk1"/>
          </a:fillRef>
          <a:effectRef idx="0">
            <a:schemeClr val="dk1"/>
          </a:effectRef>
          <a:fontRef idx="minor">
            <a:schemeClr val="tx1"/>
          </a:fontRef>
        </p:style>
      </p:cxnSp>
      <p:sp>
        <p:nvSpPr>
          <p:cNvPr id="58" name="_s1065">
            <a:extLst>
              <a:ext uri="{FF2B5EF4-FFF2-40B4-BE49-F238E27FC236}">
                <a16:creationId xmlns:a16="http://schemas.microsoft.com/office/drawing/2014/main" id="{162E5A9C-BA05-4323-9417-E2E475F94729}"/>
              </a:ext>
            </a:extLst>
          </p:cNvPr>
          <p:cNvSpPr>
            <a:spLocks noChangeArrowheads="1"/>
          </p:cNvSpPr>
          <p:nvPr/>
        </p:nvSpPr>
        <p:spPr bwMode="auto">
          <a:xfrm>
            <a:off x="795070" y="4032752"/>
            <a:ext cx="1143000" cy="594360"/>
          </a:xfrm>
          <a:prstGeom prst="roundRect">
            <a:avLst>
              <a:gd name="adj" fmla="val 16667"/>
            </a:avLst>
          </a:prstGeom>
          <a:solidFill>
            <a:schemeClr val="accent6">
              <a:lumMod val="20000"/>
              <a:lumOff val="80000"/>
            </a:schemeClr>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uperviso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ＭＳ Ｐゴシック"/>
                <a:cs typeface="+mn-cs"/>
              </a:rPr>
              <a:t>Transmission Design</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Larry </a:t>
            </a:r>
            <a:r>
              <a:rPr kumimoji="0" lang="en-US" sz="900" b="1" i="0" u="none" strike="noStrike" kern="1200" cap="none" spc="0" normalizeH="0" baseline="0" noProof="0" dirty="0" err="1">
                <a:ln>
                  <a:noFill/>
                </a:ln>
                <a:solidFill>
                  <a:srgbClr val="000000"/>
                </a:solidFill>
                <a:effectLst/>
                <a:uLnTx/>
                <a:uFillTx/>
                <a:latin typeface="Arial"/>
                <a:ea typeface="ＭＳ Ｐゴシック"/>
                <a:cs typeface="+mn-cs"/>
              </a:rPr>
              <a:t>Beagan</a:t>
            </a:r>
            <a:endParaRPr kumimoji="0" lang="en-US" sz="900" b="1"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4" name="Straight Connector 43">
            <a:extLst>
              <a:ext uri="{FF2B5EF4-FFF2-40B4-BE49-F238E27FC236}">
                <a16:creationId xmlns:a16="http://schemas.microsoft.com/office/drawing/2014/main" id="{FF108B81-672D-42CE-9990-7C36F75A821F}"/>
              </a:ext>
            </a:extLst>
          </p:cNvPr>
          <p:cNvCxnSpPr>
            <a:cxnSpLocks/>
          </p:cNvCxnSpPr>
          <p:nvPr/>
        </p:nvCxnSpPr>
        <p:spPr>
          <a:xfrm flipH="1">
            <a:off x="10088507" y="2173726"/>
            <a:ext cx="8429" cy="381282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8D70D55-443C-42F0-92A1-8E02AF31D9FB}"/>
              </a:ext>
            </a:extLst>
          </p:cNvPr>
          <p:cNvCxnSpPr>
            <a:cxnSpLocks/>
          </p:cNvCxnSpPr>
          <p:nvPr/>
        </p:nvCxnSpPr>
        <p:spPr>
          <a:xfrm>
            <a:off x="4448087" y="1737835"/>
            <a:ext cx="1" cy="263067"/>
          </a:xfrm>
          <a:prstGeom prst="line">
            <a:avLst/>
          </a:prstGeom>
          <a:ln w="25400"/>
        </p:spPr>
        <p:style>
          <a:lnRef idx="1">
            <a:schemeClr val="dk1"/>
          </a:lnRef>
          <a:fillRef idx="0">
            <a:schemeClr val="dk1"/>
          </a:fillRef>
          <a:effectRef idx="0">
            <a:schemeClr val="dk1"/>
          </a:effectRef>
          <a:fontRef idx="minor">
            <a:schemeClr val="tx1"/>
          </a:fontRef>
        </p:style>
      </p:cxnSp>
      <p:sp>
        <p:nvSpPr>
          <p:cNvPr id="49" name="_s1065">
            <a:extLst>
              <a:ext uri="{FF2B5EF4-FFF2-40B4-BE49-F238E27FC236}">
                <a16:creationId xmlns:a16="http://schemas.microsoft.com/office/drawing/2014/main" id="{BB8769DD-93B6-44B5-9A80-F865040EC6A3}"/>
              </a:ext>
            </a:extLst>
          </p:cNvPr>
          <p:cNvSpPr>
            <a:spLocks noChangeArrowheads="1"/>
          </p:cNvSpPr>
          <p:nvPr/>
        </p:nvSpPr>
        <p:spPr bwMode="auto">
          <a:xfrm>
            <a:off x="3873099" y="1899971"/>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Product</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ustin Hane</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57" name="Straight Connector 56">
            <a:extLst>
              <a:ext uri="{FF2B5EF4-FFF2-40B4-BE49-F238E27FC236}">
                <a16:creationId xmlns:a16="http://schemas.microsoft.com/office/drawing/2014/main" id="{397A9F39-DAD3-4888-A3F3-047DD2E711A6}"/>
              </a:ext>
            </a:extLst>
          </p:cNvPr>
          <p:cNvCxnSpPr>
            <a:cxnSpLocks/>
          </p:cNvCxnSpPr>
          <p:nvPr/>
        </p:nvCxnSpPr>
        <p:spPr>
          <a:xfrm>
            <a:off x="6393724" y="1490174"/>
            <a:ext cx="0" cy="244695"/>
          </a:xfrm>
          <a:prstGeom prst="line">
            <a:avLst/>
          </a:prstGeom>
          <a:ln w="25400"/>
        </p:spPr>
        <p:style>
          <a:lnRef idx="1">
            <a:schemeClr val="dk1"/>
          </a:lnRef>
          <a:fillRef idx="0">
            <a:schemeClr val="dk1"/>
          </a:fillRef>
          <a:effectRef idx="0">
            <a:schemeClr val="dk1"/>
          </a:effectRef>
          <a:fontRef idx="minor">
            <a:schemeClr val="tx1"/>
          </a:fontRef>
        </p:style>
      </p:cxnSp>
      <p:sp>
        <p:nvSpPr>
          <p:cNvPr id="8" name="_s1048">
            <a:extLst>
              <a:ext uri="{FF2B5EF4-FFF2-40B4-BE49-F238E27FC236}">
                <a16:creationId xmlns:a16="http://schemas.microsoft.com/office/drawing/2014/main" id="{D9195898-5299-4EF8-BA1B-10F685FBCF58}"/>
              </a:ext>
            </a:extLst>
          </p:cNvPr>
          <p:cNvSpPr>
            <a:spLocks noChangeArrowheads="1"/>
          </p:cNvSpPr>
          <p:nvPr/>
        </p:nvSpPr>
        <p:spPr bwMode="auto">
          <a:xfrm>
            <a:off x="5838207" y="924365"/>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VP and GM</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witch Division</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Lon Hamilton</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62" name="Straight Connector 61">
            <a:extLst>
              <a:ext uri="{FF2B5EF4-FFF2-40B4-BE49-F238E27FC236}">
                <a16:creationId xmlns:a16="http://schemas.microsoft.com/office/drawing/2014/main" id="{3D7B8659-1712-4873-AD0F-33C2AF3CCCF9}"/>
              </a:ext>
            </a:extLst>
          </p:cNvPr>
          <p:cNvCxnSpPr>
            <a:cxnSpLocks/>
          </p:cNvCxnSpPr>
          <p:nvPr/>
        </p:nvCxnSpPr>
        <p:spPr>
          <a:xfrm flipV="1">
            <a:off x="596684" y="2195055"/>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D1BAECD-02D1-4B3B-80C3-057ED79C37B5}"/>
              </a:ext>
            </a:extLst>
          </p:cNvPr>
          <p:cNvCxnSpPr>
            <a:cxnSpLocks/>
          </p:cNvCxnSpPr>
          <p:nvPr/>
        </p:nvCxnSpPr>
        <p:spPr>
          <a:xfrm flipV="1">
            <a:off x="603782" y="2941192"/>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161679D-39A8-4502-B379-414278B5DC83}"/>
              </a:ext>
            </a:extLst>
          </p:cNvPr>
          <p:cNvCxnSpPr>
            <a:cxnSpLocks/>
          </p:cNvCxnSpPr>
          <p:nvPr/>
        </p:nvCxnSpPr>
        <p:spPr>
          <a:xfrm flipV="1">
            <a:off x="613736" y="3626574"/>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E704AE7-AE42-4A65-8E51-BC6E509DA5B2}"/>
              </a:ext>
            </a:extLst>
          </p:cNvPr>
          <p:cNvCxnSpPr>
            <a:cxnSpLocks/>
          </p:cNvCxnSpPr>
          <p:nvPr/>
        </p:nvCxnSpPr>
        <p:spPr>
          <a:xfrm flipV="1">
            <a:off x="603782" y="4298094"/>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DF65E835-CD20-441F-AF52-0D8C0B3B52AE}"/>
              </a:ext>
            </a:extLst>
          </p:cNvPr>
          <p:cNvCxnSpPr>
            <a:cxnSpLocks/>
          </p:cNvCxnSpPr>
          <p:nvPr/>
        </p:nvCxnSpPr>
        <p:spPr>
          <a:xfrm flipV="1">
            <a:off x="601980" y="5037269"/>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310F225-1C1C-43EB-817D-19FEA860EAAA}"/>
              </a:ext>
            </a:extLst>
          </p:cNvPr>
          <p:cNvCxnSpPr>
            <a:cxnSpLocks/>
            <a:stCxn id="43" idx="3"/>
          </p:cNvCxnSpPr>
          <p:nvPr/>
        </p:nvCxnSpPr>
        <p:spPr>
          <a:xfrm flipV="1">
            <a:off x="1924968" y="5714694"/>
            <a:ext cx="333522" cy="339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_s1065">
            <a:extLst>
              <a:ext uri="{FF2B5EF4-FFF2-40B4-BE49-F238E27FC236}">
                <a16:creationId xmlns:a16="http://schemas.microsoft.com/office/drawing/2014/main" id="{35B328F9-AEF7-4338-8D3C-80DE4A21296D}"/>
              </a:ext>
            </a:extLst>
          </p:cNvPr>
          <p:cNvSpPr>
            <a:spLocks noChangeArrowheads="1"/>
          </p:cNvSpPr>
          <p:nvPr/>
        </p:nvSpPr>
        <p:spPr bwMode="auto">
          <a:xfrm>
            <a:off x="8767971" y="4432873"/>
            <a:ext cx="1143000" cy="594360"/>
          </a:xfrm>
          <a:prstGeom prst="roundRect">
            <a:avLst>
              <a:gd name="adj" fmla="val 16667"/>
            </a:avLst>
          </a:prstGeom>
          <a:solidFill>
            <a:schemeClr val="accent6">
              <a:lumMod val="20000"/>
              <a:lumOff val="80000"/>
            </a:schemeClr>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ufacturing</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2</a:t>
            </a:r>
            <a:r>
              <a:rPr kumimoji="0" lang="en-US" sz="900" b="1" i="0" u="none" strike="noStrike" kern="1200" cap="none" spc="0" normalizeH="0" baseline="30000" noProof="0" dirty="0">
                <a:ln>
                  <a:noFill/>
                </a:ln>
                <a:solidFill>
                  <a:srgbClr val="000000"/>
                </a:solidFill>
                <a:effectLst/>
                <a:uLnTx/>
                <a:uFillTx/>
                <a:latin typeface="Arial"/>
                <a:ea typeface="ＭＳ Ｐゴシック"/>
                <a:cs typeface="+mn-cs"/>
              </a:rPr>
              <a:t>nd</a:t>
            </a: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 Shift</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errick Reid</a:t>
            </a:r>
          </a:p>
        </p:txBody>
      </p:sp>
      <p:cxnSp>
        <p:nvCxnSpPr>
          <p:cNvPr id="82" name="Straight Connector 81">
            <a:extLst>
              <a:ext uri="{FF2B5EF4-FFF2-40B4-BE49-F238E27FC236}">
                <a16:creationId xmlns:a16="http://schemas.microsoft.com/office/drawing/2014/main" id="{57E08843-ABD1-46CC-B301-1BC91FE80DC3}"/>
              </a:ext>
            </a:extLst>
          </p:cNvPr>
          <p:cNvCxnSpPr>
            <a:cxnSpLocks/>
          </p:cNvCxnSpPr>
          <p:nvPr/>
        </p:nvCxnSpPr>
        <p:spPr>
          <a:xfrm flipV="1">
            <a:off x="9911058" y="2176583"/>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FE478B2-3463-4899-9923-F958044E1673}"/>
              </a:ext>
            </a:extLst>
          </p:cNvPr>
          <p:cNvCxnSpPr>
            <a:cxnSpLocks/>
          </p:cNvCxnSpPr>
          <p:nvPr/>
        </p:nvCxnSpPr>
        <p:spPr>
          <a:xfrm flipV="1">
            <a:off x="9918156" y="2834804"/>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7EF2677-F938-4668-9ABC-DDB61721AE46}"/>
              </a:ext>
            </a:extLst>
          </p:cNvPr>
          <p:cNvCxnSpPr>
            <a:cxnSpLocks/>
          </p:cNvCxnSpPr>
          <p:nvPr/>
        </p:nvCxnSpPr>
        <p:spPr>
          <a:xfrm flipV="1">
            <a:off x="9909323" y="4104349"/>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8303E39-BB53-4E15-B594-D442979EB7A9}"/>
              </a:ext>
            </a:extLst>
          </p:cNvPr>
          <p:cNvCxnSpPr>
            <a:cxnSpLocks/>
          </p:cNvCxnSpPr>
          <p:nvPr/>
        </p:nvCxnSpPr>
        <p:spPr>
          <a:xfrm flipV="1">
            <a:off x="9917753" y="3483983"/>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36D9E71-110D-4A6B-96CA-1BF2495AB4BD}"/>
              </a:ext>
            </a:extLst>
          </p:cNvPr>
          <p:cNvCxnSpPr>
            <a:cxnSpLocks/>
          </p:cNvCxnSpPr>
          <p:nvPr/>
        </p:nvCxnSpPr>
        <p:spPr>
          <a:xfrm flipV="1">
            <a:off x="9917502" y="4728344"/>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780A79AC-DC0C-4CB7-AE91-CA773A34DD09}"/>
              </a:ext>
            </a:extLst>
          </p:cNvPr>
          <p:cNvCxnSpPr>
            <a:cxnSpLocks/>
          </p:cNvCxnSpPr>
          <p:nvPr/>
        </p:nvCxnSpPr>
        <p:spPr>
          <a:xfrm flipV="1">
            <a:off x="9919748" y="5382457"/>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28F7FE7-AA47-4002-871C-A470B1CD2185}"/>
              </a:ext>
            </a:extLst>
          </p:cNvPr>
          <p:cNvCxnSpPr>
            <a:cxnSpLocks/>
          </p:cNvCxnSpPr>
          <p:nvPr/>
        </p:nvCxnSpPr>
        <p:spPr>
          <a:xfrm flipV="1">
            <a:off x="9910321" y="5974254"/>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_s1065">
            <a:extLst>
              <a:ext uri="{FF2B5EF4-FFF2-40B4-BE49-F238E27FC236}">
                <a16:creationId xmlns:a16="http://schemas.microsoft.com/office/drawing/2014/main" id="{9F9089D6-56E3-4740-AA88-6BACF7915464}"/>
              </a:ext>
            </a:extLst>
          </p:cNvPr>
          <p:cNvSpPr>
            <a:spLocks noChangeArrowheads="1"/>
          </p:cNvSpPr>
          <p:nvPr/>
        </p:nvSpPr>
        <p:spPr bwMode="auto">
          <a:xfrm>
            <a:off x="7213491" y="3798096"/>
            <a:ext cx="1143000" cy="594360"/>
          </a:xfrm>
          <a:prstGeom prst="roundRect">
            <a:avLst>
              <a:gd name="adj" fmla="val 16667"/>
            </a:avLst>
          </a:prstGeom>
          <a:solidFill>
            <a:srgbClr val="FFFF99"/>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uperviso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Final Assembly</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1st Shift</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Billy Rice</a:t>
            </a:r>
          </a:p>
        </p:txBody>
      </p:sp>
      <p:sp>
        <p:nvSpPr>
          <p:cNvPr id="69" name="_s1065">
            <a:extLst>
              <a:ext uri="{FF2B5EF4-FFF2-40B4-BE49-F238E27FC236}">
                <a16:creationId xmlns:a16="http://schemas.microsoft.com/office/drawing/2014/main" id="{CE551D54-DB69-4EFD-B116-EB589A2B0007}"/>
              </a:ext>
            </a:extLst>
          </p:cNvPr>
          <p:cNvSpPr>
            <a:spLocks noChangeArrowheads="1"/>
          </p:cNvSpPr>
          <p:nvPr/>
        </p:nvSpPr>
        <p:spPr bwMode="auto">
          <a:xfrm>
            <a:off x="7229287" y="5101273"/>
            <a:ext cx="1143000" cy="594360"/>
          </a:xfrm>
          <a:prstGeom prst="roundRect">
            <a:avLst>
              <a:gd name="adj" fmla="val 16667"/>
            </a:avLst>
          </a:prstGeom>
          <a:solidFill>
            <a:srgbClr val="FFFF99"/>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uperviso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Op Mech</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1st Shift</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rial"/>
                <a:ea typeface="ＭＳ Ｐゴシック"/>
                <a:cs typeface="+mn-cs"/>
              </a:rPr>
              <a:t>Elizabeth Edmonson </a:t>
            </a:r>
          </a:p>
        </p:txBody>
      </p:sp>
      <p:cxnSp>
        <p:nvCxnSpPr>
          <p:cNvPr id="72" name="Straight Connector 71">
            <a:extLst>
              <a:ext uri="{FF2B5EF4-FFF2-40B4-BE49-F238E27FC236}">
                <a16:creationId xmlns:a16="http://schemas.microsoft.com/office/drawing/2014/main" id="{05FC5DBC-903E-40A4-A343-AFD37AE1B5D0}"/>
              </a:ext>
            </a:extLst>
          </p:cNvPr>
          <p:cNvCxnSpPr>
            <a:cxnSpLocks/>
          </p:cNvCxnSpPr>
          <p:nvPr/>
        </p:nvCxnSpPr>
        <p:spPr>
          <a:xfrm flipV="1">
            <a:off x="8767971" y="2229444"/>
            <a:ext cx="247974" cy="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247F8BE-1F74-4EDA-8AF6-E55A011DE4D2}"/>
              </a:ext>
            </a:extLst>
          </p:cNvPr>
          <p:cNvCxnSpPr>
            <a:cxnSpLocks/>
          </p:cNvCxnSpPr>
          <p:nvPr/>
        </p:nvCxnSpPr>
        <p:spPr>
          <a:xfrm flipV="1">
            <a:off x="594124" y="5698717"/>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97BFA0E8-283D-4C6C-885D-D6582061FACB}"/>
              </a:ext>
            </a:extLst>
          </p:cNvPr>
          <p:cNvCxnSpPr>
            <a:cxnSpLocks/>
          </p:cNvCxnSpPr>
          <p:nvPr/>
        </p:nvCxnSpPr>
        <p:spPr>
          <a:xfrm>
            <a:off x="6005238" y="2480394"/>
            <a:ext cx="1" cy="263067"/>
          </a:xfrm>
          <a:prstGeom prst="line">
            <a:avLst/>
          </a:prstGeom>
          <a:ln w="25400"/>
        </p:spPr>
        <p:style>
          <a:lnRef idx="1">
            <a:schemeClr val="dk1"/>
          </a:lnRef>
          <a:fillRef idx="0">
            <a:schemeClr val="dk1"/>
          </a:fillRef>
          <a:effectRef idx="0">
            <a:schemeClr val="dk1"/>
          </a:effectRef>
          <a:fontRef idx="minor">
            <a:schemeClr val="tx1"/>
          </a:fontRef>
        </p:style>
      </p:cxnSp>
      <p:sp>
        <p:nvSpPr>
          <p:cNvPr id="42" name="_s1065">
            <a:extLst>
              <a:ext uri="{FF2B5EF4-FFF2-40B4-BE49-F238E27FC236}">
                <a16:creationId xmlns:a16="http://schemas.microsoft.com/office/drawing/2014/main" id="{DEC395BF-A0C6-44F3-94AB-79ED335A43E3}"/>
              </a:ext>
            </a:extLst>
          </p:cNvPr>
          <p:cNvSpPr>
            <a:spLocks noChangeArrowheads="1"/>
          </p:cNvSpPr>
          <p:nvPr/>
        </p:nvSpPr>
        <p:spPr bwMode="auto">
          <a:xfrm>
            <a:off x="5433738" y="2652366"/>
            <a:ext cx="1143000" cy="594360"/>
          </a:xfrm>
          <a:prstGeom prst="roundRect">
            <a:avLst>
              <a:gd name="adj" fmla="val 16667"/>
            </a:avLst>
          </a:prstGeom>
          <a:solidFill>
            <a:srgbClr val="FFFF99"/>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uperviso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ales Coordination</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Dodie Cason</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75" name="Straight Connector 74">
            <a:extLst>
              <a:ext uri="{FF2B5EF4-FFF2-40B4-BE49-F238E27FC236}">
                <a16:creationId xmlns:a16="http://schemas.microsoft.com/office/drawing/2014/main" id="{EC085015-F839-4E67-8158-1DF004A8408F}"/>
              </a:ext>
            </a:extLst>
          </p:cNvPr>
          <p:cNvCxnSpPr>
            <a:cxnSpLocks/>
          </p:cNvCxnSpPr>
          <p:nvPr/>
        </p:nvCxnSpPr>
        <p:spPr>
          <a:xfrm>
            <a:off x="7035812" y="2828067"/>
            <a:ext cx="6329" cy="1898653"/>
          </a:xfrm>
          <a:prstGeom prst="line">
            <a:avLst/>
          </a:prstGeom>
          <a:ln w="28575"/>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35FC008B-C6BE-4DA5-959D-4916DA6B521D}"/>
              </a:ext>
            </a:extLst>
          </p:cNvPr>
          <p:cNvCxnSpPr>
            <a:cxnSpLocks/>
          </p:cNvCxnSpPr>
          <p:nvPr/>
        </p:nvCxnSpPr>
        <p:spPr>
          <a:xfrm flipV="1">
            <a:off x="7035812" y="2839293"/>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D25E83D-4095-4794-8E6F-4CD9A647C4EB}"/>
              </a:ext>
            </a:extLst>
          </p:cNvPr>
          <p:cNvCxnSpPr>
            <a:cxnSpLocks/>
          </p:cNvCxnSpPr>
          <p:nvPr/>
        </p:nvCxnSpPr>
        <p:spPr>
          <a:xfrm flipV="1">
            <a:off x="7044513" y="3449598"/>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E060B01-38BD-403C-90CA-9E3E43BEEE0E}"/>
              </a:ext>
            </a:extLst>
          </p:cNvPr>
          <p:cNvCxnSpPr>
            <a:cxnSpLocks/>
          </p:cNvCxnSpPr>
          <p:nvPr/>
        </p:nvCxnSpPr>
        <p:spPr>
          <a:xfrm flipV="1">
            <a:off x="7033346" y="4108354"/>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A8E5286-6C7B-4333-9B8C-8DDAC2A4A77E}"/>
              </a:ext>
            </a:extLst>
          </p:cNvPr>
          <p:cNvCxnSpPr>
            <a:cxnSpLocks/>
          </p:cNvCxnSpPr>
          <p:nvPr/>
        </p:nvCxnSpPr>
        <p:spPr>
          <a:xfrm flipV="1">
            <a:off x="7033252" y="4726720"/>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_s1065">
            <a:extLst>
              <a:ext uri="{FF2B5EF4-FFF2-40B4-BE49-F238E27FC236}">
                <a16:creationId xmlns:a16="http://schemas.microsoft.com/office/drawing/2014/main" id="{9BC9A4A1-F231-409B-B512-BBF1C05D9C1C}"/>
              </a:ext>
            </a:extLst>
          </p:cNvPr>
          <p:cNvSpPr>
            <a:spLocks noChangeArrowheads="1"/>
          </p:cNvSpPr>
          <p:nvPr/>
        </p:nvSpPr>
        <p:spPr bwMode="auto">
          <a:xfrm>
            <a:off x="7213491" y="4438312"/>
            <a:ext cx="1143000" cy="594360"/>
          </a:xfrm>
          <a:prstGeom prst="roundRect">
            <a:avLst>
              <a:gd name="adj" fmla="val 16667"/>
            </a:avLst>
          </a:prstGeom>
          <a:solidFill>
            <a:srgbClr val="FFFF99"/>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uperviso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Transmission </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Assembly 1st Shift</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Chris Hilton</a:t>
            </a:r>
          </a:p>
        </p:txBody>
      </p:sp>
      <p:sp>
        <p:nvSpPr>
          <p:cNvPr id="94" name="_s1065">
            <a:extLst>
              <a:ext uri="{FF2B5EF4-FFF2-40B4-BE49-F238E27FC236}">
                <a16:creationId xmlns:a16="http://schemas.microsoft.com/office/drawing/2014/main" id="{54224432-240B-4710-BA94-219610CB8D7B}"/>
              </a:ext>
            </a:extLst>
          </p:cNvPr>
          <p:cNvSpPr>
            <a:spLocks noChangeArrowheads="1"/>
          </p:cNvSpPr>
          <p:nvPr/>
        </p:nvSpPr>
        <p:spPr bwMode="auto">
          <a:xfrm>
            <a:off x="7222699" y="5782609"/>
            <a:ext cx="1143000" cy="594360"/>
          </a:xfrm>
          <a:prstGeom prst="roundRect">
            <a:avLst>
              <a:gd name="adj" fmla="val 16667"/>
            </a:avLst>
          </a:prstGeom>
          <a:solidFill>
            <a:srgbClr val="FFFF99"/>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uperviso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hipping</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1st Shift</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Sola Collins</a:t>
            </a:r>
          </a:p>
        </p:txBody>
      </p:sp>
      <p:cxnSp>
        <p:nvCxnSpPr>
          <p:cNvPr id="98" name="Straight Connector 97">
            <a:extLst>
              <a:ext uri="{FF2B5EF4-FFF2-40B4-BE49-F238E27FC236}">
                <a16:creationId xmlns:a16="http://schemas.microsoft.com/office/drawing/2014/main" id="{7ED5AD02-D698-477B-9105-57F9B2D51E78}"/>
              </a:ext>
            </a:extLst>
          </p:cNvPr>
          <p:cNvCxnSpPr>
            <a:cxnSpLocks/>
          </p:cNvCxnSpPr>
          <p:nvPr/>
        </p:nvCxnSpPr>
        <p:spPr>
          <a:xfrm flipV="1">
            <a:off x="8581680" y="4104349"/>
            <a:ext cx="178186" cy="10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0C81E53-B096-49B5-AF68-C676CEDF5BE0}"/>
              </a:ext>
            </a:extLst>
          </p:cNvPr>
          <p:cNvCxnSpPr>
            <a:cxnSpLocks/>
          </p:cNvCxnSpPr>
          <p:nvPr/>
        </p:nvCxnSpPr>
        <p:spPr>
          <a:xfrm>
            <a:off x="8595121" y="4108354"/>
            <a:ext cx="12081" cy="1971435"/>
          </a:xfrm>
          <a:prstGeom prst="line">
            <a:avLst/>
          </a:prstGeom>
          <a:ln w="28575"/>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0A422005-AAAD-401C-8A16-0254B389D8CC}"/>
              </a:ext>
            </a:extLst>
          </p:cNvPr>
          <p:cNvCxnSpPr>
            <a:cxnSpLocks/>
            <a:stCxn id="94" idx="3"/>
          </p:cNvCxnSpPr>
          <p:nvPr/>
        </p:nvCxnSpPr>
        <p:spPr>
          <a:xfrm>
            <a:off x="8365699" y="6079789"/>
            <a:ext cx="238905" cy="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426B89AC-AB0C-43B0-8C6D-7001C1A27BBE}"/>
              </a:ext>
            </a:extLst>
          </p:cNvPr>
          <p:cNvCxnSpPr>
            <a:cxnSpLocks/>
          </p:cNvCxnSpPr>
          <p:nvPr/>
        </p:nvCxnSpPr>
        <p:spPr>
          <a:xfrm>
            <a:off x="8473251" y="2208073"/>
            <a:ext cx="8403" cy="609018"/>
          </a:xfrm>
          <a:prstGeom prst="line">
            <a:avLst/>
          </a:prstGeom>
          <a:ln w="28575"/>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A2BE79F7-FDCB-485F-B40F-2EB053A7FCDE}"/>
              </a:ext>
            </a:extLst>
          </p:cNvPr>
          <p:cNvCxnSpPr>
            <a:cxnSpLocks/>
          </p:cNvCxnSpPr>
          <p:nvPr/>
        </p:nvCxnSpPr>
        <p:spPr>
          <a:xfrm flipV="1">
            <a:off x="8468732" y="2206154"/>
            <a:ext cx="333522" cy="339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EF02BFB-A55F-4AC1-A492-74FD99FE7069}"/>
              </a:ext>
            </a:extLst>
          </p:cNvPr>
          <p:cNvCxnSpPr>
            <a:cxnSpLocks/>
          </p:cNvCxnSpPr>
          <p:nvPr/>
        </p:nvCxnSpPr>
        <p:spPr>
          <a:xfrm>
            <a:off x="8319547" y="2827186"/>
            <a:ext cx="16716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_s1065">
            <a:extLst>
              <a:ext uri="{FF2B5EF4-FFF2-40B4-BE49-F238E27FC236}">
                <a16:creationId xmlns:a16="http://schemas.microsoft.com/office/drawing/2014/main" id="{9F21B88A-4BDE-4D92-A30B-AF4011939896}"/>
              </a:ext>
            </a:extLst>
          </p:cNvPr>
          <p:cNvSpPr>
            <a:spLocks noChangeArrowheads="1"/>
          </p:cNvSpPr>
          <p:nvPr/>
        </p:nvSpPr>
        <p:spPr bwMode="auto">
          <a:xfrm>
            <a:off x="7213491" y="2539242"/>
            <a:ext cx="1143000" cy="594360"/>
          </a:xfrm>
          <a:prstGeom prst="roundRect">
            <a:avLst>
              <a:gd name="adj" fmla="val 16667"/>
            </a:avLst>
          </a:prstGeom>
          <a:solidFill>
            <a:schemeClr val="accent6">
              <a:lumMod val="20000"/>
              <a:lumOff val="80000"/>
            </a:schemeClr>
          </a:soli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 Assembly</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 Operations</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John Stephens</a:t>
            </a:r>
          </a:p>
        </p:txBody>
      </p:sp>
      <p:sp>
        <p:nvSpPr>
          <p:cNvPr id="41" name="_s1065">
            <a:extLst>
              <a:ext uri="{FF2B5EF4-FFF2-40B4-BE49-F238E27FC236}">
                <a16:creationId xmlns:a16="http://schemas.microsoft.com/office/drawing/2014/main" id="{6C75478C-D9D3-4D25-A6B1-FD03FB37F31E}"/>
              </a:ext>
            </a:extLst>
          </p:cNvPr>
          <p:cNvSpPr>
            <a:spLocks noChangeArrowheads="1"/>
          </p:cNvSpPr>
          <p:nvPr/>
        </p:nvSpPr>
        <p:spPr bwMode="auto">
          <a:xfrm>
            <a:off x="8767971" y="1899971"/>
            <a:ext cx="1143000" cy="594360"/>
          </a:xfrm>
          <a:prstGeom prst="roundRect">
            <a:avLst>
              <a:gd name="adj" fmla="val 166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8575">
            <a:solidFill>
              <a:schemeClr val="accent1">
                <a:lumMod val="50000"/>
              </a:schemeClr>
            </a:solidFill>
            <a:round/>
            <a:headEnd/>
            <a:tailEnd/>
          </a:ln>
        </p:spPr>
        <p:txBody>
          <a:bodyPr wrap="none" lIns="0" tIns="0" rIns="0" bIns="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Manager</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Operations</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ＭＳ Ｐゴシック"/>
                <a:cs typeface="+mn-cs"/>
              </a:rPr>
              <a:t>Greg Priest</a:t>
            </a:r>
            <a:endParaRPr kumimoji="0" lang="en-US" sz="9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114" name="Straight Connector 113">
            <a:extLst>
              <a:ext uri="{FF2B5EF4-FFF2-40B4-BE49-F238E27FC236}">
                <a16:creationId xmlns:a16="http://schemas.microsoft.com/office/drawing/2014/main" id="{8DE27CC4-FF14-4F47-9DFD-93DBE1C9FE6C}"/>
              </a:ext>
            </a:extLst>
          </p:cNvPr>
          <p:cNvCxnSpPr>
            <a:cxnSpLocks/>
          </p:cNvCxnSpPr>
          <p:nvPr/>
        </p:nvCxnSpPr>
        <p:spPr>
          <a:xfrm>
            <a:off x="8447818" y="3446028"/>
            <a:ext cx="330877"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CCBEF7C4-30A6-40D1-B81C-C3E9A3C1A525}"/>
              </a:ext>
            </a:extLst>
          </p:cNvPr>
          <p:cNvCxnSpPr>
            <a:cxnSpLocks/>
          </p:cNvCxnSpPr>
          <p:nvPr/>
        </p:nvCxnSpPr>
        <p:spPr>
          <a:xfrm>
            <a:off x="8447375" y="3445474"/>
            <a:ext cx="7159" cy="1964849"/>
          </a:xfrm>
          <a:prstGeom prst="line">
            <a:avLst/>
          </a:prstGeom>
          <a:ln w="28575"/>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1B9993A0-0C2D-40BE-8E2F-DE65B24F6E0D}"/>
              </a:ext>
            </a:extLst>
          </p:cNvPr>
          <p:cNvCxnSpPr>
            <a:cxnSpLocks/>
          </p:cNvCxnSpPr>
          <p:nvPr/>
        </p:nvCxnSpPr>
        <p:spPr>
          <a:xfrm>
            <a:off x="8353732" y="5410323"/>
            <a:ext cx="104771"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5026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b="1" i="0" dirty="0">
                <a:solidFill>
                  <a:schemeClr val="tx1"/>
                </a:solidFill>
                <a:latin typeface="Calibri" panose="020F0502020204030204" pitchFamily="34" charset="0"/>
                <a:ea typeface="Calibri" panose="020F0502020204030204" pitchFamily="34" charset="0"/>
                <a:cs typeface="Calibri" panose="020F0502020204030204" pitchFamily="34" charset="0"/>
              </a:rPr>
              <a:t>Switch Division Product Focus </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srgbClr val="333333">
                    <a:tint val="75000"/>
                  </a:srgb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101600" y="6295268"/>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aphicFrame>
        <p:nvGraphicFramePr>
          <p:cNvPr id="12" name="Diagram 11">
            <a:extLst>
              <a:ext uri="{FF2B5EF4-FFF2-40B4-BE49-F238E27FC236}">
                <a16:creationId xmlns:a16="http://schemas.microsoft.com/office/drawing/2014/main" id="{951CB63D-7EED-4038-8094-B71645969B73}"/>
              </a:ext>
            </a:extLst>
          </p:cNvPr>
          <p:cNvGraphicFramePr/>
          <p:nvPr>
            <p:extLst>
              <p:ext uri="{D42A27DB-BD31-4B8C-83A1-F6EECF244321}">
                <p14:modId xmlns:p14="http://schemas.microsoft.com/office/powerpoint/2010/main" val="458682213"/>
              </p:ext>
            </p:extLst>
          </p:nvPr>
        </p:nvGraphicFramePr>
        <p:xfrm>
          <a:off x="3344329" y="1030645"/>
          <a:ext cx="5658282" cy="525544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071724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02" name="Rectangle 2"/>
          <p:cNvSpPr>
            <a:spLocks noGrp="1" noChangeArrowheads="1"/>
          </p:cNvSpPr>
          <p:nvPr>
            <p:ph type="title"/>
          </p:nvPr>
        </p:nvSpPr>
        <p:spPr>
          <a:xfrm>
            <a:off x="406400" y="274638"/>
            <a:ext cx="11684000" cy="868362"/>
          </a:xfrm>
        </p:spPr>
        <p:txBody>
          <a:bodyPr>
            <a:normAutofit/>
          </a:bodyPr>
          <a:lstStyle/>
          <a:p>
            <a:pPr>
              <a:defRPr/>
            </a:pPr>
            <a:r>
              <a:rPr lang="en-US" sz="3600" b="1" i="0" dirty="0">
                <a:solidFill>
                  <a:schemeClr val="tx1"/>
                </a:solidFill>
                <a:latin typeface="Calibri" panose="020F0502020204030204" pitchFamily="34" charset="0"/>
                <a:ea typeface="Calibri" panose="020F0502020204030204" pitchFamily="34" charset="0"/>
                <a:cs typeface="Calibri" panose="020F0502020204030204" pitchFamily="34" charset="0"/>
              </a:rPr>
              <a:t>Switch Division Market Focus </a:t>
            </a:r>
          </a:p>
        </p:txBody>
      </p:sp>
      <p:sp>
        <p:nvSpPr>
          <p:cNvPr id="4" name="Slide Number Placeholder 3"/>
          <p:cNvSpPr>
            <a:spLocks noGrp="1"/>
          </p:cNvSpPr>
          <p:nvPr>
            <p:ph type="sldNum" sz="quarter" idx="4"/>
          </p:nvPr>
        </p:nvSpPr>
        <p:spPr>
          <a:xfrm>
            <a:off x="11277600" y="6492875"/>
            <a:ext cx="812800"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7B53D6F-C4CB-420C-A086-675310C7E811}" type="slidenum">
              <a:rPr kumimoji="0" lang="en-US" sz="1000" b="1" i="1" u="none" strike="noStrike" kern="1200" cap="none" spc="0" normalizeH="0" baseline="0" noProof="0" smtClean="0">
                <a:ln>
                  <a:noFill/>
                </a:ln>
                <a:solidFill>
                  <a:srgbClr val="333333">
                    <a:tint val="75000"/>
                  </a:srgb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00" b="1"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6993746-A424-4F09-867F-B919F4E18ECB}"/>
              </a:ext>
            </a:extLst>
          </p:cNvPr>
          <p:cNvSpPr>
            <a:spLocks noGrp="1"/>
          </p:cNvSpPr>
          <p:nvPr>
            <p:ph idx="1"/>
          </p:nvPr>
        </p:nvSpPr>
        <p:spPr>
          <a:xfrm>
            <a:off x="612647" y="1444752"/>
            <a:ext cx="10954041" cy="4978738"/>
          </a:xfrm>
        </p:spPr>
        <p:txBody>
          <a:bodyPr>
            <a:normAutofit/>
          </a:bodyPr>
          <a:lstStyle/>
          <a:p>
            <a:pPr marL="342900" lvl="1" indent="-342900">
              <a:lnSpc>
                <a:spcPct val="100000"/>
              </a:lnSpc>
              <a:spcBef>
                <a:spcPts val="0"/>
              </a:spcBef>
              <a:buClr>
                <a:schemeClr val="tx1"/>
              </a:buClr>
              <a:buSzPct val="100000"/>
              <a:buFont typeface="Wingdings" panose="05000000000000000000" pitchFamily="2" charset="2"/>
              <a:buChar char="Ø"/>
            </a:pPr>
            <a:r>
              <a:rPr lang="en-US" dirty="0">
                <a:latin typeface="Calibri" panose="020F0502020204030204" pitchFamily="34" charset="0"/>
                <a:ea typeface="Calibri" panose="020F0502020204030204" pitchFamily="34" charset="0"/>
                <a:cs typeface="Calibri" panose="020F0502020204030204" pitchFamily="34" charset="0"/>
              </a:rPr>
              <a:t>Disconnect / Ground Switches</a:t>
            </a:r>
          </a:p>
          <a:p>
            <a:pPr marL="685800" lvl="1" indent="-342900">
              <a:lnSpc>
                <a:spcPct val="10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Largest product basket of disconnect switches in the US market</a:t>
            </a:r>
          </a:p>
          <a:p>
            <a:pPr lvl="2" indent="-342900">
              <a:lnSpc>
                <a:spcPct val="100000"/>
              </a:lnSpc>
              <a:spcBef>
                <a:spcPts val="0"/>
              </a:spcBef>
              <a:buClr>
                <a:srgbClr val="0070C0"/>
              </a:buClr>
              <a:buFont typeface="Calibri" panose="020F0502020204030204" pitchFamily="34" charset="0"/>
              <a:buChar char="­"/>
            </a:pPr>
            <a:r>
              <a:rPr lang="en-US" sz="1600" dirty="0">
                <a:solidFill>
                  <a:srgbClr val="0070C0"/>
                </a:solidFill>
                <a:latin typeface="Calibri" panose="020F0502020204030204" pitchFamily="34" charset="0"/>
                <a:ea typeface="Calibri" panose="020F0502020204030204" pitchFamily="34" charset="0"/>
                <a:cs typeface="Calibri" panose="020F0502020204030204" pitchFamily="34" charset="0"/>
              </a:rPr>
              <a:t>Largest in the world when considering our partnership with Coelme / </a:t>
            </a:r>
            <a:r>
              <a:rPr lang="en-US" sz="1600" dirty="0" err="1">
                <a:solidFill>
                  <a:srgbClr val="0070C0"/>
                </a:solidFill>
                <a:latin typeface="Calibri" panose="020F0502020204030204" pitchFamily="34" charset="0"/>
                <a:ea typeface="Calibri" panose="020F0502020204030204" pitchFamily="34" charset="0"/>
                <a:cs typeface="Calibri" panose="020F0502020204030204" pitchFamily="34" charset="0"/>
              </a:rPr>
              <a:t>egic</a:t>
            </a:r>
            <a:endParaRPr lang="en-US" sz="1400"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342900" lvl="1" indent="-342900">
              <a:lnSpc>
                <a:spcPct val="100000"/>
              </a:lnSpc>
              <a:spcBef>
                <a:spcPts val="0"/>
              </a:spcBef>
              <a:buClr>
                <a:schemeClr val="tx1"/>
              </a:buClr>
              <a:buSzPct val="100000"/>
              <a:buFont typeface="Wingdings" panose="05000000000000000000" pitchFamily="2" charset="2"/>
              <a:buChar char="Ø"/>
            </a:pPr>
            <a:r>
              <a:rPr lang="en-US" dirty="0">
                <a:latin typeface="Calibri" panose="020F0502020204030204" pitchFamily="34" charset="0"/>
                <a:ea typeface="Calibri" panose="020F0502020204030204" pitchFamily="34" charset="0"/>
                <a:cs typeface="Calibri" panose="020F0502020204030204" pitchFamily="34" charset="0"/>
              </a:rPr>
              <a:t>Special Purpose Devices</a:t>
            </a:r>
          </a:p>
          <a:p>
            <a:pPr marL="685800" lvl="1" indent="-342900">
              <a:lnSpc>
                <a:spcPct val="10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MACI</a:t>
            </a:r>
          </a:p>
          <a:p>
            <a:pPr marL="685800" lvl="1" indent="-342900">
              <a:lnSpc>
                <a:spcPct val="10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LBI</a:t>
            </a:r>
          </a:p>
          <a:p>
            <a:pPr marL="685800" lvl="1" indent="-342900">
              <a:lnSpc>
                <a:spcPct val="10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SIS</a:t>
            </a:r>
          </a:p>
          <a:p>
            <a:pPr marL="685800" lvl="1" indent="-342900">
              <a:lnSpc>
                <a:spcPct val="10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ICS / Far Field</a:t>
            </a:r>
          </a:p>
          <a:p>
            <a:pPr marL="342900" lvl="1" indent="-342900">
              <a:lnSpc>
                <a:spcPct val="100000"/>
              </a:lnSpc>
              <a:spcBef>
                <a:spcPts val="0"/>
              </a:spcBef>
              <a:buClr>
                <a:schemeClr val="tx1"/>
              </a:buClr>
              <a:buSzPct val="100000"/>
              <a:buFont typeface="Wingdings" panose="05000000000000000000" pitchFamily="2" charset="2"/>
              <a:buChar char="Ø"/>
            </a:pPr>
            <a:r>
              <a:rPr lang="en-US" dirty="0">
                <a:latin typeface="Calibri" panose="020F0502020204030204" pitchFamily="34" charset="0"/>
                <a:ea typeface="Calibri" panose="020F0502020204030204" pitchFamily="34" charset="0"/>
                <a:cs typeface="Calibri" panose="020F0502020204030204" pitchFamily="34" charset="0"/>
              </a:rPr>
              <a:t>Flexibility</a:t>
            </a:r>
          </a:p>
          <a:p>
            <a:pPr marL="685800" lvl="1" indent="-342900">
              <a:lnSpc>
                <a:spcPct val="100000"/>
              </a:lnSpc>
              <a:spcBef>
                <a:spcPts val="0"/>
              </a:spcBef>
              <a:buClr>
                <a:srgbClr val="A20000"/>
              </a:buClr>
              <a:buFont typeface="Arial" panose="020B0604020202020204" pitchFamily="34" charset="0"/>
              <a:buChar char="•"/>
            </a:pPr>
            <a:r>
              <a:rPr lang="en-US" sz="2000" dirty="0">
                <a:solidFill>
                  <a:srgbClr val="A20000"/>
                </a:solidFill>
                <a:latin typeface="Calibri" panose="020F0502020204030204" pitchFamily="34" charset="0"/>
                <a:ea typeface="Calibri" panose="020F0502020204030204" pitchFamily="34" charset="0"/>
                <a:cs typeface="Calibri" panose="020F0502020204030204" pitchFamily="34" charset="0"/>
              </a:rPr>
              <a:t>SSLLC has always prided itself on being the most flexible company to work with as it relates to both up front sales activities, but also within design and new offerings</a:t>
            </a:r>
          </a:p>
          <a:p>
            <a:pPr marL="342900" lvl="1" indent="0">
              <a:lnSpc>
                <a:spcPct val="100000"/>
              </a:lnSpc>
              <a:spcBef>
                <a:spcPts val="0"/>
              </a:spcBef>
              <a:buClr>
                <a:srgbClr val="A20000"/>
              </a:buClr>
              <a:buNone/>
            </a:pPr>
            <a:endParaRPr lang="en-US" sz="1800" dirty="0">
              <a:solidFill>
                <a:srgbClr val="A20000"/>
              </a:solidFill>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descr="A logo with a black background&#10;&#10;Description automatically generated">
            <a:extLst>
              <a:ext uri="{FF2B5EF4-FFF2-40B4-BE49-F238E27FC236}">
                <a16:creationId xmlns:a16="http://schemas.microsoft.com/office/drawing/2014/main" id="{E2090744-1273-4DE4-9F8B-73E3F5C181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9926" y="214045"/>
            <a:ext cx="2197848" cy="928955"/>
          </a:xfrm>
          <a:prstGeom prst="rect">
            <a:avLst/>
          </a:prstGeom>
        </p:spPr>
      </p:pic>
      <p:grpSp>
        <p:nvGrpSpPr>
          <p:cNvPr id="6" name="Group 1058">
            <a:extLst>
              <a:ext uri="{FF2B5EF4-FFF2-40B4-BE49-F238E27FC236}">
                <a16:creationId xmlns:a16="http://schemas.microsoft.com/office/drawing/2014/main" id="{E76402A8-38B8-4FCE-8F15-0DB21044F695}"/>
              </a:ext>
            </a:extLst>
          </p:cNvPr>
          <p:cNvGrpSpPr>
            <a:grpSpLocks/>
          </p:cNvGrpSpPr>
          <p:nvPr/>
        </p:nvGrpSpPr>
        <p:grpSpPr bwMode="auto">
          <a:xfrm>
            <a:off x="-3785" y="6361835"/>
            <a:ext cx="12192000" cy="191367"/>
            <a:chOff x="0" y="-1"/>
            <a:chExt cx="5760" cy="144"/>
          </a:xfrm>
        </p:grpSpPr>
        <p:sp>
          <p:nvSpPr>
            <p:cNvPr id="7" name="Rectangle 1046">
              <a:extLst>
                <a:ext uri="{FF2B5EF4-FFF2-40B4-BE49-F238E27FC236}">
                  <a16:creationId xmlns:a16="http://schemas.microsoft.com/office/drawing/2014/main" id="{97359CEC-5F3F-4C5E-AC6A-BD37EBE9D65D}"/>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8" name="Picture 1042" descr="BD21318_">
              <a:extLst>
                <a:ext uri="{FF2B5EF4-FFF2-40B4-BE49-F238E27FC236}">
                  <a16:creationId xmlns:a16="http://schemas.microsoft.com/office/drawing/2014/main" id="{1723BFE1-CABB-4B94-8303-63555811FA38}"/>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058">
            <a:extLst>
              <a:ext uri="{FF2B5EF4-FFF2-40B4-BE49-F238E27FC236}">
                <a16:creationId xmlns:a16="http://schemas.microsoft.com/office/drawing/2014/main" id="{CF2EE680-A984-4D31-AD71-8DE0D8FECEA2}"/>
              </a:ext>
            </a:extLst>
          </p:cNvPr>
          <p:cNvGrpSpPr>
            <a:grpSpLocks/>
          </p:cNvGrpSpPr>
          <p:nvPr/>
        </p:nvGrpSpPr>
        <p:grpSpPr bwMode="auto">
          <a:xfrm>
            <a:off x="0" y="1"/>
            <a:ext cx="12192000" cy="191367"/>
            <a:chOff x="0" y="-1"/>
            <a:chExt cx="5760" cy="144"/>
          </a:xfrm>
        </p:grpSpPr>
        <p:sp>
          <p:nvSpPr>
            <p:cNvPr id="10" name="Rectangle 1046">
              <a:extLst>
                <a:ext uri="{FF2B5EF4-FFF2-40B4-BE49-F238E27FC236}">
                  <a16:creationId xmlns:a16="http://schemas.microsoft.com/office/drawing/2014/main" id="{38FEBB7E-A425-420B-A35F-ABC4F7542C4B}"/>
                </a:ext>
              </a:extLst>
            </p:cNvPr>
            <p:cNvSpPr>
              <a:spLocks noChangeArrowheads="1"/>
            </p:cNvSpPr>
            <p:nvPr userDrawn="1"/>
          </p:nvSpPr>
          <p:spPr bwMode="auto">
            <a:xfrm>
              <a:off x="0" y="-1"/>
              <a:ext cx="5760" cy="144"/>
            </a:xfrm>
            <a:prstGeom prst="rect">
              <a:avLst/>
            </a:prstGeom>
            <a:gradFill rotWithShape="1">
              <a:gsLst>
                <a:gs pos="0">
                  <a:schemeClr val="bg1"/>
                </a:gs>
                <a:gs pos="50000">
                  <a:srgbClr val="DDDDDD"/>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026" tIns="43514" rIns="87026" bIns="4351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pic>
          <p:nvPicPr>
            <p:cNvPr id="11" name="Picture 1042" descr="BD21318_">
              <a:extLst>
                <a:ext uri="{FF2B5EF4-FFF2-40B4-BE49-F238E27FC236}">
                  <a16:creationId xmlns:a16="http://schemas.microsoft.com/office/drawing/2014/main" id="{DE28672B-8875-4ADC-B2AD-E2FC022B5314}"/>
                </a:ext>
              </a:extLst>
            </p:cNvPr>
            <p:cNvPicPr>
              <a:picLocks noChangeArrowheads="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57"/>
              <a:ext cx="5758"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3437437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Custom 40">
      <a:dk1>
        <a:srgbClr val="333333"/>
      </a:dk1>
      <a:lt1>
        <a:srgbClr val="FFFFFF"/>
      </a:lt1>
      <a:dk2>
        <a:srgbClr val="333333"/>
      </a:dk2>
      <a:lt2>
        <a:srgbClr val="005488"/>
      </a:lt2>
      <a:accent1>
        <a:srgbClr val="005488"/>
      </a:accent1>
      <a:accent2>
        <a:srgbClr val="739DD2"/>
      </a:accent2>
      <a:accent3>
        <a:srgbClr val="BFB6AD"/>
      </a:accent3>
      <a:accent4>
        <a:srgbClr val="B5E1E1"/>
      </a:accent4>
      <a:accent5>
        <a:srgbClr val="5CECD3"/>
      </a:accent5>
      <a:accent6>
        <a:srgbClr val="FFFFFF"/>
      </a:accent6>
      <a:hlink>
        <a:srgbClr val="B5E1E1"/>
      </a:hlink>
      <a:folHlink>
        <a:srgbClr val="739DD2"/>
      </a:folHlink>
    </a:clrScheme>
    <a:fontScheme name="Custom 2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a:noAutofit/>
      </a:bodyPr>
      <a:lstStyle>
        <a:defPPr>
          <a:defRPr sz="1400" b="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8_Office Theme">
  <a:themeElements>
    <a:clrScheme name="Custom 40">
      <a:dk1>
        <a:srgbClr val="333333"/>
      </a:dk1>
      <a:lt1>
        <a:srgbClr val="FFFFFF"/>
      </a:lt1>
      <a:dk2>
        <a:srgbClr val="333333"/>
      </a:dk2>
      <a:lt2>
        <a:srgbClr val="005488"/>
      </a:lt2>
      <a:accent1>
        <a:srgbClr val="005488"/>
      </a:accent1>
      <a:accent2>
        <a:srgbClr val="739DD2"/>
      </a:accent2>
      <a:accent3>
        <a:srgbClr val="BFB6AD"/>
      </a:accent3>
      <a:accent4>
        <a:srgbClr val="B5E1E1"/>
      </a:accent4>
      <a:accent5>
        <a:srgbClr val="5CECD3"/>
      </a:accent5>
      <a:accent6>
        <a:srgbClr val="FFFFFF"/>
      </a:accent6>
      <a:hlink>
        <a:srgbClr val="B5E1E1"/>
      </a:hlink>
      <a:folHlink>
        <a:srgbClr val="739DD2"/>
      </a:folHlink>
    </a:clrScheme>
    <a:fontScheme name="Custom 2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a:noAutofit/>
      </a:bodyPr>
      <a:lstStyle>
        <a:defPPr>
          <a:defRPr sz="1400" b="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8502AA6C32F2140B82E5957E1A1332D" ma:contentTypeVersion="13" ma:contentTypeDescription="Create a new document." ma:contentTypeScope="" ma:versionID="b6b82a1b0ac5739562be2edbd3c01593">
  <xsd:schema xmlns:xsd="http://www.w3.org/2001/XMLSchema" xmlns:xs="http://www.w3.org/2001/XMLSchema" xmlns:p="http://schemas.microsoft.com/office/2006/metadata/properties" xmlns:ns2="6d131246-3dc3-4778-92b6-876ef9b2469e" xmlns:ns3="a88550b2-e0c5-4ad3-9e84-1f88a8ced469" targetNamespace="http://schemas.microsoft.com/office/2006/metadata/properties" ma:root="true" ma:fieldsID="541009136fad4faf1e1a44f7dede7480" ns2:_="" ns3:_="">
    <xsd:import namespace="6d131246-3dc3-4778-92b6-876ef9b2469e"/>
    <xsd:import namespace="a88550b2-e0c5-4ad3-9e84-1f88a8ced46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131246-3dc3-4778-92b6-876ef9b246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f323d3cf-7df0-4cd7-b500-e1c564e6a4af"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88550b2-e0c5-4ad3-9e84-1f88a8ced469"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7e92daca-330c-4ab2-9c8c-05be2bf30b07}" ma:internalName="TaxCatchAll" ma:showField="CatchAllData" ma:web="a88550b2-e0c5-4ad3-9e84-1f88a8ced46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131246-3dc3-4778-92b6-876ef9b2469e">
      <Terms xmlns="http://schemas.microsoft.com/office/infopath/2007/PartnerControls"/>
    </lcf76f155ced4ddcb4097134ff3c332f>
    <TaxCatchAll xmlns="a88550b2-e0c5-4ad3-9e84-1f88a8ced469" xsi:nil="true"/>
  </documentManagement>
</p:properties>
</file>

<file path=customXml/itemProps1.xml><?xml version="1.0" encoding="utf-8"?>
<ds:datastoreItem xmlns:ds="http://schemas.openxmlformats.org/officeDocument/2006/customXml" ds:itemID="{F0F5426E-7DCC-41EE-B6F4-E25F2E096992}">
  <ds:schemaRefs>
    <ds:schemaRef ds:uri="http://schemas.microsoft.com/sharepoint/v3/contenttype/forms"/>
  </ds:schemaRefs>
</ds:datastoreItem>
</file>

<file path=customXml/itemProps2.xml><?xml version="1.0" encoding="utf-8"?>
<ds:datastoreItem xmlns:ds="http://schemas.openxmlformats.org/officeDocument/2006/customXml" ds:itemID="{F012304E-EB89-4E73-89B1-316A21A060BF}"/>
</file>

<file path=customXml/itemProps3.xml><?xml version="1.0" encoding="utf-8"?>
<ds:datastoreItem xmlns:ds="http://schemas.openxmlformats.org/officeDocument/2006/customXml" ds:itemID="{6A475DAC-B2F2-490C-941A-58C71B397DB9}">
  <ds:schemaRefs>
    <ds:schemaRef ds:uri="0c950a8f-9323-4564-9c3a-ca8d68f86e59"/>
    <ds:schemaRef ds:uri="4bdbfa13-8cf9-4fc1-a8f3-d9e273e4d6a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5972</TotalTime>
  <Words>3348</Words>
  <Application>Microsoft Office PowerPoint</Application>
  <PresentationFormat>Widescreen</PresentationFormat>
  <Paragraphs>655</Paragraphs>
  <Slides>42</Slides>
  <Notes>42</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2</vt:i4>
      </vt:variant>
    </vt:vector>
  </HeadingPairs>
  <TitlesOfParts>
    <vt:vector size="55" baseType="lpstr">
      <vt:lpstr>Arial</vt:lpstr>
      <vt:lpstr>Calibri</vt:lpstr>
      <vt:lpstr>Calibri Light</vt:lpstr>
      <vt:lpstr>Courier New</vt:lpstr>
      <vt:lpstr>DM Sans</vt:lpstr>
      <vt:lpstr>Playfair Display</vt:lpstr>
      <vt:lpstr>Times New Roman</vt:lpstr>
      <vt:lpstr>Wingdings</vt:lpstr>
      <vt:lpstr>Office Theme</vt:lpstr>
      <vt:lpstr>1_Office Theme</vt:lpstr>
      <vt:lpstr>2_Office Theme</vt:lpstr>
      <vt:lpstr>8_Office Theme</vt:lpstr>
      <vt:lpstr>think-cell Slide</vt:lpstr>
      <vt:lpstr>2025 SSIH Leadership Summit  Southern States LLC  November 19‐20, 2025 Rev-02  </vt:lpstr>
      <vt:lpstr>OUR MISSION AND VISION STATEMENT </vt:lpstr>
      <vt:lpstr>Regular Engagements with Employees</vt:lpstr>
      <vt:lpstr>Awards and Recognition</vt:lpstr>
      <vt:lpstr>Switch Division Transmission Division Sensors Division</vt:lpstr>
      <vt:lpstr>Switch Division Vice President and General Manager</vt:lpstr>
      <vt:lpstr>Switch Division Management Team</vt:lpstr>
      <vt:lpstr>Switch Division Product Focus </vt:lpstr>
      <vt:lpstr>Switch Division Market Focus </vt:lpstr>
      <vt:lpstr>Switch Division Recent Intra-Group Collaborations</vt:lpstr>
      <vt:lpstr>Grid Services Division</vt:lpstr>
      <vt:lpstr>Grid Services Division Vice President and General Manager</vt:lpstr>
      <vt:lpstr>Grid Services Division Product Focus </vt:lpstr>
      <vt:lpstr>Grid Services Division Management Team</vt:lpstr>
      <vt:lpstr>Grid Services Division Product and Market Focus </vt:lpstr>
      <vt:lpstr>Grid Services Division Product and Market Focus </vt:lpstr>
      <vt:lpstr>Grid Services Division Product and Market Focus </vt:lpstr>
      <vt:lpstr>Grid Services Division Recent Intra-Group Collaborations</vt:lpstr>
      <vt:lpstr>Advanced Technologies Development</vt:lpstr>
      <vt:lpstr>ATD Product Focus </vt:lpstr>
      <vt:lpstr>ATD Director – Steve Fan</vt:lpstr>
      <vt:lpstr>ATD Recent Intra-Group Collaborations</vt:lpstr>
      <vt:lpstr>ATD Employees</vt:lpstr>
      <vt:lpstr>Power Systems Solutions Division</vt:lpstr>
      <vt:lpstr>Power Solutions Division Vice President and General Manager</vt:lpstr>
      <vt:lpstr>Power Systems Solution Division Management Team</vt:lpstr>
      <vt:lpstr>Power Solutions Division Product Focus </vt:lpstr>
      <vt:lpstr>Power Solutions Division Market Focus </vt:lpstr>
      <vt:lpstr>Power Solutions Division Recent Intra-Group Collaborations</vt:lpstr>
      <vt:lpstr>Power Switching Division</vt:lpstr>
      <vt:lpstr>Power Switching Division Vice President and General Manager</vt:lpstr>
      <vt:lpstr>Power Switching Division Management Team</vt:lpstr>
      <vt:lpstr>Power Switching Division Product Focus </vt:lpstr>
      <vt:lpstr>Power Switching Division Market Focus </vt:lpstr>
      <vt:lpstr>PSD – How We Win in Each Market</vt:lpstr>
      <vt:lpstr>Power Switching Division Recent Intra-Group Collaborations</vt:lpstr>
      <vt:lpstr>Distribution Automation Division</vt:lpstr>
      <vt:lpstr>Distribution Automation Division General Manager</vt:lpstr>
      <vt:lpstr>Distribution Automation Division Management Team</vt:lpstr>
      <vt:lpstr>Distribution Automation Division Product Focus </vt:lpstr>
      <vt:lpstr>Distribution Automation Division Market Focus </vt:lpstr>
      <vt:lpstr>Distribution Automation Division Recent Intra-Group Collabor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SL 2024 October Board Meeting</dc:title>
  <dc:creator>John Paserba</dc:creator>
  <cp:lastModifiedBy>John Paserba</cp:lastModifiedBy>
  <cp:revision>12</cp:revision>
  <cp:lastPrinted>2025-07-27T05:47:51Z</cp:lastPrinted>
  <dcterms:created xsi:type="dcterms:W3CDTF">2013-11-14T18:38:49Z</dcterms:created>
  <dcterms:modified xsi:type="dcterms:W3CDTF">2025-12-01T05:4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8502AA6C32F2140B82E5957E1A1332D</vt:lpwstr>
  </property>
  <property fmtid="{D5CDD505-2E9C-101B-9397-08002B2CF9AE}" pid="3" name="_dlc_DocIdItemGuid">
    <vt:lpwstr>74368fb0-ad0e-4cb6-ad5a-6e66a10ab4d8</vt:lpwstr>
  </property>
  <property fmtid="{D5CDD505-2E9C-101B-9397-08002B2CF9AE}" pid="4" name="All Divisions">
    <vt:lpwstr/>
  </property>
  <property fmtid="{D5CDD505-2E9C-101B-9397-08002B2CF9AE}" pid="5" name="PA Document Type">
    <vt:lpwstr>789;#Presentations|d3e24f8b-327a-4cdc-bd8e-5c7aab622136</vt:lpwstr>
  </property>
  <property fmtid="{D5CDD505-2E9C-101B-9397-08002B2CF9AE}" pid="6" name="FiscalYear">
    <vt:lpwstr>1173;#2024|acee1d47-4450-4a2d-a145-b0e2fa5b5d7a</vt:lpwstr>
  </property>
  <property fmtid="{D5CDD505-2E9C-101B-9397-08002B2CF9AE}" pid="7" name="MEPPI Building">
    <vt:lpwstr/>
  </property>
  <property fmtid="{D5CDD505-2E9C-101B-9397-08002B2CF9AE}" pid="8" name="SharedWithUsers">
    <vt:lpwstr>195;#Marcoz, Joe;#110;#McCullough, Jeannie</vt:lpwstr>
  </property>
</Properties>
</file>